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tags/tag271.xml" ContentType="application/vnd.openxmlformats-officedocument.presentationml.tags+xml"/>
  <Override PartName="/ppt/tags/tag282.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Default Extension="wmf" ContentType="image/x-wmf"/>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heme/themeOverride3.xml" ContentType="application/vnd.openxmlformats-officedocument.themeOverr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heme/themeOverride2.xml" ContentType="application/vnd.openxmlformats-officedocument.themeOverr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xls" ContentType="application/vnd.ms-exce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Default Extension="jpeg" ContentType="image/jpeg"/>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handoutMasterIdLst>
    <p:handoutMasterId r:id="rId37"/>
  </p:handoutMasterIdLst>
  <p:sldIdLst>
    <p:sldId id="373" r:id="rId2"/>
    <p:sldId id="411" r:id="rId3"/>
    <p:sldId id="414" r:id="rId4"/>
    <p:sldId id="391" r:id="rId5"/>
    <p:sldId id="390" r:id="rId6"/>
    <p:sldId id="389" r:id="rId7"/>
    <p:sldId id="392" r:id="rId8"/>
    <p:sldId id="388" r:id="rId9"/>
    <p:sldId id="396" r:id="rId10"/>
    <p:sldId id="399" r:id="rId11"/>
    <p:sldId id="413" r:id="rId12"/>
    <p:sldId id="410" r:id="rId13"/>
    <p:sldId id="417" r:id="rId14"/>
    <p:sldId id="418" r:id="rId15"/>
    <p:sldId id="419" r:id="rId16"/>
    <p:sldId id="403" r:id="rId17"/>
    <p:sldId id="407" r:id="rId18"/>
    <p:sldId id="379" r:id="rId19"/>
    <p:sldId id="415" r:id="rId20"/>
    <p:sldId id="405" r:id="rId21"/>
    <p:sldId id="404" r:id="rId22"/>
    <p:sldId id="406" r:id="rId23"/>
    <p:sldId id="421" r:id="rId24"/>
    <p:sldId id="420" r:id="rId25"/>
    <p:sldId id="383" r:id="rId26"/>
    <p:sldId id="384" r:id="rId27"/>
    <p:sldId id="393" r:id="rId28"/>
    <p:sldId id="394" r:id="rId29"/>
    <p:sldId id="400" r:id="rId30"/>
    <p:sldId id="401" r:id="rId31"/>
    <p:sldId id="402" r:id="rId32"/>
    <p:sldId id="398" r:id="rId33"/>
    <p:sldId id="409" r:id="rId34"/>
    <p:sldId id="395" r:id="rId35"/>
  </p:sldIdLst>
  <p:sldSz cx="9144000" cy="6858000" type="screen4x3"/>
  <p:notesSz cx="9296400" cy="70104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62E3"/>
    <a:srgbClr val="606DE3"/>
    <a:srgbClr val="536EA5"/>
    <a:srgbClr val="486CA6"/>
    <a:srgbClr val="626464"/>
    <a:srgbClr val="7AABDE"/>
    <a:srgbClr val="EC9E02"/>
    <a:srgbClr val="FDAA03"/>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0837" autoAdjust="0"/>
    <p:restoredTop sz="88998" autoAdjust="0"/>
  </p:normalViewPr>
  <p:slideViewPr>
    <p:cSldViewPr snapToGrid="0">
      <p:cViewPr varScale="1">
        <p:scale>
          <a:sx n="78" d="100"/>
          <a:sy n="78" d="100"/>
        </p:scale>
        <p:origin x="-1134"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1710" y="-78"/>
      </p:cViewPr>
      <p:guideLst>
        <p:guide orient="horz" pos="2208"/>
        <p:guide pos="292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2" Type="http://schemas.openxmlformats.org/officeDocument/2006/relationships/oleObject" Target="file:///\\HUBCORPFS\DATA\CORP\Marketing\2010%20Presentations\Sales%20Regions\Corporate\DPY\Census%20Data.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HUBCORPFS\DATA\CORP\Marketing\2010%20Presentations\General%20Graphs.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HUBCORPFS\DATA\CORP\Marketing\2011%20Sales%20Requests\General%20Graphs.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26"/>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Sheet1!$A$6</c:f>
              <c:strCache>
                <c:ptCount val="1"/>
                <c:pt idx="0">
                  <c:v>Population (millions)</c:v>
                </c:pt>
              </c:strCache>
            </c:strRef>
          </c:tx>
          <c:spPr>
            <a:solidFill>
              <a:srgbClr val="F15931"/>
            </a:solidFill>
          </c:spPr>
          <c:cat>
            <c:strRef>
              <c:f>Sheet1!$B$5:$L$5</c:f>
              <c:strCache>
                <c:ptCount val="11"/>
                <c:pt idx="0">
                  <c:v>1993</c:v>
                </c:pt>
                <c:pt idx="1">
                  <c:v>1997</c:v>
                </c:pt>
                <c:pt idx="2">
                  <c:v>2002</c:v>
                </c:pt>
                <c:pt idx="3">
                  <c:v>2007</c:v>
                </c:pt>
                <c:pt idx="4">
                  <c:v>2010 e</c:v>
                </c:pt>
                <c:pt idx="5">
                  <c:v>2015 e</c:v>
                </c:pt>
                <c:pt idx="6">
                  <c:v>2020 e</c:v>
                </c:pt>
                <c:pt idx="7">
                  <c:v>2025 e</c:v>
                </c:pt>
                <c:pt idx="8">
                  <c:v>2030 e</c:v>
                </c:pt>
                <c:pt idx="9">
                  <c:v>2035 e</c:v>
                </c:pt>
                <c:pt idx="10">
                  <c:v>2050 e</c:v>
                </c:pt>
              </c:strCache>
            </c:strRef>
          </c:cat>
          <c:val>
            <c:numRef>
              <c:f>Sheet1!$B$6:$L$6</c:f>
              <c:numCache>
                <c:formatCode>General</c:formatCode>
                <c:ptCount val="11"/>
                <c:pt idx="0">
                  <c:v>258</c:v>
                </c:pt>
                <c:pt idx="1">
                  <c:v>268</c:v>
                </c:pt>
                <c:pt idx="2">
                  <c:v>288</c:v>
                </c:pt>
                <c:pt idx="3">
                  <c:v>301</c:v>
                </c:pt>
                <c:pt idx="4">
                  <c:v>310</c:v>
                </c:pt>
                <c:pt idx="5">
                  <c:v>322</c:v>
                </c:pt>
                <c:pt idx="6">
                  <c:v>337</c:v>
                </c:pt>
                <c:pt idx="7">
                  <c:v>351</c:v>
                </c:pt>
                <c:pt idx="8">
                  <c:v>366</c:v>
                </c:pt>
                <c:pt idx="9">
                  <c:v>380</c:v>
                </c:pt>
                <c:pt idx="10">
                  <c:v>420</c:v>
                </c:pt>
              </c:numCache>
            </c:numRef>
          </c:val>
        </c:ser>
        <c:gapWidth val="75"/>
        <c:overlap val="-25"/>
        <c:axId val="115310592"/>
        <c:axId val="115313664"/>
      </c:barChart>
      <c:lineChart>
        <c:grouping val="standard"/>
        <c:ser>
          <c:idx val="1"/>
          <c:order val="1"/>
          <c:tx>
            <c:strRef>
              <c:f>Sheet1!$A$7</c:f>
              <c:strCache>
                <c:ptCount val="1"/>
                <c:pt idx="0">
                  <c:v>Tonnage (billions)</c:v>
                </c:pt>
              </c:strCache>
            </c:strRef>
          </c:tx>
          <c:spPr>
            <a:ln>
              <a:solidFill>
                <a:srgbClr val="70767A"/>
              </a:solidFill>
            </a:ln>
          </c:spPr>
          <c:marker>
            <c:symbol val="none"/>
          </c:marker>
          <c:cat>
            <c:strRef>
              <c:f>Sheet1!$B$5:$L$5</c:f>
              <c:strCache>
                <c:ptCount val="11"/>
                <c:pt idx="0">
                  <c:v>1993</c:v>
                </c:pt>
                <c:pt idx="1">
                  <c:v>1997</c:v>
                </c:pt>
                <c:pt idx="2">
                  <c:v>2002</c:v>
                </c:pt>
                <c:pt idx="3">
                  <c:v>2007</c:v>
                </c:pt>
                <c:pt idx="4">
                  <c:v>2010 e</c:v>
                </c:pt>
                <c:pt idx="5">
                  <c:v>2015 e</c:v>
                </c:pt>
                <c:pt idx="6">
                  <c:v>2020 e</c:v>
                </c:pt>
                <c:pt idx="7">
                  <c:v>2025 e</c:v>
                </c:pt>
                <c:pt idx="8">
                  <c:v>2030 e</c:v>
                </c:pt>
                <c:pt idx="9">
                  <c:v>2035 e</c:v>
                </c:pt>
                <c:pt idx="10">
                  <c:v>2050 e</c:v>
                </c:pt>
              </c:strCache>
            </c:strRef>
          </c:cat>
          <c:val>
            <c:numRef>
              <c:f>Sheet1!$B$7:$L$7</c:f>
              <c:numCache>
                <c:formatCode>General</c:formatCode>
                <c:ptCount val="11"/>
                <c:pt idx="0">
                  <c:v>9.7000000000000011</c:v>
                </c:pt>
                <c:pt idx="1">
                  <c:v>11.1</c:v>
                </c:pt>
                <c:pt idx="2">
                  <c:v>11.7</c:v>
                </c:pt>
                <c:pt idx="3">
                  <c:v>12.5</c:v>
                </c:pt>
                <c:pt idx="4">
                  <c:v>12.5</c:v>
                </c:pt>
                <c:pt idx="5">
                  <c:v>13</c:v>
                </c:pt>
                <c:pt idx="6">
                  <c:v>13.6</c:v>
                </c:pt>
                <c:pt idx="7">
                  <c:v>14.1</c:v>
                </c:pt>
                <c:pt idx="8">
                  <c:v>14.7</c:v>
                </c:pt>
                <c:pt idx="9">
                  <c:v>15.3</c:v>
                </c:pt>
                <c:pt idx="10">
                  <c:v>16.899999999999999</c:v>
                </c:pt>
              </c:numCache>
            </c:numRef>
          </c:val>
        </c:ser>
        <c:marker val="1"/>
        <c:axId val="116640384"/>
        <c:axId val="116638464"/>
      </c:lineChart>
      <c:catAx>
        <c:axId val="115310592"/>
        <c:scaling>
          <c:orientation val="minMax"/>
        </c:scaling>
        <c:axPos val="b"/>
        <c:majorTickMark val="none"/>
        <c:tickLblPos val="nextTo"/>
        <c:crossAx val="115313664"/>
        <c:crosses val="autoZero"/>
        <c:auto val="1"/>
        <c:lblAlgn val="ctr"/>
        <c:lblOffset val="100"/>
      </c:catAx>
      <c:valAx>
        <c:axId val="115313664"/>
        <c:scaling>
          <c:orientation val="minMax"/>
          <c:max val="450"/>
          <c:min val="200"/>
        </c:scaling>
        <c:axPos val="l"/>
        <c:majorGridlines/>
        <c:numFmt formatCode="General" sourceLinked="1"/>
        <c:majorTickMark val="none"/>
        <c:tickLblPos val="nextTo"/>
        <c:spPr>
          <a:ln w="9525">
            <a:noFill/>
          </a:ln>
        </c:spPr>
        <c:crossAx val="115310592"/>
        <c:crosses val="autoZero"/>
        <c:crossBetween val="between"/>
        <c:majorUnit val="50"/>
      </c:valAx>
      <c:valAx>
        <c:axId val="116638464"/>
        <c:scaling>
          <c:orientation val="minMax"/>
          <c:max val="18"/>
          <c:min val="8"/>
        </c:scaling>
        <c:axPos val="r"/>
        <c:numFmt formatCode="General" sourceLinked="1"/>
        <c:tickLblPos val="nextTo"/>
        <c:crossAx val="116640384"/>
        <c:crosses val="max"/>
        <c:crossBetween val="between"/>
        <c:majorUnit val="2"/>
      </c:valAx>
      <c:catAx>
        <c:axId val="116640384"/>
        <c:scaling>
          <c:orientation val="minMax"/>
        </c:scaling>
        <c:delete val="1"/>
        <c:axPos val="b"/>
        <c:tickLblPos val="none"/>
        <c:crossAx val="116638464"/>
        <c:crosses val="autoZero"/>
        <c:auto val="1"/>
        <c:lblAlgn val="ctr"/>
        <c:lblOffset val="100"/>
      </c:catAx>
    </c:plotArea>
    <c:legend>
      <c:legendPos val="b"/>
      <c:layout/>
    </c:legend>
    <c:plotVisOnly val="1"/>
    <c:dispBlanksAs val="gap"/>
  </c:chart>
  <c:spPr>
    <a:noFill/>
    <a:ln>
      <a:noFill/>
    </a:ln>
  </c:sp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26"/>
  <c:clrMapOvr bg1="lt1" tx1="dk1" bg2="lt2" tx2="dk2" accent1="accent1" accent2="accent2" accent3="accent3" accent4="accent4" accent5="accent5" accent6="accent6" hlink="hlink" folHlink="folHlink"/>
  <c:chart>
    <c:title>
      <c:tx>
        <c:rich>
          <a:bodyPr/>
          <a:lstStyle/>
          <a:p>
            <a:pPr>
              <a:defRPr/>
            </a:pPr>
            <a:r>
              <a:rPr lang="en-US" dirty="0"/>
              <a:t>Domestic Intermodal</a:t>
            </a:r>
          </a:p>
        </c:rich>
      </c:tx>
      <c:layout/>
    </c:title>
    <c:plotArea>
      <c:layout/>
      <c:barChart>
        <c:barDir val="col"/>
        <c:grouping val="clustered"/>
        <c:ser>
          <c:idx val="3"/>
          <c:order val="3"/>
          <c:tx>
            <c:strRef>
              <c:f>IANA!$F$2</c:f>
              <c:strCache>
                <c:ptCount val="1"/>
                <c:pt idx="0">
                  <c:v>% Change</c:v>
                </c:pt>
              </c:strCache>
            </c:strRef>
          </c:tx>
          <c:spPr>
            <a:solidFill>
              <a:srgbClr val="70767A"/>
            </a:solidFill>
          </c:spPr>
          <c:dLbls>
            <c:txPr>
              <a:bodyPr/>
              <a:lstStyle/>
              <a:p>
                <a:pPr>
                  <a:defRPr sz="1200" b="1"/>
                </a:pPr>
                <a:endParaRPr lang="en-US"/>
              </a:p>
            </c:txPr>
            <c:showVal val="1"/>
          </c:dLbls>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F$3:$F$6</c:f>
              <c:numCache>
                <c:formatCode>0.0%</c:formatCode>
                <c:ptCount val="4"/>
                <c:pt idx="0">
                  <c:v>3.6689115266995781E-2</c:v>
                </c:pt>
                <c:pt idx="1">
                  <c:v>6.8536245778512209E-2</c:v>
                </c:pt>
                <c:pt idx="2">
                  <c:v>0.15869868305570722</c:v>
                </c:pt>
                <c:pt idx="3">
                  <c:v>0.12330730497620122</c:v>
                </c:pt>
              </c:numCache>
            </c:numRef>
          </c:val>
        </c:ser>
        <c:axId val="120927744"/>
        <c:axId val="120180096"/>
      </c:barChart>
      <c:lineChart>
        <c:grouping val="standard"/>
        <c:ser>
          <c:idx val="0"/>
          <c:order val="0"/>
          <c:tx>
            <c:strRef>
              <c:f>IANA!$C$2</c:f>
              <c:strCache>
                <c:ptCount val="1"/>
                <c:pt idx="0">
                  <c:v>2008</c:v>
                </c:pt>
              </c:strCache>
            </c:strRef>
          </c:tx>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C$3:$C$14</c:f>
              <c:numCache>
                <c:formatCode>_(* #,##0_);_(* \(#,##0\);_(* "-"??_);_(@_)</c:formatCode>
                <c:ptCount val="12"/>
                <c:pt idx="0">
                  <c:v>466817</c:v>
                </c:pt>
                <c:pt idx="1">
                  <c:v>463287</c:v>
                </c:pt>
                <c:pt idx="2">
                  <c:v>474908</c:v>
                </c:pt>
                <c:pt idx="3">
                  <c:v>494714</c:v>
                </c:pt>
                <c:pt idx="4">
                  <c:v>505688</c:v>
                </c:pt>
                <c:pt idx="5">
                  <c:v>489384</c:v>
                </c:pt>
                <c:pt idx="6">
                  <c:v>512551</c:v>
                </c:pt>
                <c:pt idx="7">
                  <c:v>519860</c:v>
                </c:pt>
                <c:pt idx="8">
                  <c:v>510755</c:v>
                </c:pt>
                <c:pt idx="9">
                  <c:v>559949</c:v>
                </c:pt>
                <c:pt idx="10">
                  <c:v>476347</c:v>
                </c:pt>
                <c:pt idx="11">
                  <c:v>435466</c:v>
                </c:pt>
              </c:numCache>
            </c:numRef>
          </c:val>
        </c:ser>
        <c:ser>
          <c:idx val="1"/>
          <c:order val="1"/>
          <c:tx>
            <c:strRef>
              <c:f>IANA!$D$2</c:f>
              <c:strCache>
                <c:ptCount val="1"/>
                <c:pt idx="0">
                  <c:v>2009</c:v>
                </c:pt>
              </c:strCache>
            </c:strRef>
          </c:tx>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D$3:$D$14</c:f>
              <c:numCache>
                <c:formatCode>_(* #,##0_);_(* \(#,##0\);_(* "-"??_);_(@_)</c:formatCode>
                <c:ptCount val="12"/>
                <c:pt idx="0">
                  <c:v>428683</c:v>
                </c:pt>
                <c:pt idx="1">
                  <c:v>415138</c:v>
                </c:pt>
                <c:pt idx="2">
                  <c:v>456891</c:v>
                </c:pt>
                <c:pt idx="3">
                  <c:v>450022</c:v>
                </c:pt>
                <c:pt idx="4">
                  <c:v>446223</c:v>
                </c:pt>
                <c:pt idx="5">
                  <c:v>459572</c:v>
                </c:pt>
                <c:pt idx="6">
                  <c:v>468192</c:v>
                </c:pt>
                <c:pt idx="7">
                  <c:v>468251</c:v>
                </c:pt>
                <c:pt idx="8">
                  <c:v>487854</c:v>
                </c:pt>
                <c:pt idx="9">
                  <c:v>529550</c:v>
                </c:pt>
                <c:pt idx="10">
                  <c:v>481654</c:v>
                </c:pt>
                <c:pt idx="11">
                  <c:v>473005</c:v>
                </c:pt>
              </c:numCache>
            </c:numRef>
          </c:val>
        </c:ser>
        <c:ser>
          <c:idx val="2"/>
          <c:order val="2"/>
          <c:tx>
            <c:strRef>
              <c:f>IANA!$E$2</c:f>
              <c:strCache>
                <c:ptCount val="1"/>
                <c:pt idx="0">
                  <c:v>2010</c:v>
                </c:pt>
              </c:strCache>
            </c:strRef>
          </c:tx>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E$3:$E$6</c:f>
              <c:numCache>
                <c:formatCode>_(* #,##0_);_(* \(#,##0\);_(* "-"??_);_(@_)</c:formatCode>
                <c:ptCount val="4"/>
                <c:pt idx="0">
                  <c:v>444411</c:v>
                </c:pt>
                <c:pt idx="1">
                  <c:v>443590</c:v>
                </c:pt>
                <c:pt idx="2">
                  <c:v>529399</c:v>
                </c:pt>
                <c:pt idx="3">
                  <c:v>505513</c:v>
                </c:pt>
              </c:numCache>
            </c:numRef>
          </c:val>
        </c:ser>
        <c:marker val="1"/>
        <c:axId val="120177024"/>
        <c:axId val="120178560"/>
      </c:lineChart>
      <c:catAx>
        <c:axId val="120177024"/>
        <c:scaling>
          <c:orientation val="minMax"/>
        </c:scaling>
        <c:axPos val="b"/>
        <c:numFmt formatCode="General" sourceLinked="1"/>
        <c:tickLblPos val="nextTo"/>
        <c:txPr>
          <a:bodyPr rot="0" vert="horz"/>
          <a:lstStyle/>
          <a:p>
            <a:pPr>
              <a:defRPr/>
            </a:pPr>
            <a:endParaRPr lang="en-US"/>
          </a:p>
        </c:txPr>
        <c:crossAx val="120178560"/>
        <c:crosses val="autoZero"/>
        <c:auto val="1"/>
        <c:lblAlgn val="ctr"/>
        <c:lblOffset val="100"/>
      </c:catAx>
      <c:valAx>
        <c:axId val="120178560"/>
        <c:scaling>
          <c:orientation val="minMax"/>
          <c:max val="800000"/>
        </c:scaling>
        <c:axPos val="l"/>
        <c:majorGridlines/>
        <c:numFmt formatCode="#,##0_);[Red]\(#,##0\)" sourceLinked="0"/>
        <c:tickLblPos val="nextTo"/>
        <c:txPr>
          <a:bodyPr rot="0" vert="horz"/>
          <a:lstStyle/>
          <a:p>
            <a:pPr>
              <a:defRPr/>
            </a:pPr>
            <a:endParaRPr lang="en-US"/>
          </a:p>
        </c:txPr>
        <c:crossAx val="120177024"/>
        <c:crosses val="autoZero"/>
        <c:crossBetween val="between"/>
      </c:valAx>
      <c:valAx>
        <c:axId val="120180096"/>
        <c:scaling>
          <c:orientation val="minMax"/>
        </c:scaling>
        <c:axPos val="r"/>
        <c:numFmt formatCode="0.0%" sourceLinked="1"/>
        <c:tickLblPos val="nextTo"/>
        <c:crossAx val="120927744"/>
        <c:crosses val="max"/>
        <c:crossBetween val="between"/>
      </c:valAx>
      <c:catAx>
        <c:axId val="120927744"/>
        <c:scaling>
          <c:orientation val="minMax"/>
        </c:scaling>
        <c:delete val="1"/>
        <c:axPos val="b"/>
        <c:tickLblPos val="none"/>
        <c:crossAx val="120180096"/>
        <c:crosses val="autoZero"/>
        <c:auto val="1"/>
        <c:lblAlgn val="ctr"/>
        <c:lblOffset val="100"/>
      </c:catAx>
    </c:plotArea>
    <c:legend>
      <c:legendPos val="b"/>
      <c:layout/>
    </c:legend>
    <c:plotVisOnly val="1"/>
    <c:dispBlanksAs val="gap"/>
  </c:chart>
  <c:spPr>
    <a:ln>
      <a:noFill/>
    </a:ln>
  </c:sp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26"/>
  <c:clrMapOvr bg1="lt1" tx1="dk1" bg2="lt2" tx2="dk2" accent1="accent1" accent2="accent2" accent3="accent3" accent4="accent4" accent5="accent5" accent6="accent6" hlink="hlink" folHlink="folHlink"/>
  <c:chart>
    <c:autoTitleDeleted val="1"/>
    <c:plotArea>
      <c:layout/>
      <c:barChart>
        <c:barDir val="col"/>
        <c:grouping val="clustered"/>
        <c:ser>
          <c:idx val="3"/>
          <c:order val="3"/>
          <c:tx>
            <c:strRef>
              <c:f>IANA!$F$2</c:f>
              <c:strCache>
                <c:ptCount val="1"/>
                <c:pt idx="0">
                  <c:v>% Change</c:v>
                </c:pt>
              </c:strCache>
            </c:strRef>
          </c:tx>
          <c:spPr>
            <a:solidFill>
              <a:srgbClr val="70767A"/>
            </a:solidFill>
            <a:effectLst>
              <a:outerShdw blurRad="50800" dist="38100" dir="2700000" algn="tl" rotWithShape="0">
                <a:prstClr val="black">
                  <a:alpha val="40000"/>
                </a:prstClr>
              </a:outerShdw>
            </a:effectLst>
            <a:scene3d>
              <a:camera prst="orthographicFront"/>
              <a:lightRig rig="threePt" dir="t">
                <a:rot lat="0" lon="0" rev="1200000"/>
              </a:lightRig>
            </a:scene3d>
            <a:sp3d>
              <a:bevelT/>
            </a:sp3d>
          </c:spPr>
          <c:dLbls>
            <c:dLbl>
              <c:idx val="0"/>
              <c:layout>
                <c:manualLayout>
                  <c:x val="0"/>
                  <c:y val="0"/>
                </c:manualLayout>
              </c:layout>
              <c:showVal val="1"/>
            </c:dLbl>
            <c:dLbl>
              <c:idx val="1"/>
              <c:layout>
                <c:manualLayout>
                  <c:x val="0"/>
                  <c:y val="-5.8111380145278474E-2"/>
                </c:manualLayout>
              </c:layout>
              <c:showVal val="1"/>
            </c:dLbl>
            <c:dLbl>
              <c:idx val="4"/>
              <c:layout>
                <c:manualLayout>
                  <c:x val="0"/>
                  <c:y val="-6.4568200161420524E-3"/>
                </c:manualLayout>
              </c:layout>
              <c:showVal val="1"/>
            </c:dLbl>
            <c:dLbl>
              <c:idx val="5"/>
              <c:layout>
                <c:manualLayout>
                  <c:x val="0"/>
                  <c:y val="9.6852300242131067E-3"/>
                </c:manualLayout>
              </c:layout>
              <c:showVal val="1"/>
            </c:dLbl>
            <c:dLbl>
              <c:idx val="6"/>
              <c:layout>
                <c:manualLayout>
                  <c:x val="-2.2148394241417488E-3"/>
                  <c:y val="-6.1339790153350032E-2"/>
                </c:manualLayout>
              </c:layout>
              <c:showVal val="1"/>
            </c:dLbl>
            <c:dLbl>
              <c:idx val="8"/>
              <c:layout>
                <c:manualLayout>
                  <c:x val="-4.4296788482834993E-3"/>
                  <c:y val="-6.4568200161420524E-3"/>
                </c:manualLayout>
              </c:layout>
              <c:showVal val="1"/>
            </c:dLbl>
            <c:dLbl>
              <c:idx val="10"/>
              <c:layout>
                <c:manualLayout>
                  <c:x val="7.1684587813620991E-3"/>
                  <c:y val="0"/>
                </c:manualLayout>
              </c:layout>
              <c:showVal val="1"/>
            </c:dLbl>
            <c:showVal val="1"/>
          </c:dLbls>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F$3:$F$14</c:f>
              <c:numCache>
                <c:formatCode>0.0%</c:formatCode>
                <c:ptCount val="12"/>
                <c:pt idx="0">
                  <c:v>3.668911526699261E-2</c:v>
                </c:pt>
                <c:pt idx="1">
                  <c:v>6.8536245778512209E-2</c:v>
                </c:pt>
                <c:pt idx="2">
                  <c:v>0.15869868305569804</c:v>
                </c:pt>
                <c:pt idx="3">
                  <c:v>0.12330730497620122</c:v>
                </c:pt>
                <c:pt idx="4">
                  <c:v>0.13854955930106699</c:v>
                </c:pt>
                <c:pt idx="5">
                  <c:v>0.13285404680876989</c:v>
                </c:pt>
                <c:pt idx="6">
                  <c:v>0.10621710751144828</c:v>
                </c:pt>
                <c:pt idx="7">
                  <c:v>0.14439905093635691</c:v>
                </c:pt>
                <c:pt idx="8">
                  <c:v>0.10163901495119462</c:v>
                </c:pt>
                <c:pt idx="9">
                  <c:v>5.2920404116702922E-2</c:v>
                </c:pt>
                <c:pt idx="10">
                  <c:v>0.10912190078355202</c:v>
                </c:pt>
                <c:pt idx="11">
                  <c:v>9.4645933975328028E-2</c:v>
                </c:pt>
              </c:numCache>
            </c:numRef>
          </c:val>
        </c:ser>
        <c:axId val="123714560"/>
        <c:axId val="123954304"/>
      </c:barChart>
      <c:lineChart>
        <c:grouping val="standard"/>
        <c:ser>
          <c:idx val="0"/>
          <c:order val="0"/>
          <c:tx>
            <c:strRef>
              <c:f>IANA!$C$2</c:f>
              <c:strCache>
                <c:ptCount val="1"/>
                <c:pt idx="0">
                  <c:v>2008</c:v>
                </c:pt>
              </c:strCache>
            </c:strRef>
          </c:tx>
          <c:spPr>
            <a:ln>
              <a:solidFill>
                <a:schemeClr val="accent1"/>
              </a:solidFill>
            </a:ln>
          </c:spPr>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C$3:$C$14</c:f>
              <c:numCache>
                <c:formatCode>_(* #,##0_);_(* \(#,##0\);_(* "-"??_);_(@_)</c:formatCode>
                <c:ptCount val="12"/>
                <c:pt idx="0">
                  <c:v>466817</c:v>
                </c:pt>
                <c:pt idx="1">
                  <c:v>463287</c:v>
                </c:pt>
                <c:pt idx="2">
                  <c:v>474908</c:v>
                </c:pt>
                <c:pt idx="3">
                  <c:v>494714</c:v>
                </c:pt>
                <c:pt idx="4">
                  <c:v>505688</c:v>
                </c:pt>
                <c:pt idx="5">
                  <c:v>489384</c:v>
                </c:pt>
                <c:pt idx="6">
                  <c:v>512551</c:v>
                </c:pt>
                <c:pt idx="7">
                  <c:v>519860</c:v>
                </c:pt>
                <c:pt idx="8">
                  <c:v>510755</c:v>
                </c:pt>
                <c:pt idx="9">
                  <c:v>559949</c:v>
                </c:pt>
                <c:pt idx="10">
                  <c:v>476347</c:v>
                </c:pt>
                <c:pt idx="11">
                  <c:v>435466</c:v>
                </c:pt>
              </c:numCache>
            </c:numRef>
          </c:val>
        </c:ser>
        <c:ser>
          <c:idx val="1"/>
          <c:order val="1"/>
          <c:tx>
            <c:strRef>
              <c:f>IANA!$D$2</c:f>
              <c:strCache>
                <c:ptCount val="1"/>
                <c:pt idx="0">
                  <c:v>2009</c:v>
                </c:pt>
              </c:strCache>
            </c:strRef>
          </c:tx>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D$3:$D$14</c:f>
              <c:numCache>
                <c:formatCode>_(* #,##0_);_(* \(#,##0\);_(* "-"??_);_(@_)</c:formatCode>
                <c:ptCount val="12"/>
                <c:pt idx="0">
                  <c:v>428683</c:v>
                </c:pt>
                <c:pt idx="1">
                  <c:v>415138</c:v>
                </c:pt>
                <c:pt idx="2">
                  <c:v>456891</c:v>
                </c:pt>
                <c:pt idx="3">
                  <c:v>450022</c:v>
                </c:pt>
                <c:pt idx="4">
                  <c:v>446223</c:v>
                </c:pt>
                <c:pt idx="5">
                  <c:v>459572</c:v>
                </c:pt>
                <c:pt idx="6">
                  <c:v>468192</c:v>
                </c:pt>
                <c:pt idx="7">
                  <c:v>468251</c:v>
                </c:pt>
                <c:pt idx="8">
                  <c:v>487854</c:v>
                </c:pt>
                <c:pt idx="9">
                  <c:v>529550</c:v>
                </c:pt>
                <c:pt idx="10">
                  <c:v>481654</c:v>
                </c:pt>
                <c:pt idx="11">
                  <c:v>473005</c:v>
                </c:pt>
              </c:numCache>
            </c:numRef>
          </c:val>
        </c:ser>
        <c:ser>
          <c:idx val="2"/>
          <c:order val="2"/>
          <c:tx>
            <c:strRef>
              <c:f>IANA!$E$2</c:f>
              <c:strCache>
                <c:ptCount val="1"/>
                <c:pt idx="0">
                  <c:v>2010</c:v>
                </c:pt>
              </c:strCache>
            </c:strRef>
          </c:tx>
          <c:marker>
            <c:symbol val="none"/>
          </c:marker>
          <c:cat>
            <c:strRef>
              <c:f>IANA!$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ANA!$E$3:$E$14</c:f>
              <c:numCache>
                <c:formatCode>_(* #,##0_);_(* \(#,##0\);_(* "-"??_);_(@_)</c:formatCode>
                <c:ptCount val="12"/>
                <c:pt idx="0">
                  <c:v>444411</c:v>
                </c:pt>
                <c:pt idx="1">
                  <c:v>443590</c:v>
                </c:pt>
                <c:pt idx="2">
                  <c:v>529399</c:v>
                </c:pt>
                <c:pt idx="3">
                  <c:v>505513</c:v>
                </c:pt>
                <c:pt idx="4">
                  <c:v>508047</c:v>
                </c:pt>
                <c:pt idx="5">
                  <c:v>520628</c:v>
                </c:pt>
                <c:pt idx="6">
                  <c:v>517922</c:v>
                </c:pt>
                <c:pt idx="7">
                  <c:v>535866</c:v>
                </c:pt>
                <c:pt idx="8">
                  <c:v>537439</c:v>
                </c:pt>
                <c:pt idx="9">
                  <c:v>557574</c:v>
                </c:pt>
                <c:pt idx="10">
                  <c:v>534213</c:v>
                </c:pt>
                <c:pt idx="11">
                  <c:v>517773</c:v>
                </c:pt>
              </c:numCache>
            </c:numRef>
          </c:val>
        </c:ser>
        <c:marker val="1"/>
        <c:axId val="123616256"/>
        <c:axId val="123659776"/>
      </c:lineChart>
      <c:catAx>
        <c:axId val="123616256"/>
        <c:scaling>
          <c:orientation val="minMax"/>
        </c:scaling>
        <c:axPos val="b"/>
        <c:numFmt formatCode="General" sourceLinked="1"/>
        <c:tickLblPos val="nextTo"/>
        <c:txPr>
          <a:bodyPr rot="0" vert="horz"/>
          <a:lstStyle/>
          <a:p>
            <a:pPr>
              <a:defRPr/>
            </a:pPr>
            <a:endParaRPr lang="en-US"/>
          </a:p>
        </c:txPr>
        <c:crossAx val="123659776"/>
        <c:crosses val="autoZero"/>
        <c:auto val="1"/>
        <c:lblAlgn val="ctr"/>
        <c:lblOffset val="100"/>
      </c:catAx>
      <c:valAx>
        <c:axId val="123659776"/>
        <c:scaling>
          <c:orientation val="minMax"/>
          <c:max val="600000"/>
          <c:min val="350000"/>
        </c:scaling>
        <c:axPos val="l"/>
        <c:majorGridlines/>
        <c:numFmt formatCode="#,##0_);[Red]\(#,##0\)" sourceLinked="0"/>
        <c:tickLblPos val="nextTo"/>
        <c:txPr>
          <a:bodyPr rot="0" vert="horz"/>
          <a:lstStyle/>
          <a:p>
            <a:pPr>
              <a:defRPr/>
            </a:pPr>
            <a:endParaRPr lang="en-US"/>
          </a:p>
        </c:txPr>
        <c:crossAx val="123616256"/>
        <c:crosses val="autoZero"/>
        <c:crossBetween val="between"/>
      </c:valAx>
      <c:catAx>
        <c:axId val="123714560"/>
        <c:scaling>
          <c:orientation val="minMax"/>
        </c:scaling>
        <c:delete val="1"/>
        <c:axPos val="b"/>
        <c:tickLblPos val="none"/>
        <c:crossAx val="123954304"/>
        <c:crosses val="autoZero"/>
        <c:auto val="1"/>
        <c:lblAlgn val="ctr"/>
        <c:lblOffset val="100"/>
      </c:catAx>
      <c:valAx>
        <c:axId val="123954304"/>
        <c:scaling>
          <c:orientation val="minMax"/>
        </c:scaling>
        <c:axPos val="r"/>
        <c:numFmt formatCode="0.0%" sourceLinked="1"/>
        <c:tickLblPos val="nextTo"/>
        <c:txPr>
          <a:bodyPr rot="0" vert="horz"/>
          <a:lstStyle/>
          <a:p>
            <a:pPr>
              <a:defRPr/>
            </a:pPr>
            <a:endParaRPr lang="en-US"/>
          </a:p>
        </c:txPr>
        <c:crossAx val="123714560"/>
        <c:crosses val="max"/>
        <c:crossBetween val="between"/>
      </c:valAx>
    </c:plotArea>
    <c:legend>
      <c:legendPos val="b"/>
      <c:layout/>
    </c:legend>
    <c:plotVisOnly val="1"/>
    <c:dispBlanksAs val="gap"/>
  </c:chart>
  <c:spPr>
    <a:ln>
      <a:noFill/>
    </a:ln>
  </c:spPr>
  <c:txPr>
    <a:bodyPr/>
    <a:lstStyle/>
    <a:p>
      <a:pPr>
        <a:defRPr sz="1000" b="0" i="0" u="none" strike="noStrike" baseline="0">
          <a:solidFill>
            <a:srgbClr val="333333"/>
          </a:solidFill>
          <a:latin typeface="Arial Narrow" pitchFamily="34" charset="0"/>
          <a:ea typeface="Calibri"/>
          <a:cs typeface="Calibri"/>
        </a:defRPr>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4029075" cy="3889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defTabSz="931863">
              <a:defRPr sz="1200">
                <a:latin typeface="Arial" charset="0"/>
              </a:defRPr>
            </a:lvl1pPr>
          </a:lstStyle>
          <a:p>
            <a:pPr>
              <a:defRPr/>
            </a:pPr>
            <a:endParaRPr lang="en-US"/>
          </a:p>
        </p:txBody>
      </p:sp>
      <p:sp>
        <p:nvSpPr>
          <p:cNvPr id="4099" name="Rectangle 3"/>
          <p:cNvSpPr>
            <a:spLocks noGrp="1" noChangeArrowheads="1"/>
          </p:cNvSpPr>
          <p:nvPr>
            <p:ph type="dt" sz="quarter" idx="1"/>
          </p:nvPr>
        </p:nvSpPr>
        <p:spPr bwMode="auto">
          <a:xfrm>
            <a:off x="5267325" y="0"/>
            <a:ext cx="4029075" cy="3889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algn="r" defTabSz="931863">
              <a:defRPr sz="1200">
                <a:latin typeface="Arial" charset="0"/>
              </a:defRPr>
            </a:lvl1pPr>
          </a:lstStyle>
          <a:p>
            <a:pPr>
              <a:defRPr/>
            </a:pPr>
            <a:endParaRPr lang="en-US"/>
          </a:p>
        </p:txBody>
      </p:sp>
      <p:sp>
        <p:nvSpPr>
          <p:cNvPr id="4100" name="Rectangle 4"/>
          <p:cNvSpPr>
            <a:spLocks noGrp="1" noChangeArrowheads="1"/>
          </p:cNvSpPr>
          <p:nvPr>
            <p:ph type="ftr" sz="quarter" idx="2"/>
          </p:nvPr>
        </p:nvSpPr>
        <p:spPr bwMode="auto">
          <a:xfrm>
            <a:off x="0" y="6621463"/>
            <a:ext cx="4029075" cy="388937"/>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defTabSz="931863">
              <a:defRPr sz="1200">
                <a:latin typeface="Arial" charset="0"/>
              </a:defRPr>
            </a:lvl1pPr>
          </a:lstStyle>
          <a:p>
            <a:pPr>
              <a:defRPr/>
            </a:pPr>
            <a:endParaRPr lang="en-US"/>
          </a:p>
        </p:txBody>
      </p:sp>
      <p:sp>
        <p:nvSpPr>
          <p:cNvPr id="4101" name="Rectangle 5"/>
          <p:cNvSpPr>
            <a:spLocks noGrp="1" noChangeArrowheads="1"/>
          </p:cNvSpPr>
          <p:nvPr>
            <p:ph type="sldNum" sz="quarter" idx="3"/>
          </p:nvPr>
        </p:nvSpPr>
        <p:spPr bwMode="auto">
          <a:xfrm>
            <a:off x="5267325" y="6621463"/>
            <a:ext cx="4029075" cy="388937"/>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algn="r" defTabSz="931863">
              <a:defRPr sz="1200">
                <a:latin typeface="Arial" charset="0"/>
              </a:defRPr>
            </a:lvl1pPr>
          </a:lstStyle>
          <a:p>
            <a:pPr>
              <a:defRPr/>
            </a:pPr>
            <a:fld id="{AE64DA32-8CA3-4CB0-A398-AAE64A7155F0}"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4029075" cy="3508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defTabSz="931863">
              <a:defRPr sz="1200">
                <a:latin typeface="Arial" charset="0"/>
              </a:defRPr>
            </a:lvl1pPr>
          </a:lstStyle>
          <a:p>
            <a:pPr>
              <a:defRPr/>
            </a:pPr>
            <a:endParaRPr lang="en-US"/>
          </a:p>
        </p:txBody>
      </p:sp>
      <p:sp>
        <p:nvSpPr>
          <p:cNvPr id="3075" name="Rectangle 3"/>
          <p:cNvSpPr>
            <a:spLocks noGrp="1" noChangeArrowheads="1"/>
          </p:cNvSpPr>
          <p:nvPr>
            <p:ph type="dt" idx="1"/>
          </p:nvPr>
        </p:nvSpPr>
        <p:spPr bwMode="auto">
          <a:xfrm>
            <a:off x="5267325" y="0"/>
            <a:ext cx="4029075" cy="3508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algn="r" defTabSz="931863">
              <a:defRPr sz="1200">
                <a:latin typeface="Arial" charset="0"/>
              </a:defRPr>
            </a:lvl1pPr>
          </a:lstStyle>
          <a:p>
            <a:pPr>
              <a:defRPr/>
            </a:pPr>
            <a:endParaRPr lang="en-US"/>
          </a:p>
        </p:txBody>
      </p:sp>
      <p:sp>
        <p:nvSpPr>
          <p:cNvPr id="34820" name="Rectangle 4"/>
          <p:cNvSpPr>
            <a:spLocks noGrp="1" noRot="1" noChangeAspect="1" noChangeArrowheads="1" noTextEdit="1"/>
          </p:cNvSpPr>
          <p:nvPr>
            <p:ph type="sldImg" idx="2"/>
          </p:nvPr>
        </p:nvSpPr>
        <p:spPr bwMode="auto">
          <a:xfrm>
            <a:off x="2897188" y="527050"/>
            <a:ext cx="3502025" cy="2625725"/>
          </a:xfrm>
          <a:prstGeom prst="rect">
            <a:avLst/>
          </a:prstGeom>
          <a:noFill/>
          <a:ln w="12700">
            <a:solidFill>
              <a:srgbClr val="000000"/>
            </a:solidFill>
            <a:miter lim="800000"/>
            <a:headEnd/>
            <a:tailEnd/>
          </a:ln>
        </p:spPr>
      </p:sp>
      <p:sp>
        <p:nvSpPr>
          <p:cNvPr id="3077" name="Rectangle 5"/>
          <p:cNvSpPr>
            <a:spLocks noGrp="1" noChangeArrowheads="1"/>
          </p:cNvSpPr>
          <p:nvPr>
            <p:ph type="body" sz="quarter" idx="3"/>
          </p:nvPr>
        </p:nvSpPr>
        <p:spPr bwMode="auto">
          <a:xfrm>
            <a:off x="1239838" y="3330575"/>
            <a:ext cx="6816725" cy="3154363"/>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078" name="Rectangle 6"/>
          <p:cNvSpPr>
            <a:spLocks noGrp="1" noChangeArrowheads="1"/>
          </p:cNvSpPr>
          <p:nvPr>
            <p:ph type="ftr" sz="quarter" idx="4"/>
          </p:nvPr>
        </p:nvSpPr>
        <p:spPr bwMode="auto">
          <a:xfrm>
            <a:off x="0" y="6659563"/>
            <a:ext cx="4029075" cy="350837"/>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defTabSz="931863">
              <a:defRPr sz="1200">
                <a:latin typeface="Arial" charset="0"/>
              </a:defRPr>
            </a:lvl1pPr>
          </a:lstStyle>
          <a:p>
            <a:pPr>
              <a:defRPr/>
            </a:pPr>
            <a:endParaRPr lang="en-US"/>
          </a:p>
        </p:txBody>
      </p:sp>
      <p:sp>
        <p:nvSpPr>
          <p:cNvPr id="3079" name="Rectangle 7"/>
          <p:cNvSpPr>
            <a:spLocks noGrp="1" noChangeArrowheads="1"/>
          </p:cNvSpPr>
          <p:nvPr>
            <p:ph type="sldNum" sz="quarter" idx="5"/>
          </p:nvPr>
        </p:nvSpPr>
        <p:spPr bwMode="auto">
          <a:xfrm>
            <a:off x="5267325" y="6659563"/>
            <a:ext cx="4029075" cy="350837"/>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algn="r" defTabSz="931863">
              <a:defRPr sz="1200">
                <a:latin typeface="Arial" charset="0"/>
              </a:defRPr>
            </a:lvl1pPr>
          </a:lstStyle>
          <a:p>
            <a:pPr>
              <a:defRPr/>
            </a:pPr>
            <a:fld id="{16C8C007-0A1D-4CC5-AB7D-5992A28CB26D}"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p>
            <a:fld id="{CD93ADD0-2372-4D4E-BDDA-2F993F6B2506}" type="slidenum">
              <a:rPr lang="en-US" smtClean="0">
                <a:latin typeface="Arial" pitchFamily="34" charset="0"/>
              </a:rPr>
              <a:pPr/>
              <a:t>1</a:t>
            </a:fld>
            <a:endParaRPr lang="en-US" dirty="0" smtClean="0">
              <a:latin typeface="Arial" pitchFamily="34" charset="0"/>
            </a:endParaRPr>
          </a:p>
        </p:txBody>
      </p:sp>
      <p:sp>
        <p:nvSpPr>
          <p:cNvPr id="35843" name="Rectangle 2"/>
          <p:cNvSpPr>
            <a:spLocks noGrp="1" noRot="1" noChangeAspect="1" noChangeArrowheads="1" noTextEdit="1"/>
          </p:cNvSpPr>
          <p:nvPr>
            <p:ph type="sldImg"/>
          </p:nvPr>
        </p:nvSpPr>
        <p:spPr>
          <a:xfrm>
            <a:off x="2895600" y="525463"/>
            <a:ext cx="3505200" cy="2628900"/>
          </a:xfrm>
          <a:ln/>
        </p:spPr>
      </p:sp>
      <p:sp>
        <p:nvSpPr>
          <p:cNvPr id="35844" name="Rectangle 3"/>
          <p:cNvSpPr>
            <a:spLocks noGrp="1" noChangeArrowheads="1"/>
          </p:cNvSpPr>
          <p:nvPr>
            <p:ph type="body" idx="1"/>
          </p:nvPr>
        </p:nvSpPr>
        <p:spPr>
          <a:xfrm>
            <a:off x="930275" y="3330575"/>
            <a:ext cx="7435850" cy="3154363"/>
          </a:xfrm>
          <a:noFill/>
          <a:ln/>
        </p:spPr>
        <p:txBody>
          <a:bodyPr/>
          <a:lstStyle/>
          <a:p>
            <a:pPr eaLnBrk="1" hangingPunct="1"/>
            <a:endParaRPr lang="en-US" dirty="0"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noTextEdit="1"/>
          </p:cNvSpPr>
          <p:nvPr>
            <p:ph type="sldImg"/>
          </p:nvPr>
        </p:nvSpPr>
        <p:spPr>
          <a:ln/>
        </p:spPr>
      </p:sp>
      <p:sp>
        <p:nvSpPr>
          <p:cNvPr id="72706" name="Notes Placeholder 2"/>
          <p:cNvSpPr>
            <a:spLocks noGrp="1"/>
          </p:cNvSpPr>
          <p:nvPr>
            <p:ph type="body" idx="1"/>
          </p:nvPr>
        </p:nvSpPr>
        <p:spPr>
          <a:noFill/>
          <a:ln/>
        </p:spPr>
        <p:txBody>
          <a:bodyPr/>
          <a:lstStyle/>
          <a:p>
            <a:pPr defTabSz="900113"/>
            <a:endParaRPr lang="en-US" dirty="0" smtClean="0"/>
          </a:p>
        </p:txBody>
      </p:sp>
      <p:sp>
        <p:nvSpPr>
          <p:cNvPr id="72707" name="Slide Number Placeholder 3"/>
          <p:cNvSpPr>
            <a:spLocks noGrp="1"/>
          </p:cNvSpPr>
          <p:nvPr>
            <p:ph type="sldNum" sz="quarter" idx="5"/>
          </p:nvPr>
        </p:nvSpPr>
        <p:spPr>
          <a:noFill/>
        </p:spPr>
        <p:txBody>
          <a:bodyPr/>
          <a:lstStyle/>
          <a:p>
            <a:pPr defTabSz="915988"/>
            <a:fld id="{D84BDD3D-1192-4BE1-A7BB-9B2682A74BB0}" type="slidenum">
              <a:rPr lang="en-US" smtClean="0"/>
              <a:pPr defTabSz="915988"/>
              <a:t>21</a:t>
            </a:fld>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5"/>
          </p:nvPr>
        </p:nvSpPr>
        <p:spPr>
          <a:noFill/>
        </p:spPr>
        <p:txBody>
          <a:bodyPr/>
          <a:lstStyle/>
          <a:p>
            <a:fld id="{769D66E8-9FC7-487D-838E-07713BA159B2}" type="slidenum">
              <a:rPr lang="en-US" smtClean="0">
                <a:solidFill>
                  <a:srgbClr val="000000"/>
                </a:solidFill>
              </a:rPr>
              <a:pPr/>
              <a:t>22</a:t>
            </a:fld>
            <a:endParaRPr lang="en-US" dirty="0" smtClean="0">
              <a:solidFill>
                <a:srgbClr val="000000"/>
              </a:solidFill>
            </a:endParaRPr>
          </a:p>
        </p:txBody>
      </p:sp>
      <p:sp>
        <p:nvSpPr>
          <p:cNvPr id="74754" name="Rectangle 2"/>
          <p:cNvSpPr>
            <a:spLocks noGrp="1" noRot="1" noChangeAspect="1" noChangeArrowheads="1" noTextEdit="1"/>
          </p:cNvSpPr>
          <p:nvPr>
            <p:ph type="sldImg"/>
          </p:nvPr>
        </p:nvSpPr>
        <p:spPr>
          <a:ln/>
        </p:spPr>
      </p:sp>
      <p:sp>
        <p:nvSpPr>
          <p:cNvPr id="74755"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8355EA4D-72E1-4435-837F-F246C6D28C05}" type="slidenum">
              <a:rPr lang="en-US" smtClean="0">
                <a:latin typeface="Arial" pitchFamily="34" charset="0"/>
              </a:rPr>
              <a:pPr/>
              <a:t>27</a:t>
            </a:fld>
            <a:endParaRPr lang="en-US" dirty="0" smtClean="0">
              <a:latin typeface="Arial" pitchFamily="34" charset="0"/>
            </a:endParaRPr>
          </a:p>
        </p:txBody>
      </p:sp>
      <p:sp>
        <p:nvSpPr>
          <p:cNvPr id="44035" name="Rectangle 2"/>
          <p:cNvSpPr>
            <a:spLocks noGrp="1" noRot="1" noChangeAspect="1" noChangeArrowheads="1" noTextEdit="1"/>
          </p:cNvSpPr>
          <p:nvPr>
            <p:ph type="sldImg"/>
          </p:nvPr>
        </p:nvSpPr>
        <p:spPr>
          <a:xfrm>
            <a:off x="2895600" y="525463"/>
            <a:ext cx="3505200" cy="2628900"/>
          </a:xfrm>
          <a:ln/>
        </p:spPr>
      </p:sp>
      <p:sp>
        <p:nvSpPr>
          <p:cNvPr id="44036" name="Rectangle 3"/>
          <p:cNvSpPr>
            <a:spLocks noGrp="1" noChangeArrowheads="1"/>
          </p:cNvSpPr>
          <p:nvPr>
            <p:ph type="body" idx="1"/>
          </p:nvPr>
        </p:nvSpPr>
        <p:spPr>
          <a:xfrm>
            <a:off x="930275" y="3330575"/>
            <a:ext cx="7435850" cy="3154363"/>
          </a:xfrm>
          <a:noFill/>
          <a:ln/>
        </p:spPr>
        <p:txBody>
          <a:bodyPr/>
          <a:lstStyle/>
          <a:p>
            <a:pPr eaLnBrk="1" hangingPunct="1"/>
            <a:r>
              <a:rPr lang="en-US" b="1" dirty="0" smtClean="0">
                <a:latin typeface="Arial" pitchFamily="34" charset="0"/>
              </a:rPr>
              <a:t>Packaging and Waste Examples</a:t>
            </a:r>
            <a:endParaRPr lang="en-US" dirty="0" smtClean="0">
              <a:latin typeface="Arial" pitchFamily="34" charset="0"/>
            </a:endParaRPr>
          </a:p>
          <a:p>
            <a:pPr eaLnBrk="1" hangingPunct="1"/>
            <a:r>
              <a:rPr lang="en-US" dirty="0" smtClean="0">
                <a:latin typeface="Arial" pitchFamily="34" charset="0"/>
              </a:rPr>
              <a:t>Our packaging Network worked to reduce excessive </a:t>
            </a:r>
            <a:r>
              <a:rPr lang="en-US" b="1" dirty="0" smtClean="0">
                <a:latin typeface="Arial" pitchFamily="34" charset="0"/>
              </a:rPr>
              <a:t>packaging</a:t>
            </a:r>
            <a:r>
              <a:rPr lang="en-US" dirty="0" smtClean="0">
                <a:latin typeface="Arial" pitchFamily="34" charset="0"/>
              </a:rPr>
              <a:t> on some of our </a:t>
            </a:r>
            <a:r>
              <a:rPr lang="en-US" b="1" dirty="0" smtClean="0">
                <a:latin typeface="Arial" pitchFamily="34" charset="0"/>
              </a:rPr>
              <a:t>private-label toy products</a:t>
            </a:r>
            <a:r>
              <a:rPr lang="en-US" dirty="0" smtClean="0">
                <a:latin typeface="Arial" pitchFamily="34" charset="0"/>
              </a:rPr>
              <a:t>.  By making the packaging just a little bit smaller to fit the items a little better…we found that we could supply the product with 727 fewer shipping containers than what was needed with the previous packaging design. Which saved $3.5 million in transportation costs alone. We estimate that we saved 5,190 trees and 1358 barrels of oil that would have been used to produce the packaging.</a:t>
            </a:r>
          </a:p>
          <a:p>
            <a:pPr eaLnBrk="1" hangingPunct="1"/>
            <a:endParaRPr lang="en-US" dirty="0" smtClean="0">
              <a:latin typeface="Arial" pitchFamily="34" charset="0"/>
            </a:endParaRPr>
          </a:p>
          <a:p>
            <a:pPr eaLnBrk="1" hangingPunct="1"/>
            <a:r>
              <a:rPr lang="en-US" dirty="0" smtClean="0">
                <a:latin typeface="Arial" pitchFamily="34" charset="0"/>
              </a:rPr>
              <a:t>We have also worked with a vendor to create something call a </a:t>
            </a:r>
            <a:r>
              <a:rPr lang="en-US" b="1" dirty="0" smtClean="0">
                <a:latin typeface="Arial" pitchFamily="34" charset="0"/>
              </a:rPr>
              <a:t>sandwich bale</a:t>
            </a:r>
            <a:r>
              <a:rPr lang="en-US" dirty="0" smtClean="0">
                <a:latin typeface="Arial" pitchFamily="34" charset="0"/>
              </a:rPr>
              <a:t>, that allows us to recycle plastic that we haven’t recycled in the past…like apparel film, plastic bags and shrink wrap. We pay to haul if off and dump it…we getting nothing back from it. Well, this plastic can be recycled into all kinds of products.  But to this point, it’s been very hard to get this loose plastic into a form that’s easy to transport. The sandwich bale solves that problem – by compressing the plastic between cardboard layers.  Then baled, and hauled off. We just began implementing this program and this program could add US$28 million to the bottom line in 2006. </a:t>
            </a:r>
          </a:p>
          <a:p>
            <a:pPr eaLnBrk="1" hangingPunct="1"/>
            <a:endParaRPr lang="en-US" dirty="0" smtClean="0">
              <a:latin typeface="Arial" pitchFamily="34" charset="0"/>
            </a:endParaRPr>
          </a:p>
          <a:p>
            <a:pPr eaLnBrk="1" hangingPunct="1"/>
            <a:endParaRPr lang="en-US" dirty="0" smtClean="0">
              <a:latin typeface="Arial" pitchFamily="34" charset="0"/>
            </a:endParaRPr>
          </a:p>
          <a:p>
            <a:pPr eaLnBrk="1" hangingPunct="1"/>
            <a:endParaRPr lang="en-US" dirty="0"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fld id="{10BF6AA8-9C17-43BF-B70B-E824FD3782BB}" type="slidenum">
              <a:rPr lang="en-US" smtClean="0">
                <a:latin typeface="Arial" pitchFamily="34" charset="0"/>
              </a:rPr>
              <a:pPr/>
              <a:t>28</a:t>
            </a:fld>
            <a:endParaRPr lang="en-US" dirty="0" smtClean="0">
              <a:latin typeface="Arial" pitchFamily="34" charset="0"/>
            </a:endParaRPr>
          </a:p>
        </p:txBody>
      </p:sp>
      <p:sp>
        <p:nvSpPr>
          <p:cNvPr id="45059" name="Rectangle 2"/>
          <p:cNvSpPr>
            <a:spLocks noGrp="1" noRot="1" noChangeAspect="1" noChangeArrowheads="1" noTextEdit="1"/>
          </p:cNvSpPr>
          <p:nvPr>
            <p:ph type="sldImg"/>
          </p:nvPr>
        </p:nvSpPr>
        <p:spPr>
          <a:xfrm>
            <a:off x="2895600" y="525463"/>
            <a:ext cx="3505200" cy="2628900"/>
          </a:xfrm>
          <a:ln/>
        </p:spPr>
      </p:sp>
      <p:sp>
        <p:nvSpPr>
          <p:cNvPr id="45060" name="Rectangle 3"/>
          <p:cNvSpPr>
            <a:spLocks noGrp="1" noChangeArrowheads="1"/>
          </p:cNvSpPr>
          <p:nvPr>
            <p:ph type="body" idx="1"/>
          </p:nvPr>
        </p:nvSpPr>
        <p:spPr>
          <a:noFill/>
          <a:ln/>
        </p:spPr>
        <p:txBody>
          <a:bodyPr/>
          <a:lstStyle/>
          <a:p>
            <a:pPr eaLnBrk="1" hangingPunct="1"/>
            <a:endParaRPr lang="en-US" dirty="0"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r>
              <a:rPr lang="en-US" dirty="0" smtClean="0">
                <a:latin typeface="Arial" pitchFamily="34" charset="0"/>
              </a:rPr>
              <a:t>#</a:t>
            </a:r>
          </a:p>
        </p:txBody>
      </p:sp>
      <p:sp>
        <p:nvSpPr>
          <p:cNvPr id="43011" name="Rectangle 2"/>
          <p:cNvSpPr>
            <a:spLocks noGrp="1" noRot="1" noChangeAspect="1" noChangeArrowheads="1" noTextEdit="1"/>
          </p:cNvSpPr>
          <p:nvPr>
            <p:ph type="sldImg"/>
          </p:nvPr>
        </p:nvSpPr>
        <p:spPr>
          <a:xfrm>
            <a:off x="2898775" y="527050"/>
            <a:ext cx="3500438" cy="2625725"/>
          </a:xfrm>
          <a:ln cap="flat"/>
        </p:spPr>
      </p:sp>
      <p:sp>
        <p:nvSpPr>
          <p:cNvPr id="43012"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16C8C007-0A1D-4CC5-AB7D-5992A28CB26D}" type="slidenum">
              <a:rPr lang="en-US" smtClean="0"/>
              <a:pPr>
                <a:defRPr/>
              </a:pPr>
              <a:t>3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BCEC1250-49B1-4CB9-8C23-D837C4565D41}" type="slidenum">
              <a:rPr lang="en-US" smtClean="0">
                <a:latin typeface="Arial" pitchFamily="34" charset="0"/>
              </a:rPr>
              <a:pPr/>
              <a:t>4</a:t>
            </a:fld>
            <a:endParaRPr lang="en-US" dirty="0" smtClean="0">
              <a:latin typeface="Arial" pitchFamily="34" charset="0"/>
            </a:endParaRPr>
          </a:p>
        </p:txBody>
      </p:sp>
      <p:sp>
        <p:nvSpPr>
          <p:cNvPr id="38915" name="Rectangle 2"/>
          <p:cNvSpPr>
            <a:spLocks noGrp="1" noRot="1" noChangeAspect="1" noChangeArrowheads="1" noTextEdit="1"/>
          </p:cNvSpPr>
          <p:nvPr>
            <p:ph type="sldImg"/>
          </p:nvPr>
        </p:nvSpPr>
        <p:spPr>
          <a:xfrm>
            <a:off x="2895600" y="525463"/>
            <a:ext cx="3505200" cy="2628900"/>
          </a:xfrm>
          <a:ln/>
        </p:spPr>
      </p:sp>
      <p:sp>
        <p:nvSpPr>
          <p:cNvPr id="38916" name="Rectangle 3"/>
          <p:cNvSpPr>
            <a:spLocks noGrp="1" noChangeArrowheads="1"/>
          </p:cNvSpPr>
          <p:nvPr>
            <p:ph type="body" idx="1"/>
          </p:nvPr>
        </p:nvSpPr>
        <p:spPr>
          <a:noFill/>
          <a:ln/>
        </p:spPr>
        <p:txBody>
          <a:bodyPr lIns="91421" tIns="45711" rIns="91421" bIns="45711"/>
          <a:lstStyle/>
          <a:p>
            <a:pPr eaLnBrk="1" hangingPunct="1"/>
            <a:endParaRPr lang="en-US" dirty="0"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801DDFA4-198B-4C85-B2FC-F2C8BF904232}" type="slidenum">
              <a:rPr lang="en-US" smtClean="0">
                <a:latin typeface="Arial" pitchFamily="34" charset="0"/>
              </a:rPr>
              <a:pPr/>
              <a:t>5</a:t>
            </a:fld>
            <a:endParaRPr lang="en-US" dirty="0" smtClean="0">
              <a:latin typeface="Arial" pitchFamily="34" charset="0"/>
            </a:endParaRPr>
          </a:p>
        </p:txBody>
      </p:sp>
      <p:sp>
        <p:nvSpPr>
          <p:cNvPr id="37891" name="Rectangle 2"/>
          <p:cNvSpPr>
            <a:spLocks noGrp="1" noRot="1" noChangeAspect="1" noChangeArrowheads="1" noTextEdit="1"/>
          </p:cNvSpPr>
          <p:nvPr>
            <p:ph type="sldImg"/>
          </p:nvPr>
        </p:nvSpPr>
        <p:spPr>
          <a:xfrm>
            <a:off x="2895600" y="525463"/>
            <a:ext cx="3505200" cy="2628900"/>
          </a:xfrm>
          <a:ln/>
        </p:spPr>
      </p:sp>
      <p:sp>
        <p:nvSpPr>
          <p:cNvPr id="37892" name="Rectangle 3"/>
          <p:cNvSpPr>
            <a:spLocks noGrp="1" noChangeArrowheads="1"/>
          </p:cNvSpPr>
          <p:nvPr>
            <p:ph type="body" idx="1"/>
          </p:nvPr>
        </p:nvSpPr>
        <p:spPr>
          <a:noFill/>
          <a:ln/>
        </p:spPr>
        <p:txBody>
          <a:bodyPr lIns="91421" tIns="45711" rIns="91421" bIns="45711"/>
          <a:lstStyle/>
          <a:p>
            <a:pPr eaLnBrk="1" hangingPunct="1"/>
            <a:endParaRPr lang="en-US"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F59302F7-B4E5-435A-909A-4323EA9F353D}" type="slidenum">
              <a:rPr lang="en-US" smtClean="0">
                <a:latin typeface="Arial" pitchFamily="34" charset="0"/>
              </a:rPr>
              <a:pPr/>
              <a:t>6</a:t>
            </a:fld>
            <a:endParaRPr lang="en-US" dirty="0" smtClean="0">
              <a:latin typeface="Arial" pitchFamily="34" charset="0"/>
            </a:endParaRPr>
          </a:p>
        </p:txBody>
      </p:sp>
      <p:sp>
        <p:nvSpPr>
          <p:cNvPr id="39939" name="Rectangle 2"/>
          <p:cNvSpPr>
            <a:spLocks noGrp="1" noRot="1" noChangeAspect="1" noChangeArrowheads="1" noTextEdit="1"/>
          </p:cNvSpPr>
          <p:nvPr>
            <p:ph type="sldImg"/>
          </p:nvPr>
        </p:nvSpPr>
        <p:spPr>
          <a:xfrm>
            <a:off x="2895600" y="525463"/>
            <a:ext cx="3505200" cy="2628900"/>
          </a:xfrm>
          <a:ln/>
        </p:spPr>
      </p:sp>
      <p:sp>
        <p:nvSpPr>
          <p:cNvPr id="39940" name="Rectangle 3"/>
          <p:cNvSpPr>
            <a:spLocks noGrp="1" noChangeArrowheads="1"/>
          </p:cNvSpPr>
          <p:nvPr>
            <p:ph type="body" idx="1"/>
          </p:nvPr>
        </p:nvSpPr>
        <p:spPr>
          <a:noFill/>
          <a:ln/>
        </p:spPr>
        <p:txBody>
          <a:bodyPr/>
          <a:lstStyle/>
          <a:p>
            <a:pPr eaLnBrk="1" hangingPunct="1">
              <a:buFontTx/>
              <a:buChar char="•"/>
            </a:pPr>
            <a:endParaRPr lang="en-US" dirty="0"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6A4587F5-DFC6-4B3F-9E8F-C81FE933C72D}" type="slidenum">
              <a:rPr lang="en-US" smtClean="0">
                <a:latin typeface="Arial" pitchFamily="34" charset="0"/>
              </a:rPr>
              <a:pPr/>
              <a:t>9</a:t>
            </a:fld>
            <a:endParaRPr lang="en-US" dirty="0" smtClean="0">
              <a:latin typeface="Arial" pitchFamily="34" charset="0"/>
            </a:endParaRPr>
          </a:p>
        </p:txBody>
      </p:sp>
      <p:sp>
        <p:nvSpPr>
          <p:cNvPr id="40963" name="Rectangle 2"/>
          <p:cNvSpPr>
            <a:spLocks noGrp="1" noRot="1" noChangeAspect="1" noChangeArrowheads="1" noTextEdit="1"/>
          </p:cNvSpPr>
          <p:nvPr>
            <p:ph type="sldImg"/>
          </p:nvPr>
        </p:nvSpPr>
        <p:spPr>
          <a:xfrm>
            <a:off x="2898775" y="527050"/>
            <a:ext cx="3500438" cy="2625725"/>
          </a:xfrm>
          <a:ln cap="flat"/>
        </p:spPr>
      </p:sp>
      <p:sp>
        <p:nvSpPr>
          <p:cNvPr id="40964" name="Rectangle 3"/>
          <p:cNvSpPr>
            <a:spLocks noGrp="1" noChangeArrowheads="1"/>
          </p:cNvSpPr>
          <p:nvPr>
            <p:ph type="body" idx="1"/>
          </p:nvPr>
        </p:nvSpPr>
        <p:spPr>
          <a:noFill/>
          <a:ln/>
        </p:spPr>
        <p:txBody>
          <a:bodyPr lIns="92377" tIns="46190" rIns="92377" bIns="46190"/>
          <a:lstStyle/>
          <a:p>
            <a:pPr eaLnBrk="1" hangingPunct="1"/>
            <a:endParaRPr lang="en-US"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r>
              <a:rPr lang="en-US" dirty="0" smtClean="0">
                <a:latin typeface="Arial" pitchFamily="34" charset="0"/>
              </a:rPr>
              <a:t>#</a:t>
            </a:r>
          </a:p>
        </p:txBody>
      </p:sp>
      <p:sp>
        <p:nvSpPr>
          <p:cNvPr id="41987" name="Rectangle 7"/>
          <p:cNvSpPr txBox="1">
            <a:spLocks noGrp="1" noChangeArrowheads="1"/>
          </p:cNvSpPr>
          <p:nvPr/>
        </p:nvSpPr>
        <p:spPr bwMode="auto">
          <a:xfrm>
            <a:off x="5267325" y="6657975"/>
            <a:ext cx="4027488" cy="350838"/>
          </a:xfrm>
          <a:prstGeom prst="rect">
            <a:avLst/>
          </a:prstGeom>
          <a:noFill/>
          <a:ln w="9525">
            <a:noFill/>
            <a:miter lim="800000"/>
            <a:headEnd/>
            <a:tailEnd/>
          </a:ln>
        </p:spPr>
        <p:txBody>
          <a:bodyPr lIns="94366" tIns="47183" rIns="94366" bIns="47183" anchor="b"/>
          <a:lstStyle/>
          <a:p>
            <a:pPr algn="r" defTabSz="942975"/>
            <a:fld id="{FB433F89-FBA1-4020-A6C4-6B9B2276A3FF}" type="slidenum">
              <a:rPr lang="en-US" sz="1200"/>
              <a:pPr algn="r" defTabSz="942975"/>
              <a:t>10</a:t>
            </a:fld>
            <a:endParaRPr lang="en-US" sz="1200" dirty="0"/>
          </a:p>
        </p:txBody>
      </p:sp>
      <p:sp>
        <p:nvSpPr>
          <p:cNvPr id="41988" name="Rectangle 2"/>
          <p:cNvSpPr>
            <a:spLocks noGrp="1" noRot="1" noChangeAspect="1" noChangeArrowheads="1" noTextEdit="1"/>
          </p:cNvSpPr>
          <p:nvPr>
            <p:ph type="sldImg"/>
          </p:nvPr>
        </p:nvSpPr>
        <p:spPr>
          <a:xfrm>
            <a:off x="2895600" y="523875"/>
            <a:ext cx="3505200" cy="2630488"/>
          </a:xfrm>
          <a:ln/>
        </p:spPr>
      </p:sp>
      <p:sp>
        <p:nvSpPr>
          <p:cNvPr id="41989" name="Rectangle 3"/>
          <p:cNvSpPr>
            <a:spLocks noGrp="1" noChangeArrowheads="1"/>
          </p:cNvSpPr>
          <p:nvPr>
            <p:ph type="body" idx="1"/>
          </p:nvPr>
        </p:nvSpPr>
        <p:spPr>
          <a:xfrm>
            <a:off x="1239838" y="3328988"/>
            <a:ext cx="6816725" cy="3157537"/>
          </a:xfrm>
          <a:noFill/>
          <a:ln/>
        </p:spPr>
        <p:txBody>
          <a:bodyPr lIns="94366" tIns="47183" rIns="94366" bIns="47183"/>
          <a:lstStyle/>
          <a:p>
            <a:pPr>
              <a:buFontTx/>
              <a:buChar char="•"/>
            </a:pPr>
            <a:r>
              <a:rPr lang="en-US" sz="1400" dirty="0" smtClean="0">
                <a:latin typeface="Arial" pitchFamily="34" charset="0"/>
              </a:rPr>
              <a:t>We knew that we could not solve the challenges of tomorrow within, or external to the company, without an aggressive ES strategy.</a:t>
            </a:r>
          </a:p>
          <a:p>
            <a:pPr>
              <a:buFontTx/>
              <a:buChar char="•"/>
            </a:pPr>
            <a:endParaRPr lang="en-US" sz="1400" b="1" dirty="0" smtClean="0">
              <a:latin typeface="Arial" pitchFamily="34" charset="0"/>
            </a:endParaRPr>
          </a:p>
          <a:p>
            <a:pPr>
              <a:buFontTx/>
              <a:buChar char="•"/>
            </a:pPr>
            <a:r>
              <a:rPr lang="en-US" sz="1400" dirty="0" smtClean="0">
                <a:latin typeface="Arial" pitchFamily="34" charset="0"/>
              </a:rPr>
              <a:t>And it became obvious early on that:</a:t>
            </a:r>
          </a:p>
          <a:p>
            <a:pPr>
              <a:buFontTx/>
              <a:buChar char="•"/>
            </a:pPr>
            <a:endParaRPr lang="en-US" sz="1400" dirty="0" smtClean="0">
              <a:latin typeface="Arial" pitchFamily="34" charset="0"/>
            </a:endParaRPr>
          </a:p>
          <a:p>
            <a:pPr>
              <a:buFontTx/>
              <a:buChar char="•"/>
            </a:pPr>
            <a:r>
              <a:rPr lang="en-US" sz="1400" b="1" dirty="0" smtClean="0">
                <a:latin typeface="Arial" pitchFamily="34" charset="0"/>
              </a:rPr>
              <a:t>1</a:t>
            </a:r>
            <a:r>
              <a:rPr lang="en-US" sz="1400" dirty="0" smtClean="0">
                <a:latin typeface="Arial" pitchFamily="34" charset="0"/>
              </a:rPr>
              <a:t>) We were already involved in ES </a:t>
            </a:r>
          </a:p>
          <a:p>
            <a:pPr lvl="1">
              <a:buFontTx/>
              <a:buChar char="•"/>
            </a:pPr>
            <a:r>
              <a:rPr lang="en-US" sz="1400" dirty="0" smtClean="0">
                <a:latin typeface="Arial" pitchFamily="34" charset="0"/>
              </a:rPr>
              <a:t>Supply Chain efficiency</a:t>
            </a:r>
          </a:p>
          <a:p>
            <a:pPr lvl="1">
              <a:buFontTx/>
              <a:buChar char="•"/>
            </a:pPr>
            <a:r>
              <a:rPr lang="en-US" sz="1400" dirty="0" smtClean="0">
                <a:latin typeface="Arial" pitchFamily="34" charset="0"/>
              </a:rPr>
              <a:t>Productivity Improvements</a:t>
            </a:r>
          </a:p>
          <a:p>
            <a:pPr lvl="1">
              <a:buFontTx/>
              <a:buChar char="•"/>
            </a:pPr>
            <a:r>
              <a:rPr lang="en-US" sz="1400" dirty="0" smtClean="0">
                <a:latin typeface="Arial" pitchFamily="34" charset="0"/>
              </a:rPr>
              <a:t>Energy Saving Initiatives</a:t>
            </a:r>
          </a:p>
          <a:p>
            <a:pPr>
              <a:buFontTx/>
              <a:buChar char="•"/>
            </a:pPr>
            <a:r>
              <a:rPr lang="en-US" sz="1400" dirty="0" smtClean="0">
                <a:latin typeface="Arial" pitchFamily="34" charset="0"/>
              </a:rPr>
              <a:t>2) We needed to move from the incremental to the transformational…..</a:t>
            </a:r>
          </a:p>
          <a:p>
            <a:pPr>
              <a:buFontTx/>
              <a:buChar char="•"/>
            </a:pPr>
            <a:endParaRPr lang="en-US" sz="1400" dirty="0" smtClean="0">
              <a:latin typeface="Arial" pitchFamily="34" charset="0"/>
            </a:endParaRPr>
          </a:p>
          <a:p>
            <a:pPr>
              <a:buFontTx/>
              <a:buChar char="•"/>
            </a:pPr>
            <a:endParaRPr lang="en-US" sz="1400" dirty="0"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noTextEdit="1"/>
          </p:cNvSpPr>
          <p:nvPr>
            <p:ph type="sldImg"/>
          </p:nvPr>
        </p:nvSpPr>
        <p:spPr>
          <a:ln/>
        </p:spPr>
      </p:sp>
      <p:sp>
        <p:nvSpPr>
          <p:cNvPr id="70658" name="Notes Placeholder 2"/>
          <p:cNvSpPr>
            <a:spLocks noGrp="1"/>
          </p:cNvSpPr>
          <p:nvPr>
            <p:ph type="body" idx="1"/>
          </p:nvPr>
        </p:nvSpPr>
        <p:spPr>
          <a:noFill/>
          <a:ln/>
        </p:spPr>
        <p:txBody>
          <a:bodyPr/>
          <a:lstStyle/>
          <a:p>
            <a:endParaRPr lang="en-US" dirty="0" smtClean="0"/>
          </a:p>
        </p:txBody>
      </p:sp>
      <p:sp>
        <p:nvSpPr>
          <p:cNvPr id="70659" name="Slide Number Placeholder 3"/>
          <p:cNvSpPr>
            <a:spLocks noGrp="1"/>
          </p:cNvSpPr>
          <p:nvPr>
            <p:ph type="sldNum" sz="quarter" idx="5"/>
          </p:nvPr>
        </p:nvSpPr>
        <p:spPr>
          <a:noFill/>
        </p:spPr>
        <p:txBody>
          <a:bodyPr/>
          <a:lstStyle/>
          <a:p>
            <a:pPr defTabSz="915988"/>
            <a:fld id="{B2A97CF8-CA2D-4711-918E-AB8E9EFE9CC0}" type="slidenum">
              <a:rPr lang="en-US" smtClean="0"/>
              <a:pPr defTabSz="915988"/>
              <a:t>16</a:t>
            </a:fld>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p:cNvSpPr>
            <a:spLocks noGrp="1" noRot="1" noChangeAspect="1" noTextEdit="1"/>
          </p:cNvSpPr>
          <p:nvPr>
            <p:ph type="sldImg"/>
          </p:nvPr>
        </p:nvSpPr>
        <p:spPr>
          <a:ln/>
        </p:spPr>
      </p:sp>
      <p:sp>
        <p:nvSpPr>
          <p:cNvPr id="84994" name="Notes Placeholder 2"/>
          <p:cNvSpPr>
            <a:spLocks noGrp="1"/>
          </p:cNvSpPr>
          <p:nvPr>
            <p:ph type="body" idx="1"/>
          </p:nvPr>
        </p:nvSpPr>
        <p:spPr>
          <a:noFill/>
          <a:ln/>
        </p:spPr>
        <p:txBody>
          <a:bodyPr/>
          <a:lstStyle/>
          <a:p>
            <a:endParaRPr lang="en-US" dirty="0" smtClean="0"/>
          </a:p>
        </p:txBody>
      </p:sp>
      <p:sp>
        <p:nvSpPr>
          <p:cNvPr id="84995" name="Slide Number Placeholder 3"/>
          <p:cNvSpPr>
            <a:spLocks noGrp="1"/>
          </p:cNvSpPr>
          <p:nvPr>
            <p:ph type="sldNum" sz="quarter" idx="5"/>
          </p:nvPr>
        </p:nvSpPr>
        <p:spPr>
          <a:noFill/>
        </p:spPr>
        <p:txBody>
          <a:bodyPr/>
          <a:lstStyle/>
          <a:p>
            <a:fld id="{9FC19C84-113E-498F-9F68-43B27CA9339C}" type="slidenum">
              <a:rPr lang="en-US" smtClean="0">
                <a:solidFill>
                  <a:srgbClr val="000000"/>
                </a:solidFill>
              </a:rPr>
              <a:pPr/>
              <a:t>17</a:t>
            </a:fld>
            <a:endParaRPr lang="en-US" dirty="0"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noTextEdit="1"/>
          </p:cNvSpPr>
          <p:nvPr>
            <p:ph type="sldImg"/>
          </p:nvPr>
        </p:nvSpPr>
        <p:spPr>
          <a:ln/>
        </p:spPr>
      </p:sp>
      <p:sp>
        <p:nvSpPr>
          <p:cNvPr id="68610" name="Notes Placeholder 2"/>
          <p:cNvSpPr>
            <a:spLocks noGrp="1"/>
          </p:cNvSpPr>
          <p:nvPr>
            <p:ph type="body" idx="1"/>
          </p:nvPr>
        </p:nvSpPr>
        <p:spPr>
          <a:noFill/>
          <a:ln/>
        </p:spPr>
        <p:txBody>
          <a:bodyPr/>
          <a:lstStyle/>
          <a:p>
            <a:endParaRPr lang="en-US" dirty="0" smtClean="0"/>
          </a:p>
        </p:txBody>
      </p:sp>
      <p:sp>
        <p:nvSpPr>
          <p:cNvPr id="68611" name="Slide Number Placeholder 3"/>
          <p:cNvSpPr>
            <a:spLocks noGrp="1"/>
          </p:cNvSpPr>
          <p:nvPr>
            <p:ph type="sldNum" sz="quarter" idx="5"/>
          </p:nvPr>
        </p:nvSpPr>
        <p:spPr>
          <a:noFill/>
        </p:spPr>
        <p:txBody>
          <a:bodyPr/>
          <a:lstStyle/>
          <a:p>
            <a:fld id="{6091B09D-627D-4639-8C30-614BC43903A0}" type="slidenum">
              <a:rPr lang="en-US" smtClean="0">
                <a:solidFill>
                  <a:srgbClr val="000000"/>
                </a:solidFill>
              </a:rPr>
              <a:pPr/>
              <a:t>20</a:t>
            </a:fld>
            <a:endParaRPr lang="en-US" dirty="0"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2"/>
          <p:cNvSpPr>
            <a:spLocks noChangeArrowheads="1"/>
          </p:cNvSpPr>
          <p:nvPr/>
        </p:nvSpPr>
        <p:spPr bwMode="auto">
          <a:xfrm>
            <a:off x="6556375" y="1600200"/>
            <a:ext cx="2587625" cy="4113213"/>
          </a:xfrm>
          <a:prstGeom prst="roundRect">
            <a:avLst>
              <a:gd name="adj" fmla="val 0"/>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 name="AutoShape 3"/>
          <p:cNvSpPr>
            <a:spLocks noChangeArrowheads="1"/>
          </p:cNvSpPr>
          <p:nvPr/>
        </p:nvSpPr>
        <p:spPr bwMode="auto">
          <a:xfrm>
            <a:off x="227013" y="1600200"/>
            <a:ext cx="7069137" cy="4113213"/>
          </a:xfrm>
          <a:prstGeom prst="roundRect">
            <a:avLst>
              <a:gd name="adj" fmla="val 7606"/>
            </a:avLst>
          </a:prstGeom>
          <a:solidFill>
            <a:schemeClr val="accent1"/>
          </a:solidFill>
          <a:ln w="9525">
            <a:noFill/>
            <a:round/>
            <a:headEnd/>
            <a:tailEnd/>
          </a:ln>
          <a:effectLst/>
        </p:spPr>
        <p:txBody>
          <a:bodyPr wrap="none" anchor="ctr"/>
          <a:lstStyle/>
          <a:p>
            <a:pPr>
              <a:defRPr/>
            </a:pPr>
            <a:endParaRPr lang="en-US">
              <a:latin typeface="Arial" charset="0"/>
            </a:endParaRPr>
          </a:p>
        </p:txBody>
      </p:sp>
      <p:pic>
        <p:nvPicPr>
          <p:cNvPr id="6" name="Picture 9" descr="wmt_h_tag_sm_c"/>
          <p:cNvPicPr>
            <a:picLocks noChangeAspect="1" noChangeArrowheads="1"/>
          </p:cNvPicPr>
          <p:nvPr/>
        </p:nvPicPr>
        <p:blipFill>
          <a:blip r:embed="rId2" cstate="print"/>
          <a:srcRect/>
          <a:stretch>
            <a:fillRect/>
          </a:stretch>
        </p:blipFill>
        <p:spPr bwMode="auto">
          <a:xfrm>
            <a:off x="6448425" y="550863"/>
            <a:ext cx="2439988" cy="779462"/>
          </a:xfrm>
          <a:prstGeom prst="rect">
            <a:avLst/>
          </a:prstGeom>
          <a:noFill/>
          <a:ln w="9525">
            <a:noFill/>
            <a:miter lim="800000"/>
            <a:headEnd/>
            <a:tailEnd/>
          </a:ln>
        </p:spPr>
      </p:pic>
      <p:sp>
        <p:nvSpPr>
          <p:cNvPr id="2052" name="Rectangle 4"/>
          <p:cNvSpPr>
            <a:spLocks noGrp="1" noChangeArrowheads="1"/>
          </p:cNvSpPr>
          <p:nvPr>
            <p:ph type="ctrTitle" sz="quarter"/>
          </p:nvPr>
        </p:nvSpPr>
        <p:spPr bwMode="gray">
          <a:xfrm>
            <a:off x="676275" y="3038475"/>
            <a:ext cx="5218113" cy="519113"/>
          </a:xfrm>
        </p:spPr>
        <p:txBody>
          <a:bodyPr/>
          <a:lstStyle>
            <a:lvl1pPr>
              <a:defRPr sz="2800">
                <a:solidFill>
                  <a:schemeClr val="bg1"/>
                </a:solidFill>
              </a:defRPr>
            </a:lvl1pPr>
          </a:lstStyle>
          <a:p>
            <a:r>
              <a:rPr lang="en-US"/>
              <a:t>Click to edit Master title style</a:t>
            </a:r>
          </a:p>
        </p:txBody>
      </p:sp>
      <p:sp>
        <p:nvSpPr>
          <p:cNvPr id="2053" name="Rectangle 5"/>
          <p:cNvSpPr>
            <a:spLocks noGrp="1" noChangeArrowheads="1"/>
          </p:cNvSpPr>
          <p:nvPr>
            <p:ph type="subTitle" sz="quarter" idx="1"/>
          </p:nvPr>
        </p:nvSpPr>
        <p:spPr bwMode="gray">
          <a:xfrm>
            <a:off x="676275" y="3597275"/>
            <a:ext cx="5214938" cy="1752600"/>
          </a:xfrm>
        </p:spPr>
        <p:txBody>
          <a:bodyPr/>
          <a:lstStyle>
            <a:lvl1pPr marL="0" indent="0">
              <a:buFont typeface="Times" pitchFamily="18" charset="0"/>
              <a:buNone/>
              <a:defRPr sz="2800">
                <a:solidFill>
                  <a:schemeClr val="folHlink"/>
                </a:solidFill>
              </a:defRPr>
            </a:lvl1pPr>
          </a:lstStyle>
          <a:p>
            <a:r>
              <a:rPr lang="en-US"/>
              <a:t>Click to edit Master subtitle style</a:t>
            </a:r>
          </a:p>
        </p:txBody>
      </p:sp>
      <p:sp>
        <p:nvSpPr>
          <p:cNvPr id="7" name="Rectangle 6"/>
          <p:cNvSpPr>
            <a:spLocks noGrp="1" noChangeArrowheads="1"/>
          </p:cNvSpPr>
          <p:nvPr>
            <p:ph type="ftr" sz="quarter" idx="10"/>
          </p:nvPr>
        </p:nvSpPr>
        <p:spPr bwMode="auto">
          <a:xfrm>
            <a:off x="690563" y="6248400"/>
            <a:ext cx="5203825" cy="457200"/>
          </a:xfrm>
        </p:spPr>
        <p:txBody>
          <a:bodyPr/>
          <a:lstStyle>
            <a:lvl1pPr>
              <a:defRPr/>
            </a:lvl1pPr>
          </a:lstStyle>
          <a:p>
            <a:pPr>
              <a:defRPr/>
            </a:pPr>
            <a:r>
              <a:rPr lang="en-US"/>
              <a:t>2009 Temperature Control Conference</a:t>
            </a:r>
          </a:p>
        </p:txBody>
      </p:sp>
      <p:sp>
        <p:nvSpPr>
          <p:cNvPr id="8" name="Slide Number Placeholder 7"/>
          <p:cNvSpPr>
            <a:spLocks noGrp="1" noChangeArrowheads="1"/>
          </p:cNvSpPr>
          <p:nvPr>
            <p:ph type="sldNum" sz="quarter" idx="11"/>
          </p:nvPr>
        </p:nvSpPr>
        <p:spPr bwMode="auto">
          <a:xfrm>
            <a:off x="6573838" y="6248400"/>
            <a:ext cx="2171700" cy="457200"/>
          </a:xfrm>
          <a:prstGeom prst="rect">
            <a:avLst/>
          </a:prstGeom>
          <a:ln>
            <a:miter lim="800000"/>
            <a:headEnd/>
            <a:tailEnd/>
          </a:ln>
        </p:spPr>
        <p:txBody>
          <a:bodyPr vert="horz" wrap="square" lIns="0" tIns="46038" rIns="0" bIns="46038" numCol="1" anchor="t" anchorCtr="0" compatLnSpc="1">
            <a:prstTxWarp prst="textNoShape">
              <a:avLst/>
            </a:prstTxWarp>
          </a:bodyPr>
          <a:lstStyle>
            <a:lvl1pPr algn="ctr">
              <a:defRPr sz="1000" b="1">
                <a:solidFill>
                  <a:schemeClr val="bg1"/>
                </a:solidFill>
                <a:latin typeface="Arial" charset="0"/>
                <a:ea typeface="MS PGothic" pitchFamily="34" charset="-128"/>
              </a:defRPr>
            </a:lvl1pPr>
          </a:lstStyle>
          <a:p>
            <a:pPr>
              <a:defRPr/>
            </a:pPr>
            <a:fld id="{E5902A3C-9F98-400C-B3CD-069F5463BCDE}"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19075"/>
            <a:ext cx="2057400" cy="6032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19075"/>
            <a:ext cx="6019800" cy="6032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095375"/>
            <a:ext cx="4038600" cy="515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095375"/>
            <a:ext cx="4038600" cy="2501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749675"/>
            <a:ext cx="4038600" cy="2501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6"/>
          <p:cNvSpPr>
            <a:spLocks noGrp="1" noChangeArrowheads="1"/>
          </p:cNvSpPr>
          <p:nvPr>
            <p:ph type="ftr" sz="quarter" idx="10"/>
          </p:nvPr>
        </p:nvSpPr>
        <p:spPr/>
        <p:txBody>
          <a:bodyPr/>
          <a:lstStyle>
            <a:lvl1pPr>
              <a:defRPr/>
            </a:lvl1pPr>
          </a:lstStyle>
          <a:p>
            <a:pPr>
              <a:defRPr/>
            </a:pPr>
            <a:r>
              <a:rPr lang="en-US" dirty="0"/>
              <a:t>Walmart Confidentia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095375"/>
            <a:ext cx="8229600" cy="5156200"/>
          </a:xfrm>
        </p:spPr>
        <p:txBody>
          <a:bodyPr/>
          <a:lstStyle/>
          <a:p>
            <a:pPr lvl="0"/>
            <a:endParaRPr lang="en-US" noProof="0" smtClean="0"/>
          </a:p>
        </p:txBody>
      </p:sp>
      <p:sp>
        <p:nvSpPr>
          <p:cNvPr id="4" name="Rectangle 6"/>
          <p:cNvSpPr>
            <a:spLocks noGrp="1" noChangeArrowheads="1"/>
          </p:cNvSpPr>
          <p:nvPr>
            <p:ph type="ftr" sz="quarter" idx="10"/>
          </p:nvPr>
        </p:nvSpPr>
        <p:spPr/>
        <p:txBody>
          <a:bodyPr/>
          <a:lstStyle>
            <a:lvl1pPr>
              <a:defRPr/>
            </a:lvl1pPr>
          </a:lstStyle>
          <a:p>
            <a:pPr>
              <a:defRPr/>
            </a:pPr>
            <a:r>
              <a:rPr lang="en-US"/>
              <a:t>CSCMP 2009</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19075"/>
            <a:ext cx="8229600" cy="6032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6"/>
          <p:cNvSpPr>
            <a:spLocks noGrp="1" noChangeArrowheads="1"/>
          </p:cNvSpPr>
          <p:nvPr>
            <p:ph type="ftr" sz="quarter" idx="10"/>
          </p:nvPr>
        </p:nvSpPr>
        <p:spPr/>
        <p:txBody>
          <a:bodyPr/>
          <a:lstStyle>
            <a:lvl1pPr>
              <a:defRPr/>
            </a:lvl1pPr>
          </a:lstStyle>
          <a:p>
            <a:pPr>
              <a:defRPr/>
            </a:pPr>
            <a:r>
              <a:rPr lang="en-US"/>
              <a:t>CSCMP 2009</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095375"/>
            <a:ext cx="8229600" cy="5156200"/>
          </a:xfrm>
        </p:spPr>
        <p:txBody>
          <a:bodyPr/>
          <a:lstStyle/>
          <a:p>
            <a:pPr lvl="0"/>
            <a:endParaRPr lang="en-US" noProof="0" smtClean="0"/>
          </a:p>
        </p:txBody>
      </p:sp>
      <p:sp>
        <p:nvSpPr>
          <p:cNvPr id="4" name="Rectangle 6"/>
          <p:cNvSpPr>
            <a:spLocks noGrp="1" noChangeArrowheads="1"/>
          </p:cNvSpPr>
          <p:nvPr>
            <p:ph type="ftr" sz="quarter" idx="10"/>
          </p:nvPr>
        </p:nvSpPr>
        <p:spPr/>
        <p:txBody>
          <a:bodyPr/>
          <a:lstStyle>
            <a:lvl1pPr>
              <a:defRPr/>
            </a:lvl1pPr>
          </a:lstStyle>
          <a:p>
            <a:pPr>
              <a:defRPr/>
            </a:pPr>
            <a:r>
              <a:rPr lang="en-US"/>
              <a:t>CSCMP 2009</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t>2009 Temperature Control Conferenc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2"/>
          <p:cNvSpPr>
            <a:spLocks noChangeArrowheads="1"/>
          </p:cNvSpPr>
          <p:nvPr/>
        </p:nvSpPr>
        <p:spPr bwMode="auto">
          <a:xfrm>
            <a:off x="460375" y="6407150"/>
            <a:ext cx="6742113" cy="320675"/>
          </a:xfrm>
          <a:prstGeom prst="roundRect">
            <a:avLst>
              <a:gd name="adj" fmla="val 1665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3075" name="Rectangle 4"/>
          <p:cNvSpPr>
            <a:spLocks noGrp="1" noChangeArrowheads="1"/>
          </p:cNvSpPr>
          <p:nvPr>
            <p:ph type="title"/>
          </p:nvPr>
        </p:nvSpPr>
        <p:spPr bwMode="auto">
          <a:xfrm>
            <a:off x="457200" y="219075"/>
            <a:ext cx="8229600" cy="366713"/>
          </a:xfrm>
          <a:prstGeom prst="rect">
            <a:avLst/>
          </a:prstGeom>
          <a:noFill/>
          <a:ln w="9525">
            <a:noFill/>
            <a:miter lim="800000"/>
            <a:headEnd/>
            <a:tailEnd/>
          </a:ln>
        </p:spPr>
        <p:txBody>
          <a:bodyPr vert="horz" wrap="square" lIns="0" tIns="46038" rIns="0" bIns="46038" numCol="1" anchor="t" anchorCtr="0" compatLnSpc="1">
            <a:prstTxWarp prst="textNoShape">
              <a:avLst/>
            </a:prstTxWarp>
            <a:spAutoFit/>
          </a:bodyPr>
          <a:lstStyle/>
          <a:p>
            <a:pPr lvl="0"/>
            <a:r>
              <a:rPr lang="en-US" smtClean="0"/>
              <a:t>Click to edit Master title style</a:t>
            </a:r>
          </a:p>
        </p:txBody>
      </p:sp>
      <p:sp>
        <p:nvSpPr>
          <p:cNvPr id="3076" name="Rectangle 5"/>
          <p:cNvSpPr>
            <a:spLocks noGrp="1" noChangeArrowheads="1"/>
          </p:cNvSpPr>
          <p:nvPr>
            <p:ph type="body" idx="1"/>
          </p:nvPr>
        </p:nvSpPr>
        <p:spPr bwMode="auto">
          <a:xfrm>
            <a:off x="457200" y="1095375"/>
            <a:ext cx="8229600" cy="5156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ftr" sz="quarter" idx="3"/>
          </p:nvPr>
        </p:nvSpPr>
        <p:spPr bwMode="gray">
          <a:xfrm>
            <a:off x="909638" y="6456363"/>
            <a:ext cx="5711825" cy="214312"/>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000" b="1">
                <a:solidFill>
                  <a:schemeClr val="bg1"/>
                </a:solidFill>
                <a:latin typeface="Arial" charset="0"/>
                <a:ea typeface="MS PGothic" pitchFamily="34" charset="-128"/>
              </a:defRPr>
            </a:lvl1pPr>
          </a:lstStyle>
          <a:p>
            <a:pPr>
              <a:defRPr/>
            </a:pPr>
            <a:r>
              <a:rPr lang="en-US"/>
              <a:t>2009 Temperature Control Conference</a:t>
            </a:r>
          </a:p>
        </p:txBody>
      </p:sp>
      <p:pic>
        <p:nvPicPr>
          <p:cNvPr id="3078" name="Picture 9" descr="wmt_h_tag_sm_c"/>
          <p:cNvPicPr>
            <a:picLocks noChangeAspect="1" noChangeArrowheads="1"/>
          </p:cNvPicPr>
          <p:nvPr/>
        </p:nvPicPr>
        <p:blipFill>
          <a:blip r:embed="rId17" cstate="print"/>
          <a:srcRect b="4416"/>
          <a:stretch>
            <a:fillRect/>
          </a:stretch>
        </p:blipFill>
        <p:spPr bwMode="auto">
          <a:xfrm>
            <a:off x="7261225" y="6297613"/>
            <a:ext cx="1492250" cy="457200"/>
          </a:xfrm>
          <a:prstGeom prst="rect">
            <a:avLst/>
          </a:prstGeom>
          <a:noFill/>
          <a:ln w="9525">
            <a:noFill/>
            <a:miter lim="800000"/>
            <a:headEnd/>
            <a:tailEnd/>
          </a:ln>
        </p:spPr>
      </p:pic>
      <p:sp>
        <p:nvSpPr>
          <p:cNvPr id="1034" name="Rectangle 10"/>
          <p:cNvSpPr>
            <a:spLocks noGrp="1" noChangeArrowheads="1"/>
          </p:cNvSpPr>
          <p:nvPr/>
        </p:nvSpPr>
        <p:spPr bwMode="gray">
          <a:xfrm>
            <a:off x="487363" y="6453188"/>
            <a:ext cx="328612" cy="255587"/>
          </a:xfrm>
          <a:prstGeom prst="rect">
            <a:avLst/>
          </a:prstGeom>
          <a:noFill/>
          <a:ln w="9525">
            <a:noFill/>
            <a:miter lim="800000"/>
            <a:headEnd/>
            <a:tailEnd/>
          </a:ln>
          <a:effectLst/>
        </p:spPr>
        <p:txBody>
          <a:bodyPr lIns="0" tIns="46038" rIns="0" bIns="46038"/>
          <a:lstStyle/>
          <a:p>
            <a:pPr algn="ctr" eaLnBrk="0" hangingPunct="0">
              <a:defRPr/>
            </a:pPr>
            <a:fld id="{B38D4C32-FCC5-4008-9180-776EFC144A1A}" type="slidenum">
              <a:rPr lang="en-US" sz="1000" b="1">
                <a:solidFill>
                  <a:schemeClr val="bg1"/>
                </a:solidFill>
                <a:latin typeface="Arial" charset="0"/>
              </a:rPr>
              <a:pPr algn="ctr" eaLnBrk="0" hangingPunct="0">
                <a:defRPr/>
              </a:pPr>
              <a:t>‹#›</a:t>
            </a:fld>
            <a:endParaRPr lang="en-US" sz="1000" b="1">
              <a:solidFill>
                <a:srgbClr val="003896"/>
              </a:solidFill>
              <a:latin typeface="Arial" charset="0"/>
            </a:endParaRPr>
          </a:p>
        </p:txBody>
      </p:sp>
      <p:sp>
        <p:nvSpPr>
          <p:cNvPr id="1035" name="Line 11"/>
          <p:cNvSpPr>
            <a:spLocks noChangeShapeType="1"/>
          </p:cNvSpPr>
          <p:nvPr/>
        </p:nvSpPr>
        <p:spPr bwMode="auto">
          <a:xfrm>
            <a:off x="812800" y="6429375"/>
            <a:ext cx="0" cy="266700"/>
          </a:xfrm>
          <a:prstGeom prst="line">
            <a:avLst/>
          </a:prstGeom>
          <a:noFill/>
          <a:ln w="12700">
            <a:solidFill>
              <a:schemeClr val="bg1"/>
            </a:solidFill>
            <a:round/>
            <a:headEnd type="none" w="sm" len="sm"/>
            <a:tailEnd type="none" w="sm" len="sm"/>
          </a:ln>
          <a:effectLst/>
        </p:spPr>
        <p:txBody>
          <a:bodyPr wrap="none" anchor="ctr"/>
          <a:lstStyle/>
          <a:p>
            <a:pPr>
              <a:defRPr/>
            </a:pPr>
            <a:endParaRPr lang="en-US">
              <a:latin typeface="Arial" charset="0"/>
            </a:endParaRPr>
          </a:p>
        </p:txBody>
      </p:sp>
    </p:spTree>
  </p:cSld>
  <p:clrMap bg1="lt1" tx1="dk1" bg2="lt2" tx2="dk2" accent1="accent1" accent2="accent2" accent3="accent3" accent4="accent4" accent5="accent5" accent6="accent6" hlink="hlink" folHlink="folHlink"/>
  <p:sldLayoutIdLst>
    <p:sldLayoutId id="2147483691"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2" r:id="rId12"/>
    <p:sldLayoutId id="2147483693" r:id="rId13"/>
    <p:sldLayoutId id="2147483694" r:id="rId14"/>
    <p:sldLayoutId id="2147483695" r:id="rId15"/>
  </p:sldLayoutIdLst>
  <p:hf sldNum="0" hdr="0" dt="0"/>
  <p:txStyles>
    <p:titleStyle>
      <a:lvl1pPr algn="l" rtl="0" eaLnBrk="0" fontAlgn="base" hangingPunct="0">
        <a:spcBef>
          <a:spcPct val="0"/>
        </a:spcBef>
        <a:spcAft>
          <a:spcPct val="0"/>
        </a:spcAft>
        <a:defRPr b="1">
          <a:solidFill>
            <a:schemeClr val="accent2"/>
          </a:solidFill>
          <a:latin typeface="+mj-lt"/>
          <a:ea typeface="+mj-ea"/>
          <a:cs typeface="+mj-cs"/>
        </a:defRPr>
      </a:lvl1pPr>
      <a:lvl2pPr algn="l" rtl="0" eaLnBrk="0" fontAlgn="base" hangingPunct="0">
        <a:spcBef>
          <a:spcPct val="0"/>
        </a:spcBef>
        <a:spcAft>
          <a:spcPct val="0"/>
        </a:spcAft>
        <a:defRPr b="1">
          <a:solidFill>
            <a:schemeClr val="accent2"/>
          </a:solidFill>
          <a:latin typeface="Arial" charset="0"/>
        </a:defRPr>
      </a:lvl2pPr>
      <a:lvl3pPr algn="l" rtl="0" eaLnBrk="0" fontAlgn="base" hangingPunct="0">
        <a:spcBef>
          <a:spcPct val="0"/>
        </a:spcBef>
        <a:spcAft>
          <a:spcPct val="0"/>
        </a:spcAft>
        <a:defRPr b="1">
          <a:solidFill>
            <a:schemeClr val="accent2"/>
          </a:solidFill>
          <a:latin typeface="Arial" charset="0"/>
        </a:defRPr>
      </a:lvl3pPr>
      <a:lvl4pPr algn="l" rtl="0" eaLnBrk="0" fontAlgn="base" hangingPunct="0">
        <a:spcBef>
          <a:spcPct val="0"/>
        </a:spcBef>
        <a:spcAft>
          <a:spcPct val="0"/>
        </a:spcAft>
        <a:defRPr b="1">
          <a:solidFill>
            <a:schemeClr val="accent2"/>
          </a:solidFill>
          <a:latin typeface="Arial" charset="0"/>
        </a:defRPr>
      </a:lvl4pPr>
      <a:lvl5pPr algn="l" rtl="0" eaLnBrk="0" fontAlgn="base" hangingPunct="0">
        <a:spcBef>
          <a:spcPct val="0"/>
        </a:spcBef>
        <a:spcAft>
          <a:spcPct val="0"/>
        </a:spcAft>
        <a:defRPr b="1">
          <a:solidFill>
            <a:schemeClr val="accent2"/>
          </a:solidFill>
          <a:latin typeface="Arial"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p:titleStyle>
    <p:bodyStyle>
      <a:lvl1pPr marL="287338" indent="-287338" algn="l" rtl="0" eaLnBrk="0" fontAlgn="base" hangingPunct="0">
        <a:spcBef>
          <a:spcPct val="0"/>
        </a:spcBef>
        <a:spcAft>
          <a:spcPct val="0"/>
        </a:spcAft>
        <a:buClr>
          <a:schemeClr val="folHlink"/>
        </a:buClr>
        <a:buSzPct val="120000"/>
        <a:buFont typeface="Times" pitchFamily="18" charset="0"/>
        <a:buChar char="•"/>
        <a:defRPr sz="2000">
          <a:solidFill>
            <a:schemeClr val="tx1"/>
          </a:solidFill>
          <a:latin typeface="+mn-lt"/>
          <a:ea typeface="+mn-ea"/>
          <a:cs typeface="+mn-cs"/>
        </a:defRPr>
      </a:lvl1pPr>
      <a:lvl2pPr marL="627063" indent="-225425" algn="l" rtl="0" eaLnBrk="0" fontAlgn="base" hangingPunct="0">
        <a:spcBef>
          <a:spcPct val="0"/>
        </a:spcBef>
        <a:spcAft>
          <a:spcPct val="0"/>
        </a:spcAft>
        <a:buChar char="–"/>
        <a:defRPr sz="2000">
          <a:solidFill>
            <a:schemeClr val="tx1"/>
          </a:solidFill>
          <a:latin typeface="+mn-lt"/>
        </a:defRPr>
      </a:lvl2pPr>
      <a:lvl3pPr marL="911225" indent="-169863" algn="l" rtl="0" eaLnBrk="0" fontAlgn="base" hangingPunct="0">
        <a:spcBef>
          <a:spcPct val="0"/>
        </a:spcBef>
        <a:spcAft>
          <a:spcPct val="0"/>
        </a:spcAft>
        <a:buClr>
          <a:schemeClr val="hlink"/>
        </a:buClr>
        <a:buFont typeface="Times" pitchFamily="18" charset="0"/>
        <a:buChar char="•"/>
        <a:defRPr sz="2000">
          <a:solidFill>
            <a:schemeClr val="tx1"/>
          </a:solidFill>
          <a:latin typeface="+mn-lt"/>
        </a:defRPr>
      </a:lvl3pPr>
      <a:lvl4pPr marL="1262063" indent="-236538" algn="l" rtl="0" eaLnBrk="0" fontAlgn="base" hangingPunct="0">
        <a:spcBef>
          <a:spcPct val="0"/>
        </a:spcBef>
        <a:spcAft>
          <a:spcPct val="0"/>
        </a:spcAft>
        <a:buChar char="–"/>
        <a:defRPr sz="2000">
          <a:solidFill>
            <a:schemeClr val="tx1"/>
          </a:solidFill>
          <a:latin typeface="+mn-lt"/>
        </a:defRPr>
      </a:lvl4pPr>
      <a:lvl5pPr marL="1600200" indent="-223838" algn="l" rtl="0" eaLnBrk="0" fontAlgn="base" hangingPunct="0">
        <a:spcBef>
          <a:spcPct val="0"/>
        </a:spcBef>
        <a:spcAft>
          <a:spcPct val="0"/>
        </a:spcAft>
        <a:buChar char="»"/>
        <a:defRPr sz="2000">
          <a:solidFill>
            <a:schemeClr val="tx1"/>
          </a:solidFill>
          <a:latin typeface="+mn-lt"/>
        </a:defRPr>
      </a:lvl5pPr>
      <a:lvl6pPr marL="2057400" indent="-223838" algn="l" rtl="0" fontAlgn="base">
        <a:spcBef>
          <a:spcPct val="0"/>
        </a:spcBef>
        <a:spcAft>
          <a:spcPct val="0"/>
        </a:spcAft>
        <a:buChar char="»"/>
        <a:defRPr sz="2000">
          <a:solidFill>
            <a:schemeClr val="tx1"/>
          </a:solidFill>
          <a:latin typeface="+mn-lt"/>
        </a:defRPr>
      </a:lvl6pPr>
      <a:lvl7pPr marL="2514600" indent="-223838" algn="l" rtl="0" fontAlgn="base">
        <a:spcBef>
          <a:spcPct val="0"/>
        </a:spcBef>
        <a:spcAft>
          <a:spcPct val="0"/>
        </a:spcAft>
        <a:buChar char="»"/>
        <a:defRPr sz="2000">
          <a:solidFill>
            <a:schemeClr val="tx1"/>
          </a:solidFill>
          <a:latin typeface="+mn-lt"/>
        </a:defRPr>
      </a:lvl7pPr>
      <a:lvl8pPr marL="2971800" indent="-223838" algn="l" rtl="0" fontAlgn="base">
        <a:spcBef>
          <a:spcPct val="0"/>
        </a:spcBef>
        <a:spcAft>
          <a:spcPct val="0"/>
        </a:spcAft>
        <a:buChar char="»"/>
        <a:defRPr sz="2000">
          <a:solidFill>
            <a:schemeClr val="tx1"/>
          </a:solidFill>
          <a:latin typeface="+mn-lt"/>
        </a:defRPr>
      </a:lvl8pPr>
      <a:lvl9pPr marL="3429000" indent="-223838" algn="l" rtl="0" fontAlgn="base">
        <a:spcBef>
          <a:spcPct val="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Microsoft_Office_Excel_97-2003_Worksheet1.xls"/><Relationship Id="rId2" Type="http://schemas.openxmlformats.org/officeDocument/2006/relationships/slideLayout" Target="../slideLayouts/slideLayout7.xml"/><Relationship Id="rId1" Type="http://schemas.openxmlformats.org/officeDocument/2006/relationships/vmlDrawing" Target="../drawings/vmlDrawing4.v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vmlDrawing" Target="../drawings/vmlDrawing1.v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7.xml"/><Relationship Id="rId5" Type="http://schemas.openxmlformats.org/officeDocument/2006/relationships/image" Target="../media/image73.jpeg"/><Relationship Id="rId4" Type="http://schemas.openxmlformats.org/officeDocument/2006/relationships/image" Target="../media/image72.jpeg"/></Relationships>
</file>

<file path=ppt/slides/_rels/slide2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80.jpeg"/><Relationship Id="rId4" Type="http://schemas.openxmlformats.org/officeDocument/2006/relationships/image" Target="../media/image79.jpeg"/></Relationships>
</file>

<file path=ppt/slides/_rels/slide2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54" Type="http://schemas.openxmlformats.org/officeDocument/2006/relationships/slideLayout" Target="../slideLayouts/slideLayout7.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149" Type="http://schemas.openxmlformats.org/officeDocument/2006/relationships/tags" Target="../tags/tag14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55" Type="http://schemas.openxmlformats.org/officeDocument/2006/relationships/notesSlide" Target="../notesSlides/notesSlide2.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tags" Target="../tags/tag108.xml"/><Relationship Id="rId116" Type="http://schemas.openxmlformats.org/officeDocument/2006/relationships/tags" Target="../tags/tag116.xml"/><Relationship Id="rId124" Type="http://schemas.openxmlformats.org/officeDocument/2006/relationships/tags" Target="../tags/tag124.xml"/><Relationship Id="rId129" Type="http://schemas.openxmlformats.org/officeDocument/2006/relationships/tags" Target="../tags/tag129.xml"/><Relationship Id="rId137" Type="http://schemas.openxmlformats.org/officeDocument/2006/relationships/tags" Target="../tags/tag13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32" Type="http://schemas.openxmlformats.org/officeDocument/2006/relationships/tags" Target="../tags/tag132.xml"/><Relationship Id="rId140" Type="http://schemas.openxmlformats.org/officeDocument/2006/relationships/tags" Target="../tags/tag140.xml"/><Relationship Id="rId145" Type="http://schemas.openxmlformats.org/officeDocument/2006/relationships/tags" Target="../tags/tag145.xml"/><Relationship Id="rId153" Type="http://schemas.openxmlformats.org/officeDocument/2006/relationships/tags" Target="../tags/tag153.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tags" Target="../tags/tag148.xml"/><Relationship Id="rId151" Type="http://schemas.openxmlformats.org/officeDocument/2006/relationships/tags" Target="../tags/tag151.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3" Type="http://schemas.openxmlformats.org/officeDocument/2006/relationships/tags" Target="../tags/tag3.xml"/></Relationships>
</file>

<file path=ppt/slides/_rels/slide5.xml.rels><?xml version="1.0" encoding="UTF-8" standalone="yes"?>
<Relationships xmlns="http://schemas.openxmlformats.org/package/2006/relationships"><Relationship Id="rId26" Type="http://schemas.openxmlformats.org/officeDocument/2006/relationships/tags" Target="../tags/tag179.xml"/><Relationship Id="rId117" Type="http://schemas.openxmlformats.org/officeDocument/2006/relationships/tags" Target="../tags/tag270.xml"/><Relationship Id="rId21" Type="http://schemas.openxmlformats.org/officeDocument/2006/relationships/tags" Target="../tags/tag174.xml"/><Relationship Id="rId42" Type="http://schemas.openxmlformats.org/officeDocument/2006/relationships/tags" Target="../tags/tag195.xml"/><Relationship Id="rId47" Type="http://schemas.openxmlformats.org/officeDocument/2006/relationships/tags" Target="../tags/tag200.xml"/><Relationship Id="rId63" Type="http://schemas.openxmlformats.org/officeDocument/2006/relationships/tags" Target="../tags/tag216.xml"/><Relationship Id="rId68" Type="http://schemas.openxmlformats.org/officeDocument/2006/relationships/tags" Target="../tags/tag221.xml"/><Relationship Id="rId84" Type="http://schemas.openxmlformats.org/officeDocument/2006/relationships/tags" Target="../tags/tag237.xml"/><Relationship Id="rId89" Type="http://schemas.openxmlformats.org/officeDocument/2006/relationships/tags" Target="../tags/tag242.xml"/><Relationship Id="rId112" Type="http://schemas.openxmlformats.org/officeDocument/2006/relationships/tags" Target="../tags/tag265.xml"/><Relationship Id="rId133" Type="http://schemas.openxmlformats.org/officeDocument/2006/relationships/tags" Target="../tags/tag286.xml"/><Relationship Id="rId138" Type="http://schemas.openxmlformats.org/officeDocument/2006/relationships/tags" Target="../tags/tag291.xml"/><Relationship Id="rId154" Type="http://schemas.openxmlformats.org/officeDocument/2006/relationships/slideLayout" Target="../slideLayouts/slideLayout7.xml"/><Relationship Id="rId16" Type="http://schemas.openxmlformats.org/officeDocument/2006/relationships/tags" Target="../tags/tag169.xml"/><Relationship Id="rId107" Type="http://schemas.openxmlformats.org/officeDocument/2006/relationships/tags" Target="../tags/tag260.xml"/><Relationship Id="rId11" Type="http://schemas.openxmlformats.org/officeDocument/2006/relationships/tags" Target="../tags/tag164.xml"/><Relationship Id="rId32" Type="http://schemas.openxmlformats.org/officeDocument/2006/relationships/tags" Target="../tags/tag185.xml"/><Relationship Id="rId37" Type="http://schemas.openxmlformats.org/officeDocument/2006/relationships/tags" Target="../tags/tag190.xml"/><Relationship Id="rId53" Type="http://schemas.openxmlformats.org/officeDocument/2006/relationships/tags" Target="../tags/tag206.xml"/><Relationship Id="rId58" Type="http://schemas.openxmlformats.org/officeDocument/2006/relationships/tags" Target="../tags/tag211.xml"/><Relationship Id="rId74" Type="http://schemas.openxmlformats.org/officeDocument/2006/relationships/tags" Target="../tags/tag227.xml"/><Relationship Id="rId79" Type="http://schemas.openxmlformats.org/officeDocument/2006/relationships/tags" Target="../tags/tag232.xml"/><Relationship Id="rId102" Type="http://schemas.openxmlformats.org/officeDocument/2006/relationships/tags" Target="../tags/tag255.xml"/><Relationship Id="rId123" Type="http://schemas.openxmlformats.org/officeDocument/2006/relationships/tags" Target="../tags/tag276.xml"/><Relationship Id="rId128" Type="http://schemas.openxmlformats.org/officeDocument/2006/relationships/tags" Target="../tags/tag281.xml"/><Relationship Id="rId144" Type="http://schemas.openxmlformats.org/officeDocument/2006/relationships/tags" Target="../tags/tag297.xml"/><Relationship Id="rId149" Type="http://schemas.openxmlformats.org/officeDocument/2006/relationships/tags" Target="../tags/tag302.xml"/><Relationship Id="rId5" Type="http://schemas.openxmlformats.org/officeDocument/2006/relationships/tags" Target="../tags/tag158.xml"/><Relationship Id="rId90" Type="http://schemas.openxmlformats.org/officeDocument/2006/relationships/tags" Target="../tags/tag243.xml"/><Relationship Id="rId95" Type="http://schemas.openxmlformats.org/officeDocument/2006/relationships/tags" Target="../tags/tag248.xml"/><Relationship Id="rId22" Type="http://schemas.openxmlformats.org/officeDocument/2006/relationships/tags" Target="../tags/tag175.xml"/><Relationship Id="rId27" Type="http://schemas.openxmlformats.org/officeDocument/2006/relationships/tags" Target="../tags/tag180.xml"/><Relationship Id="rId43" Type="http://schemas.openxmlformats.org/officeDocument/2006/relationships/tags" Target="../tags/tag196.xml"/><Relationship Id="rId48" Type="http://schemas.openxmlformats.org/officeDocument/2006/relationships/tags" Target="../tags/tag201.xml"/><Relationship Id="rId64" Type="http://schemas.openxmlformats.org/officeDocument/2006/relationships/tags" Target="../tags/tag217.xml"/><Relationship Id="rId69" Type="http://schemas.openxmlformats.org/officeDocument/2006/relationships/tags" Target="../tags/tag222.xml"/><Relationship Id="rId113" Type="http://schemas.openxmlformats.org/officeDocument/2006/relationships/tags" Target="../tags/tag266.xml"/><Relationship Id="rId118" Type="http://schemas.openxmlformats.org/officeDocument/2006/relationships/tags" Target="../tags/tag271.xml"/><Relationship Id="rId134" Type="http://schemas.openxmlformats.org/officeDocument/2006/relationships/tags" Target="../tags/tag287.xml"/><Relationship Id="rId139" Type="http://schemas.openxmlformats.org/officeDocument/2006/relationships/tags" Target="../tags/tag292.xml"/><Relationship Id="rId80" Type="http://schemas.openxmlformats.org/officeDocument/2006/relationships/tags" Target="../tags/tag233.xml"/><Relationship Id="rId85" Type="http://schemas.openxmlformats.org/officeDocument/2006/relationships/tags" Target="../tags/tag238.xml"/><Relationship Id="rId150" Type="http://schemas.openxmlformats.org/officeDocument/2006/relationships/tags" Target="../tags/tag303.xml"/><Relationship Id="rId155" Type="http://schemas.openxmlformats.org/officeDocument/2006/relationships/notesSlide" Target="../notesSlides/notesSlide3.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59" Type="http://schemas.openxmlformats.org/officeDocument/2006/relationships/tags" Target="../tags/tag212.xml"/><Relationship Id="rId67" Type="http://schemas.openxmlformats.org/officeDocument/2006/relationships/tags" Target="../tags/tag220.xml"/><Relationship Id="rId103" Type="http://schemas.openxmlformats.org/officeDocument/2006/relationships/tags" Target="../tags/tag256.xml"/><Relationship Id="rId108" Type="http://schemas.openxmlformats.org/officeDocument/2006/relationships/tags" Target="../tags/tag261.xml"/><Relationship Id="rId116" Type="http://schemas.openxmlformats.org/officeDocument/2006/relationships/tags" Target="../tags/tag269.xml"/><Relationship Id="rId124" Type="http://schemas.openxmlformats.org/officeDocument/2006/relationships/tags" Target="../tags/tag277.xml"/><Relationship Id="rId129" Type="http://schemas.openxmlformats.org/officeDocument/2006/relationships/tags" Target="../tags/tag282.xml"/><Relationship Id="rId137" Type="http://schemas.openxmlformats.org/officeDocument/2006/relationships/tags" Target="../tags/tag290.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tags" Target="../tags/tag207.xml"/><Relationship Id="rId62" Type="http://schemas.openxmlformats.org/officeDocument/2006/relationships/tags" Target="../tags/tag215.xml"/><Relationship Id="rId70" Type="http://schemas.openxmlformats.org/officeDocument/2006/relationships/tags" Target="../tags/tag223.xml"/><Relationship Id="rId75" Type="http://schemas.openxmlformats.org/officeDocument/2006/relationships/tags" Target="../tags/tag228.xml"/><Relationship Id="rId83" Type="http://schemas.openxmlformats.org/officeDocument/2006/relationships/tags" Target="../tags/tag236.xml"/><Relationship Id="rId88" Type="http://schemas.openxmlformats.org/officeDocument/2006/relationships/tags" Target="../tags/tag241.xml"/><Relationship Id="rId91" Type="http://schemas.openxmlformats.org/officeDocument/2006/relationships/tags" Target="../tags/tag244.xml"/><Relationship Id="rId96" Type="http://schemas.openxmlformats.org/officeDocument/2006/relationships/tags" Target="../tags/tag249.xml"/><Relationship Id="rId111" Type="http://schemas.openxmlformats.org/officeDocument/2006/relationships/tags" Target="../tags/tag264.xml"/><Relationship Id="rId132" Type="http://schemas.openxmlformats.org/officeDocument/2006/relationships/tags" Target="../tags/tag285.xml"/><Relationship Id="rId140" Type="http://schemas.openxmlformats.org/officeDocument/2006/relationships/tags" Target="../tags/tag293.xml"/><Relationship Id="rId145" Type="http://schemas.openxmlformats.org/officeDocument/2006/relationships/tags" Target="../tags/tag298.xml"/><Relationship Id="rId153" Type="http://schemas.openxmlformats.org/officeDocument/2006/relationships/tags" Target="../tags/tag306.xml"/><Relationship Id="rId1" Type="http://schemas.openxmlformats.org/officeDocument/2006/relationships/tags" Target="../tags/tag154.xml"/><Relationship Id="rId6" Type="http://schemas.openxmlformats.org/officeDocument/2006/relationships/tags" Target="../tags/tag159.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 Id="rId57" Type="http://schemas.openxmlformats.org/officeDocument/2006/relationships/tags" Target="../tags/tag210.xml"/><Relationship Id="rId106" Type="http://schemas.openxmlformats.org/officeDocument/2006/relationships/tags" Target="../tags/tag259.xml"/><Relationship Id="rId114" Type="http://schemas.openxmlformats.org/officeDocument/2006/relationships/tags" Target="../tags/tag267.xml"/><Relationship Id="rId119" Type="http://schemas.openxmlformats.org/officeDocument/2006/relationships/tags" Target="../tags/tag272.xml"/><Relationship Id="rId127" Type="http://schemas.openxmlformats.org/officeDocument/2006/relationships/tags" Target="../tags/tag280.xml"/><Relationship Id="rId10" Type="http://schemas.openxmlformats.org/officeDocument/2006/relationships/tags" Target="../tags/tag163.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60" Type="http://schemas.openxmlformats.org/officeDocument/2006/relationships/tags" Target="../tags/tag213.xml"/><Relationship Id="rId65" Type="http://schemas.openxmlformats.org/officeDocument/2006/relationships/tags" Target="../tags/tag218.xml"/><Relationship Id="rId73" Type="http://schemas.openxmlformats.org/officeDocument/2006/relationships/tags" Target="../tags/tag226.xml"/><Relationship Id="rId78" Type="http://schemas.openxmlformats.org/officeDocument/2006/relationships/tags" Target="../tags/tag231.xml"/><Relationship Id="rId81" Type="http://schemas.openxmlformats.org/officeDocument/2006/relationships/tags" Target="../tags/tag234.xml"/><Relationship Id="rId86" Type="http://schemas.openxmlformats.org/officeDocument/2006/relationships/tags" Target="../tags/tag239.xml"/><Relationship Id="rId94" Type="http://schemas.openxmlformats.org/officeDocument/2006/relationships/tags" Target="../tags/tag247.xml"/><Relationship Id="rId99" Type="http://schemas.openxmlformats.org/officeDocument/2006/relationships/tags" Target="../tags/tag252.xml"/><Relationship Id="rId101" Type="http://schemas.openxmlformats.org/officeDocument/2006/relationships/tags" Target="../tags/tag254.xml"/><Relationship Id="rId122" Type="http://schemas.openxmlformats.org/officeDocument/2006/relationships/tags" Target="../tags/tag275.xml"/><Relationship Id="rId130" Type="http://schemas.openxmlformats.org/officeDocument/2006/relationships/tags" Target="../tags/tag283.xml"/><Relationship Id="rId135" Type="http://schemas.openxmlformats.org/officeDocument/2006/relationships/tags" Target="../tags/tag288.xml"/><Relationship Id="rId143" Type="http://schemas.openxmlformats.org/officeDocument/2006/relationships/tags" Target="../tags/tag296.xml"/><Relationship Id="rId148" Type="http://schemas.openxmlformats.org/officeDocument/2006/relationships/tags" Target="../tags/tag301.xml"/><Relationship Id="rId151" Type="http://schemas.openxmlformats.org/officeDocument/2006/relationships/tags" Target="../tags/tag304.xml"/><Relationship Id="rId4" Type="http://schemas.openxmlformats.org/officeDocument/2006/relationships/tags" Target="../tags/tag157.xml"/><Relationship Id="rId9" Type="http://schemas.openxmlformats.org/officeDocument/2006/relationships/tags" Target="../tags/tag162.xml"/><Relationship Id="rId13" Type="http://schemas.openxmlformats.org/officeDocument/2006/relationships/tags" Target="../tags/tag166.xml"/><Relationship Id="rId18" Type="http://schemas.openxmlformats.org/officeDocument/2006/relationships/tags" Target="../tags/tag171.xml"/><Relationship Id="rId39" Type="http://schemas.openxmlformats.org/officeDocument/2006/relationships/tags" Target="../tags/tag192.xml"/><Relationship Id="rId109" Type="http://schemas.openxmlformats.org/officeDocument/2006/relationships/tags" Target="../tags/tag262.xml"/><Relationship Id="rId34" Type="http://schemas.openxmlformats.org/officeDocument/2006/relationships/tags" Target="../tags/tag187.xml"/><Relationship Id="rId50" Type="http://schemas.openxmlformats.org/officeDocument/2006/relationships/tags" Target="../tags/tag203.xml"/><Relationship Id="rId55" Type="http://schemas.openxmlformats.org/officeDocument/2006/relationships/tags" Target="../tags/tag208.xml"/><Relationship Id="rId76" Type="http://schemas.openxmlformats.org/officeDocument/2006/relationships/tags" Target="../tags/tag229.xml"/><Relationship Id="rId97" Type="http://schemas.openxmlformats.org/officeDocument/2006/relationships/tags" Target="../tags/tag250.xml"/><Relationship Id="rId104" Type="http://schemas.openxmlformats.org/officeDocument/2006/relationships/tags" Target="../tags/tag257.xml"/><Relationship Id="rId120" Type="http://schemas.openxmlformats.org/officeDocument/2006/relationships/tags" Target="../tags/tag273.xml"/><Relationship Id="rId125" Type="http://schemas.openxmlformats.org/officeDocument/2006/relationships/tags" Target="../tags/tag278.xml"/><Relationship Id="rId141" Type="http://schemas.openxmlformats.org/officeDocument/2006/relationships/tags" Target="../tags/tag294.xml"/><Relationship Id="rId146" Type="http://schemas.openxmlformats.org/officeDocument/2006/relationships/tags" Target="../tags/tag299.xml"/><Relationship Id="rId7" Type="http://schemas.openxmlformats.org/officeDocument/2006/relationships/tags" Target="../tags/tag160.xml"/><Relationship Id="rId71" Type="http://schemas.openxmlformats.org/officeDocument/2006/relationships/tags" Target="../tags/tag224.xml"/><Relationship Id="rId92" Type="http://schemas.openxmlformats.org/officeDocument/2006/relationships/tags" Target="../tags/tag245.xml"/><Relationship Id="rId2" Type="http://schemas.openxmlformats.org/officeDocument/2006/relationships/tags" Target="../tags/tag155.xml"/><Relationship Id="rId29" Type="http://schemas.openxmlformats.org/officeDocument/2006/relationships/tags" Target="../tags/tag182.xml"/><Relationship Id="rId24" Type="http://schemas.openxmlformats.org/officeDocument/2006/relationships/tags" Target="../tags/tag177.xml"/><Relationship Id="rId40" Type="http://schemas.openxmlformats.org/officeDocument/2006/relationships/tags" Target="../tags/tag193.xml"/><Relationship Id="rId45" Type="http://schemas.openxmlformats.org/officeDocument/2006/relationships/tags" Target="../tags/tag198.xml"/><Relationship Id="rId66" Type="http://schemas.openxmlformats.org/officeDocument/2006/relationships/tags" Target="../tags/tag219.xml"/><Relationship Id="rId87" Type="http://schemas.openxmlformats.org/officeDocument/2006/relationships/tags" Target="../tags/tag240.xml"/><Relationship Id="rId110" Type="http://schemas.openxmlformats.org/officeDocument/2006/relationships/tags" Target="../tags/tag263.xml"/><Relationship Id="rId115" Type="http://schemas.openxmlformats.org/officeDocument/2006/relationships/tags" Target="../tags/tag268.xml"/><Relationship Id="rId131" Type="http://schemas.openxmlformats.org/officeDocument/2006/relationships/tags" Target="../tags/tag284.xml"/><Relationship Id="rId136" Type="http://schemas.openxmlformats.org/officeDocument/2006/relationships/tags" Target="../tags/tag289.xml"/><Relationship Id="rId61" Type="http://schemas.openxmlformats.org/officeDocument/2006/relationships/tags" Target="../tags/tag214.xml"/><Relationship Id="rId82" Type="http://schemas.openxmlformats.org/officeDocument/2006/relationships/tags" Target="../tags/tag235.xml"/><Relationship Id="rId152" Type="http://schemas.openxmlformats.org/officeDocument/2006/relationships/tags" Target="../tags/tag305.xml"/><Relationship Id="rId19" Type="http://schemas.openxmlformats.org/officeDocument/2006/relationships/tags" Target="../tags/tag172.xml"/><Relationship Id="rId14" Type="http://schemas.openxmlformats.org/officeDocument/2006/relationships/tags" Target="../tags/tag167.xml"/><Relationship Id="rId30" Type="http://schemas.openxmlformats.org/officeDocument/2006/relationships/tags" Target="../tags/tag183.xml"/><Relationship Id="rId35" Type="http://schemas.openxmlformats.org/officeDocument/2006/relationships/tags" Target="../tags/tag188.xml"/><Relationship Id="rId56" Type="http://schemas.openxmlformats.org/officeDocument/2006/relationships/tags" Target="../tags/tag209.xml"/><Relationship Id="rId77" Type="http://schemas.openxmlformats.org/officeDocument/2006/relationships/tags" Target="../tags/tag230.xml"/><Relationship Id="rId100" Type="http://schemas.openxmlformats.org/officeDocument/2006/relationships/tags" Target="../tags/tag253.xml"/><Relationship Id="rId105" Type="http://schemas.openxmlformats.org/officeDocument/2006/relationships/tags" Target="../tags/tag258.xml"/><Relationship Id="rId126" Type="http://schemas.openxmlformats.org/officeDocument/2006/relationships/tags" Target="../tags/tag279.xml"/><Relationship Id="rId147" Type="http://schemas.openxmlformats.org/officeDocument/2006/relationships/tags" Target="../tags/tag300.xml"/><Relationship Id="rId8" Type="http://schemas.openxmlformats.org/officeDocument/2006/relationships/tags" Target="../tags/tag161.xml"/><Relationship Id="rId51" Type="http://schemas.openxmlformats.org/officeDocument/2006/relationships/tags" Target="../tags/tag204.xml"/><Relationship Id="rId72" Type="http://schemas.openxmlformats.org/officeDocument/2006/relationships/tags" Target="../tags/tag225.xml"/><Relationship Id="rId93" Type="http://schemas.openxmlformats.org/officeDocument/2006/relationships/tags" Target="../tags/tag246.xml"/><Relationship Id="rId98" Type="http://schemas.openxmlformats.org/officeDocument/2006/relationships/tags" Target="../tags/tag251.xml"/><Relationship Id="rId121" Type="http://schemas.openxmlformats.org/officeDocument/2006/relationships/tags" Target="../tags/tag274.xml"/><Relationship Id="rId142" Type="http://schemas.openxmlformats.org/officeDocument/2006/relationships/tags" Target="../tags/tag295.xml"/><Relationship Id="rId3" Type="http://schemas.openxmlformats.org/officeDocument/2006/relationships/tags" Target="../tags/tag15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3" Type="http://schemas.openxmlformats.org/officeDocument/2006/relationships/image" Target="../media/image16.jpeg"/><Relationship Id="rId18" Type="http://schemas.openxmlformats.org/officeDocument/2006/relationships/image" Target="../media/image21.png"/><Relationship Id="rId26" Type="http://schemas.openxmlformats.org/officeDocument/2006/relationships/image" Target="../media/image28.jpeg"/><Relationship Id="rId39" Type="http://schemas.openxmlformats.org/officeDocument/2006/relationships/image" Target="../media/image41.png"/><Relationship Id="rId21" Type="http://schemas.openxmlformats.org/officeDocument/2006/relationships/image" Target="../media/image24.png"/><Relationship Id="rId34" Type="http://schemas.openxmlformats.org/officeDocument/2006/relationships/image" Target="../media/image36.jpeg"/><Relationship Id="rId42" Type="http://schemas.openxmlformats.org/officeDocument/2006/relationships/image" Target="../media/image44.png"/><Relationship Id="rId47" Type="http://schemas.openxmlformats.org/officeDocument/2006/relationships/image" Target="../media/image49.jpeg"/><Relationship Id="rId50" Type="http://schemas.openxmlformats.org/officeDocument/2006/relationships/image" Target="../media/image52.wmf"/><Relationship Id="rId55" Type="http://schemas.openxmlformats.org/officeDocument/2006/relationships/image" Target="../media/image57.jpe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png"/><Relationship Id="rId25" Type="http://schemas.openxmlformats.org/officeDocument/2006/relationships/oleObject" Target="../embeddings/oleObject2.bin"/><Relationship Id="rId33" Type="http://schemas.openxmlformats.org/officeDocument/2006/relationships/image" Target="../media/image35.png"/><Relationship Id="rId38" Type="http://schemas.openxmlformats.org/officeDocument/2006/relationships/image" Target="../media/image40.jpeg"/><Relationship Id="rId46" Type="http://schemas.openxmlformats.org/officeDocument/2006/relationships/image" Target="../media/image48.jpeg"/><Relationship Id="rId59" Type="http://schemas.openxmlformats.org/officeDocument/2006/relationships/image" Target="../media/image61.jpeg"/><Relationship Id="rId2" Type="http://schemas.openxmlformats.org/officeDocument/2006/relationships/slideLayout" Target="../slideLayouts/slideLayout7.xml"/><Relationship Id="rId16" Type="http://schemas.openxmlformats.org/officeDocument/2006/relationships/image" Target="../media/image19.png"/><Relationship Id="rId20" Type="http://schemas.openxmlformats.org/officeDocument/2006/relationships/image" Target="../media/image23.png"/><Relationship Id="rId29" Type="http://schemas.openxmlformats.org/officeDocument/2006/relationships/image" Target="../media/image31.jpeg"/><Relationship Id="rId41" Type="http://schemas.openxmlformats.org/officeDocument/2006/relationships/image" Target="../media/image43.png"/><Relationship Id="rId54" Type="http://schemas.openxmlformats.org/officeDocument/2006/relationships/image" Target="../media/image56.png"/><Relationship Id="rId1" Type="http://schemas.openxmlformats.org/officeDocument/2006/relationships/vmlDrawing" Target="../drawings/vmlDrawing2.vml"/><Relationship Id="rId6" Type="http://schemas.openxmlformats.org/officeDocument/2006/relationships/image" Target="../media/image9.jpeg"/><Relationship Id="rId11" Type="http://schemas.openxmlformats.org/officeDocument/2006/relationships/image" Target="../media/image14.jpeg"/><Relationship Id="rId24" Type="http://schemas.openxmlformats.org/officeDocument/2006/relationships/image" Target="../media/image27.png"/><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wmf"/><Relationship Id="rId45" Type="http://schemas.openxmlformats.org/officeDocument/2006/relationships/image" Target="../media/image47.jpeg"/><Relationship Id="rId53" Type="http://schemas.openxmlformats.org/officeDocument/2006/relationships/image" Target="../media/image55.wmf"/><Relationship Id="rId58" Type="http://schemas.openxmlformats.org/officeDocument/2006/relationships/image" Target="../media/image60.png"/><Relationship Id="rId5" Type="http://schemas.openxmlformats.org/officeDocument/2006/relationships/image" Target="../media/image8.jpeg"/><Relationship Id="rId15" Type="http://schemas.openxmlformats.org/officeDocument/2006/relationships/image" Target="../media/image18.png"/><Relationship Id="rId23" Type="http://schemas.openxmlformats.org/officeDocument/2006/relationships/image" Target="../media/image26.png"/><Relationship Id="rId28" Type="http://schemas.openxmlformats.org/officeDocument/2006/relationships/image" Target="../media/image30.png"/><Relationship Id="rId36" Type="http://schemas.openxmlformats.org/officeDocument/2006/relationships/image" Target="../media/image38.wmf"/><Relationship Id="rId49" Type="http://schemas.openxmlformats.org/officeDocument/2006/relationships/image" Target="../media/image51.jpeg"/><Relationship Id="rId57" Type="http://schemas.openxmlformats.org/officeDocument/2006/relationships/image" Target="../media/image59.png"/><Relationship Id="rId10" Type="http://schemas.openxmlformats.org/officeDocument/2006/relationships/image" Target="../media/image13.jpeg"/><Relationship Id="rId19" Type="http://schemas.openxmlformats.org/officeDocument/2006/relationships/image" Target="../media/image22.png"/><Relationship Id="rId31" Type="http://schemas.openxmlformats.org/officeDocument/2006/relationships/image" Target="../media/image33.jpeg"/><Relationship Id="rId44" Type="http://schemas.openxmlformats.org/officeDocument/2006/relationships/image" Target="../media/image46.jpeg"/><Relationship Id="rId52" Type="http://schemas.openxmlformats.org/officeDocument/2006/relationships/image" Target="../media/image54.wmf"/><Relationship Id="rId60" Type="http://schemas.openxmlformats.org/officeDocument/2006/relationships/image" Target="../media/image62.pn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jpeg"/><Relationship Id="rId43" Type="http://schemas.openxmlformats.org/officeDocument/2006/relationships/image" Target="../media/image45.jpeg"/><Relationship Id="rId48" Type="http://schemas.openxmlformats.org/officeDocument/2006/relationships/image" Target="../media/image50.png"/><Relationship Id="rId56" Type="http://schemas.openxmlformats.org/officeDocument/2006/relationships/image" Target="../media/image58.png"/><Relationship Id="rId8" Type="http://schemas.openxmlformats.org/officeDocument/2006/relationships/image" Target="../media/image11.jpeg"/><Relationship Id="rId51" Type="http://schemas.openxmlformats.org/officeDocument/2006/relationships/image" Target="../media/image53.wmf"/><Relationship Id="rId3"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vmlDrawing" Target="../drawings/vmlDrawing3.v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ctrTitle"/>
          </p:nvPr>
        </p:nvSpPr>
        <p:spPr>
          <a:xfrm>
            <a:off x="676275" y="2487168"/>
            <a:ext cx="7053453" cy="3475827"/>
          </a:xfrm>
        </p:spPr>
        <p:txBody>
          <a:bodyPr/>
          <a:lstStyle/>
          <a:p>
            <a:r>
              <a:rPr lang="en-US" sz="3200" dirty="0" smtClean="0"/>
              <a:t>Talking Freight</a:t>
            </a:r>
            <a:br>
              <a:rPr lang="en-US" sz="3200" dirty="0" smtClean="0"/>
            </a:br>
            <a:r>
              <a:rPr lang="en-US" sz="3200" dirty="0" smtClean="0"/>
              <a:t>2/16/11</a:t>
            </a:r>
            <a:br>
              <a:rPr lang="en-US" sz="3200" dirty="0" smtClean="0"/>
            </a:br>
            <a:r>
              <a:rPr lang="en-US" sz="3200" dirty="0" smtClean="0"/>
              <a:t/>
            </a:r>
            <a:br>
              <a:rPr lang="en-US" sz="3200" dirty="0" smtClean="0"/>
            </a:br>
            <a:r>
              <a:rPr lang="en-US" sz="3200" dirty="0" smtClean="0"/>
              <a:t>	</a:t>
            </a:r>
            <a:r>
              <a:rPr lang="en-US" dirty="0" smtClean="0"/>
              <a:t>Ken Braunbach</a:t>
            </a:r>
            <a:br>
              <a:rPr lang="en-US" dirty="0" smtClean="0"/>
            </a:br>
            <a:r>
              <a:rPr lang="en-US" dirty="0" smtClean="0"/>
              <a:t>	Senior Director-Transportation</a:t>
            </a:r>
            <a:endParaRPr lang="en-US"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Number Placeholder 1"/>
          <p:cNvSpPr>
            <a:spLocks noGrp="1"/>
          </p:cNvSpPr>
          <p:nvPr>
            <p:ph type="sldNum" sz="quarter" idx="4294967295"/>
          </p:nvPr>
        </p:nvSpPr>
        <p:spPr bwMode="gray">
          <a:xfrm>
            <a:off x="909638" y="6456363"/>
            <a:ext cx="5711825" cy="214312"/>
          </a:xfrm>
          <a:prstGeom prst="rect">
            <a:avLst/>
          </a:prstGeom>
          <a:noFill/>
          <a:ln>
            <a:miter lim="800000"/>
            <a:headEnd/>
            <a:tailEnd/>
          </a:ln>
        </p:spPr>
        <p:txBody>
          <a:bodyPr lIns="92075" tIns="46038" rIns="92075" bIns="46038"/>
          <a:lstStyle/>
          <a:p>
            <a:fld id="{938505F5-0A66-4E3A-B041-4C7E42F02FFC}" type="slidenum">
              <a:rPr lang="en-US" sz="1000" b="1">
                <a:solidFill>
                  <a:schemeClr val="bg1"/>
                </a:solidFill>
                <a:ea typeface="MS PGothic"/>
                <a:cs typeface="MS PGothic"/>
              </a:rPr>
              <a:pPr/>
              <a:t>10</a:t>
            </a:fld>
            <a:endParaRPr lang="en-US" sz="1000" b="1" dirty="0">
              <a:solidFill>
                <a:schemeClr val="bg1"/>
              </a:solidFill>
              <a:ea typeface="MS PGothic"/>
              <a:cs typeface="MS PGothic"/>
            </a:endParaRPr>
          </a:p>
        </p:txBody>
      </p:sp>
      <p:sp>
        <p:nvSpPr>
          <p:cNvPr id="24579" name="Text Box 2"/>
          <p:cNvSpPr txBox="1">
            <a:spLocks noChangeArrowheads="1"/>
          </p:cNvSpPr>
          <p:nvPr/>
        </p:nvSpPr>
        <p:spPr bwMode="auto">
          <a:xfrm>
            <a:off x="408432" y="225552"/>
            <a:ext cx="7162800" cy="584775"/>
          </a:xfrm>
          <a:prstGeom prst="rect">
            <a:avLst/>
          </a:prstGeom>
          <a:noFill/>
          <a:ln w="9525">
            <a:noFill/>
            <a:miter lim="800000"/>
            <a:headEnd/>
            <a:tailEnd/>
          </a:ln>
        </p:spPr>
        <p:txBody>
          <a:bodyPr>
            <a:spAutoFit/>
          </a:bodyPr>
          <a:lstStyle/>
          <a:p>
            <a:r>
              <a:rPr lang="en-US" sz="3200" b="1" dirty="0">
                <a:latin typeface="Arial Black" pitchFamily="34" charset="0"/>
              </a:rPr>
              <a:t>Industry</a:t>
            </a:r>
          </a:p>
        </p:txBody>
      </p:sp>
      <p:pic>
        <p:nvPicPr>
          <p:cNvPr id="24580" name="Picture 4"/>
          <p:cNvPicPr>
            <a:picLocks noChangeAspect="1" noChangeArrowheads="1"/>
          </p:cNvPicPr>
          <p:nvPr/>
        </p:nvPicPr>
        <p:blipFill>
          <a:blip r:embed="rId3" cstate="print">
            <a:clrChange>
              <a:clrFrom>
                <a:srgbClr val="D2FE98"/>
              </a:clrFrom>
              <a:clrTo>
                <a:srgbClr val="D2FE98">
                  <a:alpha val="0"/>
                </a:srgbClr>
              </a:clrTo>
            </a:clrChange>
          </a:blip>
          <a:srcRect l="19444" t="22223" r="19444" b="17592"/>
          <a:stretch>
            <a:fillRect/>
          </a:stretch>
        </p:blipFill>
        <p:spPr bwMode="auto">
          <a:xfrm>
            <a:off x="228600" y="1447800"/>
            <a:ext cx="8915400" cy="4876800"/>
          </a:xfrm>
          <a:prstGeom prst="rect">
            <a:avLst/>
          </a:prstGeom>
          <a:noFill/>
          <a:ln w="9525">
            <a:noFill/>
            <a:miter lim="800000"/>
            <a:headEnd/>
            <a:tailEnd/>
          </a:ln>
        </p:spPr>
      </p:pic>
      <p:sp>
        <p:nvSpPr>
          <p:cNvPr id="24581" name="Text Box 5"/>
          <p:cNvSpPr txBox="1">
            <a:spLocks noChangeArrowheads="1"/>
          </p:cNvSpPr>
          <p:nvPr/>
        </p:nvSpPr>
        <p:spPr bwMode="auto">
          <a:xfrm>
            <a:off x="1219200" y="1905000"/>
            <a:ext cx="3352800" cy="1808163"/>
          </a:xfrm>
          <a:prstGeom prst="rect">
            <a:avLst/>
          </a:prstGeom>
          <a:solidFill>
            <a:schemeClr val="accent2"/>
          </a:solidFill>
          <a:ln w="9525">
            <a:solidFill>
              <a:schemeClr val="bg1"/>
            </a:solidFill>
            <a:miter lim="800000"/>
            <a:headEnd/>
            <a:tailEnd/>
          </a:ln>
        </p:spPr>
        <p:txBody>
          <a:bodyPr>
            <a:spAutoFit/>
          </a:bodyPr>
          <a:lstStyle/>
          <a:p>
            <a:pPr eaLnBrk="0" hangingPunct="0">
              <a:buFontTx/>
              <a:buChar char="•"/>
            </a:pPr>
            <a:r>
              <a:rPr lang="en-US" sz="2400" b="1" dirty="0">
                <a:solidFill>
                  <a:schemeClr val="bg1"/>
                </a:solidFill>
              </a:rPr>
              <a:t>  </a:t>
            </a:r>
            <a:r>
              <a:rPr lang="en-US" sz="2000" b="1" dirty="0">
                <a:solidFill>
                  <a:schemeClr val="bg1"/>
                </a:solidFill>
              </a:rPr>
              <a:t>Climate Change</a:t>
            </a:r>
          </a:p>
          <a:p>
            <a:pPr eaLnBrk="0" hangingPunct="0">
              <a:buFontTx/>
              <a:buChar char="•"/>
            </a:pPr>
            <a:r>
              <a:rPr lang="en-US" sz="2000" b="1" dirty="0">
                <a:solidFill>
                  <a:schemeClr val="bg1"/>
                </a:solidFill>
              </a:rPr>
              <a:t>  Driver Shortage</a:t>
            </a:r>
          </a:p>
          <a:p>
            <a:pPr eaLnBrk="0" hangingPunct="0">
              <a:buFontTx/>
              <a:buChar char="•"/>
            </a:pPr>
            <a:r>
              <a:rPr lang="en-US" sz="2000" b="1" dirty="0">
                <a:solidFill>
                  <a:schemeClr val="bg1"/>
                </a:solidFill>
              </a:rPr>
              <a:t>  Fuel/Commodity Cost</a:t>
            </a:r>
          </a:p>
          <a:p>
            <a:pPr eaLnBrk="0" hangingPunct="0">
              <a:buFontTx/>
              <a:buChar char="•"/>
            </a:pPr>
            <a:r>
              <a:rPr lang="en-US" sz="2000" b="1" dirty="0">
                <a:solidFill>
                  <a:schemeClr val="bg1"/>
                </a:solidFill>
              </a:rPr>
              <a:t>  Highway Congestion</a:t>
            </a:r>
          </a:p>
          <a:p>
            <a:pPr eaLnBrk="0" hangingPunct="0">
              <a:buFontTx/>
              <a:buChar char="•"/>
            </a:pPr>
            <a:r>
              <a:rPr lang="en-US" sz="2000" b="1" dirty="0">
                <a:solidFill>
                  <a:schemeClr val="bg1"/>
                </a:solidFill>
              </a:rPr>
              <a:t>  Regulatory Change</a:t>
            </a:r>
            <a:r>
              <a:rPr lang="en-US" sz="2800" b="1" dirty="0">
                <a:solidFill>
                  <a:schemeClr val="bg1"/>
                </a:solidFill>
              </a:rPr>
              <a:t> </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2"/>
          <p:cNvSpPr>
            <a:spLocks noGrp="1"/>
          </p:cNvSpPr>
          <p:nvPr>
            <p:ph type="sldNum" sz="quarter" idx="4294967295"/>
          </p:nvPr>
        </p:nvSpPr>
        <p:spPr>
          <a:xfrm>
            <a:off x="8321675" y="6465888"/>
            <a:ext cx="328613" cy="255587"/>
          </a:xfrm>
          <a:prstGeom prst="rect">
            <a:avLst/>
          </a:prstGeom>
        </p:spPr>
        <p:txBody>
          <a:bodyPr/>
          <a:lstStyle/>
          <a:p>
            <a:endParaRPr lang="en-US" dirty="0"/>
          </a:p>
        </p:txBody>
      </p:sp>
      <p:sp>
        <p:nvSpPr>
          <p:cNvPr id="187394" name="Rectangle 2"/>
          <p:cNvSpPr>
            <a:spLocks noGrp="1" noChangeArrowheads="1"/>
          </p:cNvSpPr>
          <p:nvPr>
            <p:ph type="title" idx="4294967295"/>
          </p:nvPr>
        </p:nvSpPr>
        <p:spPr>
          <a:xfrm>
            <a:off x="673100" y="476250"/>
            <a:ext cx="8451850" cy="579438"/>
          </a:xfrm>
        </p:spPr>
        <p:txBody>
          <a:bodyPr lIns="91440" tIns="45720" rIns="91440" bIns="45720" anchor="ctr"/>
          <a:lstStyle/>
          <a:p>
            <a:r>
              <a:rPr lang="en-US" sz="3200" i="1" dirty="0"/>
              <a:t>Inbound Expense by Mode</a:t>
            </a:r>
          </a:p>
        </p:txBody>
      </p:sp>
      <p:graphicFrame>
        <p:nvGraphicFramePr>
          <p:cNvPr id="187395" name="Object 3"/>
          <p:cNvGraphicFramePr>
            <a:graphicFrameLocks noChangeAspect="1"/>
          </p:cNvGraphicFramePr>
          <p:nvPr/>
        </p:nvGraphicFramePr>
        <p:xfrm>
          <a:off x="0" y="0"/>
          <a:ext cx="8937435" cy="6223659"/>
        </p:xfrm>
        <a:graphic>
          <a:graphicData uri="http://schemas.openxmlformats.org/presentationml/2006/ole">
            <p:oleObj spid="_x0000_s93186" name="Worksheet" r:id="rId3" imgW="7791545" imgH="5734145" progId="Excel.Sheet.8">
              <p:embed/>
            </p:oleObj>
          </a:graphicData>
        </a:graphic>
      </p:graphicFrame>
      <p:sp>
        <p:nvSpPr>
          <p:cNvPr id="187396" name="Text Box 4"/>
          <p:cNvSpPr txBox="1">
            <a:spLocks noChangeArrowheads="1"/>
          </p:cNvSpPr>
          <p:nvPr/>
        </p:nvSpPr>
        <p:spPr bwMode="auto">
          <a:xfrm>
            <a:off x="5867400" y="5137150"/>
            <a:ext cx="1981200" cy="549275"/>
          </a:xfrm>
          <a:prstGeom prst="rect">
            <a:avLst/>
          </a:prstGeom>
          <a:noFill/>
          <a:ln w="9525">
            <a:noFill/>
            <a:miter lim="800000"/>
            <a:headEnd/>
            <a:tailEnd/>
          </a:ln>
        </p:spPr>
        <p:txBody>
          <a:bodyPr>
            <a:spAutoFit/>
          </a:bodyPr>
          <a:lstStyle/>
          <a:p>
            <a:pPr>
              <a:lnSpc>
                <a:spcPct val="50000"/>
              </a:lnSpc>
              <a:spcBef>
                <a:spcPct val="50000"/>
              </a:spcBef>
            </a:pPr>
            <a:r>
              <a:rPr lang="en-US" sz="2000" dirty="0"/>
              <a:t>Truckload</a:t>
            </a:r>
          </a:p>
          <a:p>
            <a:pPr>
              <a:lnSpc>
                <a:spcPct val="50000"/>
              </a:lnSpc>
              <a:spcBef>
                <a:spcPct val="50000"/>
              </a:spcBef>
            </a:pPr>
            <a:r>
              <a:rPr lang="en-US" sz="2000" dirty="0"/>
              <a:t>69%</a:t>
            </a:r>
          </a:p>
        </p:txBody>
      </p:sp>
      <p:sp>
        <p:nvSpPr>
          <p:cNvPr id="187397" name="Text Box 5"/>
          <p:cNvSpPr txBox="1">
            <a:spLocks noChangeArrowheads="1"/>
          </p:cNvSpPr>
          <p:nvPr/>
        </p:nvSpPr>
        <p:spPr bwMode="auto">
          <a:xfrm>
            <a:off x="981075" y="3884613"/>
            <a:ext cx="2038350" cy="549275"/>
          </a:xfrm>
          <a:prstGeom prst="rect">
            <a:avLst/>
          </a:prstGeom>
          <a:noFill/>
          <a:ln w="9525">
            <a:noFill/>
            <a:miter lim="800000"/>
            <a:headEnd/>
            <a:tailEnd/>
          </a:ln>
        </p:spPr>
        <p:txBody>
          <a:bodyPr>
            <a:spAutoFit/>
          </a:bodyPr>
          <a:lstStyle/>
          <a:p>
            <a:pPr>
              <a:lnSpc>
                <a:spcPct val="50000"/>
              </a:lnSpc>
              <a:spcBef>
                <a:spcPct val="50000"/>
              </a:spcBef>
            </a:pPr>
            <a:r>
              <a:rPr lang="en-US" sz="2000" dirty="0"/>
              <a:t>Overnight</a:t>
            </a:r>
          </a:p>
          <a:p>
            <a:pPr>
              <a:lnSpc>
                <a:spcPct val="50000"/>
              </a:lnSpc>
              <a:spcBef>
                <a:spcPct val="50000"/>
              </a:spcBef>
            </a:pPr>
            <a:r>
              <a:rPr lang="en-US" sz="2000" dirty="0"/>
              <a:t>1%</a:t>
            </a:r>
          </a:p>
        </p:txBody>
      </p:sp>
      <p:sp>
        <p:nvSpPr>
          <p:cNvPr id="187398" name="Text Box 6"/>
          <p:cNvSpPr txBox="1">
            <a:spLocks noChangeArrowheads="1"/>
          </p:cNvSpPr>
          <p:nvPr/>
        </p:nvSpPr>
        <p:spPr bwMode="auto">
          <a:xfrm>
            <a:off x="1096963" y="2651125"/>
            <a:ext cx="1660525" cy="549275"/>
          </a:xfrm>
          <a:prstGeom prst="rect">
            <a:avLst/>
          </a:prstGeom>
          <a:noFill/>
          <a:ln w="9525">
            <a:noFill/>
            <a:miter lim="800000"/>
            <a:headEnd/>
            <a:tailEnd/>
          </a:ln>
        </p:spPr>
        <p:txBody>
          <a:bodyPr>
            <a:spAutoFit/>
          </a:bodyPr>
          <a:lstStyle/>
          <a:p>
            <a:pPr>
              <a:lnSpc>
                <a:spcPct val="50000"/>
              </a:lnSpc>
              <a:spcBef>
                <a:spcPct val="50000"/>
              </a:spcBef>
            </a:pPr>
            <a:r>
              <a:rPr lang="en-US" sz="2000" dirty="0"/>
              <a:t>LTL</a:t>
            </a:r>
          </a:p>
          <a:p>
            <a:pPr>
              <a:lnSpc>
                <a:spcPct val="50000"/>
              </a:lnSpc>
              <a:spcBef>
                <a:spcPct val="50000"/>
              </a:spcBef>
            </a:pPr>
            <a:r>
              <a:rPr lang="en-US" sz="2000" dirty="0"/>
              <a:t>20%</a:t>
            </a:r>
          </a:p>
        </p:txBody>
      </p:sp>
      <p:sp>
        <p:nvSpPr>
          <p:cNvPr id="187399" name="Text Box 7"/>
          <p:cNvSpPr txBox="1">
            <a:spLocks noChangeArrowheads="1"/>
          </p:cNvSpPr>
          <p:nvPr/>
        </p:nvSpPr>
        <p:spPr bwMode="auto">
          <a:xfrm>
            <a:off x="1538288" y="1673225"/>
            <a:ext cx="2409825" cy="549275"/>
          </a:xfrm>
          <a:prstGeom prst="rect">
            <a:avLst/>
          </a:prstGeom>
          <a:noFill/>
          <a:ln w="9525">
            <a:noFill/>
            <a:miter lim="800000"/>
            <a:headEnd/>
            <a:tailEnd/>
          </a:ln>
        </p:spPr>
        <p:txBody>
          <a:bodyPr>
            <a:spAutoFit/>
          </a:bodyPr>
          <a:lstStyle/>
          <a:p>
            <a:pPr>
              <a:lnSpc>
                <a:spcPct val="50000"/>
              </a:lnSpc>
              <a:spcBef>
                <a:spcPct val="50000"/>
              </a:spcBef>
            </a:pPr>
            <a:r>
              <a:rPr lang="en-US" sz="2000" dirty="0"/>
              <a:t>Consolidators</a:t>
            </a:r>
          </a:p>
          <a:p>
            <a:pPr>
              <a:lnSpc>
                <a:spcPct val="50000"/>
              </a:lnSpc>
              <a:spcBef>
                <a:spcPct val="50000"/>
              </a:spcBef>
            </a:pPr>
            <a:r>
              <a:rPr lang="en-US" sz="2000" dirty="0"/>
              <a:t>1%</a:t>
            </a:r>
          </a:p>
        </p:txBody>
      </p:sp>
      <p:sp>
        <p:nvSpPr>
          <p:cNvPr id="187400" name="Text Box 8"/>
          <p:cNvSpPr txBox="1">
            <a:spLocks noChangeArrowheads="1"/>
          </p:cNvSpPr>
          <p:nvPr/>
        </p:nvSpPr>
        <p:spPr bwMode="auto">
          <a:xfrm>
            <a:off x="3544888" y="1265238"/>
            <a:ext cx="1247775" cy="549275"/>
          </a:xfrm>
          <a:prstGeom prst="rect">
            <a:avLst/>
          </a:prstGeom>
          <a:noFill/>
          <a:ln w="9525">
            <a:noFill/>
            <a:miter lim="800000"/>
            <a:headEnd/>
            <a:tailEnd/>
          </a:ln>
        </p:spPr>
        <p:txBody>
          <a:bodyPr>
            <a:spAutoFit/>
          </a:bodyPr>
          <a:lstStyle/>
          <a:p>
            <a:pPr>
              <a:lnSpc>
                <a:spcPct val="50000"/>
              </a:lnSpc>
              <a:spcBef>
                <a:spcPct val="50000"/>
              </a:spcBef>
            </a:pPr>
            <a:r>
              <a:rPr lang="en-US" sz="2000" dirty="0"/>
              <a:t>Sm</a:t>
            </a:r>
            <a:r>
              <a:rPr lang="en-US" sz="2000" dirty="0"/>
              <a:t> </a:t>
            </a:r>
            <a:r>
              <a:rPr lang="en-US" sz="2000" dirty="0"/>
              <a:t>Pkg</a:t>
            </a:r>
            <a:endParaRPr lang="en-US" sz="2000" dirty="0"/>
          </a:p>
          <a:p>
            <a:pPr>
              <a:lnSpc>
                <a:spcPct val="50000"/>
              </a:lnSpc>
              <a:spcBef>
                <a:spcPct val="50000"/>
              </a:spcBef>
            </a:pPr>
            <a:r>
              <a:rPr lang="en-US" sz="2000" dirty="0"/>
              <a:t>7%</a:t>
            </a:r>
          </a:p>
        </p:txBody>
      </p:sp>
      <p:sp>
        <p:nvSpPr>
          <p:cNvPr id="187401" name="Text Box 9"/>
          <p:cNvSpPr txBox="1">
            <a:spLocks noChangeArrowheads="1"/>
          </p:cNvSpPr>
          <p:nvPr/>
        </p:nvSpPr>
        <p:spPr bwMode="auto">
          <a:xfrm>
            <a:off x="5011738" y="1231900"/>
            <a:ext cx="1173162" cy="549275"/>
          </a:xfrm>
          <a:prstGeom prst="rect">
            <a:avLst/>
          </a:prstGeom>
          <a:noFill/>
          <a:ln w="9525">
            <a:noFill/>
            <a:miter lim="800000"/>
            <a:headEnd/>
            <a:tailEnd/>
          </a:ln>
        </p:spPr>
        <p:txBody>
          <a:bodyPr>
            <a:spAutoFit/>
          </a:bodyPr>
          <a:lstStyle/>
          <a:p>
            <a:pPr>
              <a:lnSpc>
                <a:spcPct val="50000"/>
              </a:lnSpc>
              <a:spcBef>
                <a:spcPct val="50000"/>
              </a:spcBef>
            </a:pPr>
            <a:r>
              <a:rPr lang="en-US" sz="2000" dirty="0"/>
              <a:t>Ocean</a:t>
            </a:r>
          </a:p>
          <a:p>
            <a:pPr>
              <a:lnSpc>
                <a:spcPct val="50000"/>
              </a:lnSpc>
              <a:spcBef>
                <a:spcPct val="50000"/>
              </a:spcBef>
            </a:pPr>
            <a:r>
              <a:rPr lang="en-US" sz="2000" dirty="0"/>
              <a:t>2%</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2499"/>
            <a:ext cx="8229600" cy="585418"/>
          </a:xfrm>
        </p:spPr>
        <p:txBody>
          <a:bodyPr/>
          <a:lstStyle/>
          <a:p>
            <a:r>
              <a:rPr lang="en-US" sz="3200" dirty="0" smtClean="0">
                <a:solidFill>
                  <a:schemeClr val="tx1"/>
                </a:solidFill>
              </a:rPr>
              <a:t>Load Count  2010 vs. 2009</a:t>
            </a:r>
            <a:endParaRPr lang="en-US" sz="3200" dirty="0">
              <a:solidFill>
                <a:schemeClr val="tx1"/>
              </a:solidFill>
            </a:endParaRPr>
          </a:p>
        </p:txBody>
      </p:sp>
      <p:sp>
        <p:nvSpPr>
          <p:cNvPr id="3" name="Footer Placeholder 2"/>
          <p:cNvSpPr>
            <a:spLocks noGrp="1"/>
          </p:cNvSpPr>
          <p:nvPr>
            <p:ph type="ftr" sz="quarter" idx="10"/>
          </p:nvPr>
        </p:nvSpPr>
        <p:spPr/>
        <p:txBody>
          <a:bodyPr/>
          <a:lstStyle/>
          <a:p>
            <a:pPr>
              <a:defRPr/>
            </a:pPr>
            <a:endParaRPr lang="en-US" dirty="0" smtClean="0"/>
          </a:p>
          <a:p>
            <a:pPr>
              <a:defRPr/>
            </a:pPr>
            <a:endParaRPr lang="en-US" dirty="0"/>
          </a:p>
        </p:txBody>
      </p:sp>
      <p:graphicFrame>
        <p:nvGraphicFramePr>
          <p:cNvPr id="7" name="Table 6"/>
          <p:cNvGraphicFramePr>
            <a:graphicFrameLocks noGrp="1"/>
          </p:cNvGraphicFramePr>
          <p:nvPr/>
        </p:nvGraphicFramePr>
        <p:xfrm>
          <a:off x="768095" y="1048511"/>
          <a:ext cx="7620002" cy="4962144"/>
        </p:xfrm>
        <a:graphic>
          <a:graphicData uri="http://schemas.openxmlformats.org/drawingml/2006/table">
            <a:tbl>
              <a:tblPr/>
              <a:tblGrid>
                <a:gridCol w="2474782"/>
                <a:gridCol w="1692159"/>
                <a:gridCol w="1692159"/>
                <a:gridCol w="1760902"/>
              </a:tblGrid>
              <a:tr h="424894">
                <a:tc gridSpan="4">
                  <a:txBody>
                    <a:bodyPr/>
                    <a:lstStyle/>
                    <a:p>
                      <a:pPr algn="ctr" rtl="0" fontAlgn="b"/>
                      <a:endParaRPr lang="en-US" sz="1600" b="1" i="0" u="none" strike="noStrike" dirty="0">
                        <a:solidFill>
                          <a:srgbClr val="000000"/>
                        </a:solidFill>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r>
              <a:tr h="409718">
                <a:tc>
                  <a:txBody>
                    <a:bodyPr/>
                    <a:lstStyle/>
                    <a:p>
                      <a:pPr algn="ctr" rtl="0" fontAlgn="b"/>
                      <a:r>
                        <a:rPr lang="en-US" sz="1600" b="1" i="0" u="none" strike="noStrike" dirty="0">
                          <a:solidFill>
                            <a:srgbClr val="333399"/>
                          </a:solidFill>
                          <a:latin typeface="Arial"/>
                        </a:rPr>
                        <a:t>Freight Typ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rtl="0" fontAlgn="b"/>
                      <a:r>
                        <a:rPr lang="en-US" sz="1600" b="1" i="0" u="none" strike="noStrike" dirty="0">
                          <a:solidFill>
                            <a:srgbClr val="333399"/>
                          </a:solidFill>
                          <a:latin typeface="Arial"/>
                        </a:rPr>
                        <a:t>TY</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rtl="0" fontAlgn="b"/>
                      <a:r>
                        <a:rPr lang="en-US" sz="1600" b="1" i="0" u="none" strike="noStrike" dirty="0">
                          <a:solidFill>
                            <a:srgbClr val="333399"/>
                          </a:solidFill>
                          <a:latin typeface="Arial"/>
                        </a:rPr>
                        <a:t>LY</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rtl="0" fontAlgn="ctr"/>
                      <a:r>
                        <a:rPr lang="en-US" sz="1600" b="1" i="0" u="none" strike="noStrike" dirty="0">
                          <a:solidFill>
                            <a:srgbClr val="333399"/>
                          </a:solidFill>
                          <a:latin typeface="Arial"/>
                        </a:rPr>
                        <a:t>% Change</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409718">
                <a:tc>
                  <a:txBody>
                    <a:bodyPr/>
                    <a:lstStyle/>
                    <a:p>
                      <a:pPr algn="ctr" rtl="0" fontAlgn="b"/>
                      <a:r>
                        <a:rPr lang="en-US" sz="1600" b="1" i="0" u="none" strike="noStrike" dirty="0">
                          <a:solidFill>
                            <a:srgbClr val="000000"/>
                          </a:solidFill>
                          <a:latin typeface="Arial"/>
                        </a:rPr>
                        <a:t>Construction</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8,3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9,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FF0000"/>
                          </a:solidFill>
                          <a:latin typeface="Arial"/>
                        </a:rPr>
                        <a:t>-1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Fixtures</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80,6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37,8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11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GM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970,4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770,1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2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Grocery</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556,6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538,2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PA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139,1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152,1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FF0000"/>
                          </a:solidFill>
                          <a:latin typeface="Arial"/>
                        </a:rPr>
                        <a:t>-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Sams</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45,3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43,7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TAB</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23,7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41,1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FF0000"/>
                          </a:solidFill>
                          <a:latin typeface="Arial"/>
                        </a:rPr>
                        <a:t>-4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18">
                <a:tc>
                  <a:txBody>
                    <a:bodyPr/>
                    <a:lstStyle/>
                    <a:p>
                      <a:pPr algn="ctr" rtl="0" fontAlgn="b"/>
                      <a:r>
                        <a:rPr lang="en-US" sz="1600" b="1" i="0" u="none" strike="noStrike" dirty="0">
                          <a:solidFill>
                            <a:srgbClr val="000000"/>
                          </a:solidFill>
                          <a:latin typeface="Arial"/>
                        </a:rPr>
                        <a:t>Remix</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111,5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84,7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1" i="0" u="none" strike="noStrike" dirty="0">
                          <a:solidFill>
                            <a:srgbClr val="000000"/>
                          </a:solidFill>
                          <a:latin typeface="Arial"/>
                        </a:rPr>
                        <a:t>3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24894">
                <a:tc>
                  <a:txBody>
                    <a:bodyPr/>
                    <a:lstStyle/>
                    <a:p>
                      <a:pPr algn="ctr" rtl="0" fontAlgn="b"/>
                      <a:r>
                        <a:rPr lang="en-US" sz="1600" b="1" i="0" u="none" strike="noStrike" dirty="0">
                          <a:solidFill>
                            <a:srgbClr val="000000"/>
                          </a:solidFill>
                          <a:latin typeface="Arial"/>
                        </a:rPr>
                        <a:t>LTL</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1" i="0" u="none" strike="noStrike" dirty="0">
                          <a:solidFill>
                            <a:srgbClr val="000000"/>
                          </a:solidFill>
                          <a:latin typeface="Arial"/>
                        </a:rPr>
                        <a:t>460,5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1" i="0" u="none" strike="noStrike" dirty="0">
                          <a:solidFill>
                            <a:srgbClr val="000000"/>
                          </a:solidFill>
                          <a:latin typeface="Arial"/>
                        </a:rPr>
                        <a:t>508,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1" i="0" u="none" strike="noStrike" dirty="0">
                          <a:solidFill>
                            <a:srgbClr val="FF0000"/>
                          </a:solidFill>
                          <a:latin typeface="Arial"/>
                        </a:rPr>
                        <a:t>-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4894">
                <a:tc>
                  <a:txBody>
                    <a:bodyPr/>
                    <a:lstStyle/>
                    <a:p>
                      <a:pPr algn="ctr" rtl="0" fontAlgn="b"/>
                      <a:r>
                        <a:rPr lang="en-US" sz="1600" b="1" i="0" u="none" strike="noStrike" dirty="0">
                          <a:solidFill>
                            <a:srgbClr val="333399"/>
                          </a:solidFill>
                          <a:latin typeface="Arial"/>
                        </a:rPr>
                        <a:t>Grand Total</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CCFF"/>
                    </a:solidFill>
                  </a:tcPr>
                </a:tc>
                <a:tc>
                  <a:txBody>
                    <a:bodyPr/>
                    <a:lstStyle/>
                    <a:p>
                      <a:pPr algn="ctr" rtl="0" fontAlgn="b"/>
                      <a:r>
                        <a:rPr lang="en-US" sz="1600" b="1" i="0" u="none" strike="noStrike" dirty="0">
                          <a:solidFill>
                            <a:srgbClr val="333399"/>
                          </a:solidFill>
                          <a:latin typeface="Arial"/>
                        </a:rPr>
                        <a:t>1,935,7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CCFF"/>
                    </a:solidFill>
                  </a:tcPr>
                </a:tc>
                <a:tc>
                  <a:txBody>
                    <a:bodyPr/>
                    <a:lstStyle/>
                    <a:p>
                      <a:pPr algn="ctr" rtl="0" fontAlgn="b"/>
                      <a:r>
                        <a:rPr lang="en-US" sz="1600" b="1" i="0" u="none" strike="noStrike" dirty="0">
                          <a:solidFill>
                            <a:srgbClr val="333399"/>
                          </a:solidFill>
                          <a:latin typeface="Arial"/>
                        </a:rPr>
                        <a:t>1,678,0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CCFF"/>
                    </a:solidFill>
                  </a:tcPr>
                </a:tc>
                <a:tc>
                  <a:txBody>
                    <a:bodyPr/>
                    <a:lstStyle/>
                    <a:p>
                      <a:pPr algn="ctr" rtl="0" fontAlgn="b"/>
                      <a:r>
                        <a:rPr lang="en-US" sz="1600" b="1" i="0" u="none" strike="noStrike" dirty="0">
                          <a:solidFill>
                            <a:srgbClr val="333399"/>
                          </a:solidFill>
                          <a:latin typeface="Arial"/>
                        </a:rPr>
                        <a:t>1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FF99"/>
                    </a:solid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10243" name="Rectangle 2"/>
          <p:cNvSpPr>
            <a:spLocks noGrp="1" noChangeArrowheads="1"/>
          </p:cNvSpPr>
          <p:nvPr>
            <p:ph type="title"/>
          </p:nvPr>
        </p:nvSpPr>
        <p:spPr>
          <a:xfrm>
            <a:off x="457200" y="219075"/>
            <a:ext cx="8229600" cy="585418"/>
          </a:xfrm>
        </p:spPr>
        <p:txBody>
          <a:bodyPr/>
          <a:lstStyle/>
          <a:p>
            <a:r>
              <a:rPr lang="en-US" sz="3200" dirty="0" smtClean="0">
                <a:solidFill>
                  <a:schemeClr val="tx1"/>
                </a:solidFill>
              </a:rPr>
              <a:t>Current Impacts</a:t>
            </a:r>
            <a:endParaRPr lang="en-US" sz="3200" dirty="0" smtClean="0">
              <a:solidFill>
                <a:schemeClr val="tx1"/>
              </a:solidFill>
            </a:endParaRPr>
          </a:p>
        </p:txBody>
      </p:sp>
      <p:sp>
        <p:nvSpPr>
          <p:cNvPr id="10244" name="Rectangle 3"/>
          <p:cNvSpPr>
            <a:spLocks noGrp="1" noChangeArrowheads="1"/>
          </p:cNvSpPr>
          <p:nvPr>
            <p:ph type="body" idx="1"/>
          </p:nvPr>
        </p:nvSpPr>
        <p:spPr/>
        <p:txBody>
          <a:bodyPr/>
          <a:lstStyle/>
          <a:p>
            <a:pPr>
              <a:defRPr/>
            </a:pPr>
            <a:r>
              <a:rPr lang="en-US" dirty="0" smtClean="0"/>
              <a:t>Beyond the recession….</a:t>
            </a:r>
            <a:endParaRPr lang="en-US" dirty="0" smtClean="0"/>
          </a:p>
          <a:p>
            <a:pPr lvl="1">
              <a:defRPr/>
            </a:pPr>
            <a:endParaRPr lang="en-US" dirty="0" smtClean="0"/>
          </a:p>
          <a:p>
            <a:pPr lvl="1">
              <a:defRPr/>
            </a:pPr>
            <a:r>
              <a:rPr lang="en-US" dirty="0" smtClean="0"/>
              <a:t>Government regulations</a:t>
            </a:r>
          </a:p>
          <a:p>
            <a:pPr lvl="2">
              <a:defRPr/>
            </a:pPr>
            <a:r>
              <a:rPr lang="en-US" dirty="0" smtClean="0"/>
              <a:t>Comprehensive Safety Analysis (CSA)</a:t>
            </a:r>
          </a:p>
          <a:p>
            <a:pPr lvl="2">
              <a:defRPr/>
            </a:pPr>
            <a:r>
              <a:rPr lang="en-US" dirty="0" smtClean="0"/>
              <a:t>Hours of </a:t>
            </a:r>
            <a:r>
              <a:rPr lang="en-US" dirty="0" smtClean="0"/>
              <a:t>Service</a:t>
            </a:r>
          </a:p>
          <a:p>
            <a:pPr lvl="2">
              <a:defRPr/>
            </a:pPr>
            <a:r>
              <a:rPr lang="en-US" dirty="0" smtClean="0"/>
              <a:t>EOBR</a:t>
            </a:r>
          </a:p>
          <a:p>
            <a:pPr lvl="2">
              <a:defRPr/>
            </a:pPr>
            <a:r>
              <a:rPr lang="en-US" dirty="0" smtClean="0"/>
              <a:t>CARB</a:t>
            </a:r>
          </a:p>
          <a:p>
            <a:pPr lvl="2">
              <a:defRPr/>
            </a:pPr>
            <a:endParaRPr lang="en-US" dirty="0" smtClean="0"/>
          </a:p>
          <a:p>
            <a:pPr lvl="1">
              <a:defRPr/>
            </a:pPr>
            <a:r>
              <a:rPr lang="en-US" dirty="0" smtClean="0"/>
              <a:t>Financial</a:t>
            </a:r>
            <a:endParaRPr lang="en-US" dirty="0" smtClean="0"/>
          </a:p>
          <a:p>
            <a:pPr lvl="2">
              <a:defRPr/>
            </a:pPr>
            <a:r>
              <a:rPr lang="en-US" dirty="0" smtClean="0"/>
              <a:t>Higher fuel costs</a:t>
            </a:r>
          </a:p>
          <a:p>
            <a:pPr lvl="2">
              <a:defRPr/>
            </a:pPr>
            <a:r>
              <a:rPr lang="en-US" dirty="0" smtClean="0"/>
              <a:t>Limited access to </a:t>
            </a:r>
            <a:r>
              <a:rPr lang="en-US" dirty="0" smtClean="0"/>
              <a:t>credit</a:t>
            </a:r>
          </a:p>
          <a:p>
            <a:pPr lvl="2">
              <a:defRPr/>
            </a:pPr>
            <a:r>
              <a:rPr lang="en-US" dirty="0" smtClean="0"/>
              <a:t>Residual values- Book to actual value gap</a:t>
            </a:r>
          </a:p>
          <a:p>
            <a:pPr lvl="2">
              <a:buNone/>
              <a:defRPr/>
            </a:pPr>
            <a:endParaRPr lang="en-US" dirty="0" smtClean="0"/>
          </a:p>
          <a:p>
            <a:pPr lvl="2">
              <a:buNone/>
              <a:defRPr/>
            </a:pPr>
            <a:endParaRPr lang="en-US" dirty="0" smtClean="0"/>
          </a:p>
          <a:p>
            <a:pPr lvl="2">
              <a:buNone/>
              <a:defRPr/>
            </a:pPr>
            <a:r>
              <a:rPr lang="en-US" dirty="0" smtClean="0"/>
              <a:t>				……………Decreased Capacity</a:t>
            </a:r>
            <a:endParaRPr lang="en-US" dirty="0" smtClean="0"/>
          </a:p>
          <a:p>
            <a:pPr lvl="3">
              <a:buNone/>
              <a:defRPr/>
            </a:pPr>
            <a:r>
              <a:rPr lang="en-US" dirty="0" smtClean="0"/>
              <a:t> </a:t>
            </a:r>
            <a:endParaRPr lang="en-US" dirty="0"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585418"/>
          </a:xfrm>
        </p:spPr>
        <p:txBody>
          <a:bodyPr/>
          <a:lstStyle/>
          <a:p>
            <a:r>
              <a:rPr lang="en-US" sz="3200" dirty="0" smtClean="0">
                <a:solidFill>
                  <a:schemeClr val="tx1"/>
                </a:solidFill>
              </a:rPr>
              <a:t>Less Discussed Issues</a:t>
            </a:r>
            <a:endParaRPr lang="en-US" sz="3200" dirty="0">
              <a:solidFill>
                <a:schemeClr val="tx1"/>
              </a:solidFill>
            </a:endParaRPr>
          </a:p>
        </p:txBody>
      </p:sp>
      <p:sp>
        <p:nvSpPr>
          <p:cNvPr id="4" name="Footer Placeholder 3"/>
          <p:cNvSpPr>
            <a:spLocks noGrp="1"/>
          </p:cNvSpPr>
          <p:nvPr>
            <p:ph type="ftr" sz="quarter" idx="10"/>
          </p:nvPr>
        </p:nvSpPr>
        <p:spPr/>
        <p:txBody>
          <a:bodyPr/>
          <a:lstStyle/>
          <a:p>
            <a:pPr>
              <a:defRPr/>
            </a:pPr>
            <a:r>
              <a:rPr lang="en-US" dirty="0" smtClean="0"/>
              <a:t>2009 Temperature Control Conference</a:t>
            </a:r>
            <a:endParaRPr lang="en-US" dirty="0"/>
          </a:p>
        </p:txBody>
      </p:sp>
      <p:sp>
        <p:nvSpPr>
          <p:cNvPr id="5" name="Content Placeholder 2"/>
          <p:cNvSpPr>
            <a:spLocks noGrp="1"/>
          </p:cNvSpPr>
          <p:nvPr>
            <p:ph idx="1"/>
          </p:nvPr>
        </p:nvSpPr>
        <p:spPr/>
        <p:txBody>
          <a:bodyPr/>
          <a:lstStyle/>
          <a:p>
            <a:r>
              <a:rPr lang="en-US" dirty="0" smtClean="0"/>
              <a:t>Weather</a:t>
            </a:r>
          </a:p>
          <a:p>
            <a:pPr>
              <a:buNone/>
            </a:pPr>
            <a:endParaRPr lang="en-US" dirty="0" smtClean="0"/>
          </a:p>
          <a:p>
            <a:r>
              <a:rPr lang="en-US" dirty="0" smtClean="0"/>
              <a:t>CSA</a:t>
            </a:r>
          </a:p>
          <a:p>
            <a:pPr>
              <a:buNone/>
            </a:pPr>
            <a:r>
              <a:rPr lang="en-US" dirty="0" smtClean="0"/>
              <a:t> 		Tort reform-Negligent retention, hiring, and awarding</a:t>
            </a:r>
          </a:p>
          <a:p>
            <a:pPr>
              <a:buNone/>
            </a:pPr>
            <a:r>
              <a:rPr lang="en-US" dirty="0" smtClean="0"/>
              <a:t> 		Selection criteria</a:t>
            </a:r>
          </a:p>
          <a:p>
            <a:pPr>
              <a:buNone/>
            </a:pPr>
            <a:endParaRPr lang="en-US" dirty="0" smtClean="0"/>
          </a:p>
          <a:p>
            <a:r>
              <a:rPr lang="en-US" dirty="0" smtClean="0"/>
              <a:t>Security</a:t>
            </a:r>
            <a:endParaRPr lang="en-US" dirty="0" smtClean="0"/>
          </a:p>
          <a:p>
            <a:pPr>
              <a:buNone/>
            </a:pPr>
            <a:r>
              <a:rPr lang="en-US" dirty="0" smtClean="0"/>
              <a:t>		Mexico-Shift in manufacturing </a:t>
            </a:r>
          </a:p>
          <a:p>
            <a:pPr>
              <a:buNone/>
            </a:pPr>
            <a:r>
              <a:rPr lang="en-US" dirty="0" smtClean="0"/>
              <a:t>		Food supply chain safety</a:t>
            </a:r>
          </a:p>
          <a:p>
            <a:pPr>
              <a:buNone/>
            </a:pPr>
            <a:endParaRPr lang="en-US" dirty="0" smtClean="0"/>
          </a:p>
          <a:p>
            <a:r>
              <a:rPr lang="en-US" dirty="0" smtClean="0"/>
              <a:t>Steamship chassis </a:t>
            </a:r>
            <a:r>
              <a:rPr lang="en-US" dirty="0" smtClean="0"/>
              <a:t>m</a:t>
            </a:r>
            <a:r>
              <a:rPr lang="en-US" dirty="0" smtClean="0"/>
              <a:t>anagement </a:t>
            </a:r>
          </a:p>
          <a:p>
            <a:pPr>
              <a:buNone/>
            </a:pPr>
            <a:endParaRPr lang="en-US" dirty="0" smtClean="0"/>
          </a:p>
          <a:p>
            <a:r>
              <a:rPr lang="en-US" dirty="0" smtClean="0"/>
              <a:t>Currency stability-Inflation</a:t>
            </a:r>
          </a:p>
          <a:p>
            <a:pPr>
              <a:buNone/>
            </a:pPr>
            <a:r>
              <a:rPr lang="en-US" dirty="0" smtClean="0"/>
              <a:t>		Multinational corporations profitability</a:t>
            </a:r>
          </a:p>
          <a:p>
            <a:pPr>
              <a:buNone/>
            </a:pPr>
            <a:r>
              <a:rPr lang="en-US" dirty="0" smtClean="0"/>
              <a:t>		Canadian manufacturing demand</a:t>
            </a:r>
          </a:p>
          <a:p>
            <a:pPr>
              <a:buNone/>
            </a:pPr>
            <a:r>
              <a:rPr lang="en-US" dirty="0" smtClean="0"/>
              <a:t>		India inflation</a:t>
            </a:r>
          </a:p>
          <a:p>
            <a:pPr lvl="2"/>
            <a:endParaRPr lang="en-US" dirty="0" smtClean="0"/>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585418"/>
          </a:xfrm>
        </p:spPr>
        <p:txBody>
          <a:bodyPr/>
          <a:lstStyle/>
          <a:p>
            <a:r>
              <a:rPr lang="en-US" sz="3200" dirty="0" smtClean="0">
                <a:solidFill>
                  <a:schemeClr val="tx1"/>
                </a:solidFill>
              </a:rPr>
              <a:t>2011 Transportation Initiatives</a:t>
            </a:r>
            <a:endParaRPr lang="en-US" sz="3200" dirty="0">
              <a:solidFill>
                <a:schemeClr val="tx1"/>
              </a:solidFill>
            </a:endParaRPr>
          </a:p>
        </p:txBody>
      </p:sp>
      <p:sp>
        <p:nvSpPr>
          <p:cNvPr id="3" name="Content Placeholder 2"/>
          <p:cNvSpPr>
            <a:spLocks noGrp="1"/>
          </p:cNvSpPr>
          <p:nvPr>
            <p:ph idx="1"/>
          </p:nvPr>
        </p:nvSpPr>
        <p:spPr/>
        <p:txBody>
          <a:bodyPr/>
          <a:lstStyle/>
          <a:p>
            <a:r>
              <a:rPr lang="en-US" dirty="0" smtClean="0">
                <a:solidFill>
                  <a:schemeClr val="tx1"/>
                </a:solidFill>
                <a:latin typeface="+mn-lt"/>
                <a:ea typeface="+mn-ea"/>
                <a:cs typeface="+mn-cs"/>
              </a:rPr>
              <a:t>Transportation Collaboration </a:t>
            </a:r>
          </a:p>
          <a:p>
            <a:pPr>
              <a:buNone/>
            </a:pPr>
            <a:r>
              <a:rPr lang="en-US" dirty="0" smtClean="0"/>
              <a:t>		E</a:t>
            </a:r>
            <a:r>
              <a:rPr lang="en-US" dirty="0" smtClean="0">
                <a:solidFill>
                  <a:schemeClr val="tx1"/>
                </a:solidFill>
                <a:latin typeface="+mn-lt"/>
                <a:ea typeface="+mn-ea"/>
                <a:cs typeface="+mn-cs"/>
              </a:rPr>
              <a:t>liminate </a:t>
            </a:r>
            <a:r>
              <a:rPr lang="en-US" dirty="0" smtClean="0">
                <a:solidFill>
                  <a:schemeClr val="tx1"/>
                </a:solidFill>
                <a:latin typeface="+mn-lt"/>
                <a:ea typeface="+mn-ea"/>
                <a:cs typeface="+mn-cs"/>
              </a:rPr>
              <a:t>empty miles from our </a:t>
            </a:r>
            <a:r>
              <a:rPr lang="en-US" dirty="0" smtClean="0">
                <a:solidFill>
                  <a:schemeClr val="tx1"/>
                </a:solidFill>
                <a:latin typeface="+mn-lt"/>
                <a:ea typeface="+mn-ea"/>
                <a:cs typeface="+mn-cs"/>
              </a:rPr>
              <a:t>networks</a:t>
            </a:r>
          </a:p>
          <a:p>
            <a:pPr>
              <a:buNone/>
            </a:pPr>
            <a:r>
              <a:rPr lang="en-US" dirty="0" smtClean="0">
                <a:solidFill>
                  <a:schemeClr val="tx1"/>
                </a:solidFill>
                <a:latin typeface="+mn-lt"/>
                <a:ea typeface="+mn-ea"/>
                <a:cs typeface="+mn-cs"/>
              </a:rPr>
              <a:t>		Allow </a:t>
            </a:r>
            <a:r>
              <a:rPr lang="en-US" dirty="0" smtClean="0">
                <a:solidFill>
                  <a:schemeClr val="tx1"/>
                </a:solidFill>
                <a:latin typeface="+mn-lt"/>
                <a:ea typeface="+mn-ea"/>
                <a:cs typeface="+mn-cs"/>
              </a:rPr>
              <a:t>the carriers to engineer sectors of our </a:t>
            </a:r>
            <a:r>
              <a:rPr lang="en-US" dirty="0" smtClean="0">
                <a:solidFill>
                  <a:schemeClr val="tx1"/>
                </a:solidFill>
                <a:latin typeface="+mn-lt"/>
                <a:ea typeface="+mn-ea"/>
                <a:cs typeface="+mn-cs"/>
              </a:rPr>
              <a:t>network</a:t>
            </a:r>
          </a:p>
          <a:p>
            <a:pPr>
              <a:buNone/>
            </a:pPr>
            <a:r>
              <a:rPr lang="en-US" dirty="0" smtClean="0">
                <a:solidFill>
                  <a:schemeClr val="tx1"/>
                </a:solidFill>
                <a:latin typeface="+mn-lt"/>
                <a:ea typeface="+mn-ea"/>
                <a:cs typeface="+mn-cs"/>
              </a:rPr>
              <a:t>		Mutual long-term network, f</a:t>
            </a:r>
            <a:r>
              <a:rPr lang="en-US" dirty="0" smtClean="0"/>
              <a:t>inancial and service stability</a:t>
            </a:r>
          </a:p>
          <a:p>
            <a:pPr>
              <a:buNone/>
            </a:pPr>
            <a:r>
              <a:rPr lang="en-US" dirty="0" smtClean="0"/>
              <a:t>		Cost and inflationary indices used for rate escalators </a:t>
            </a:r>
          </a:p>
          <a:p>
            <a:pPr>
              <a:buNone/>
            </a:pPr>
            <a:endParaRPr lang="en-US" dirty="0" smtClean="0">
              <a:solidFill>
                <a:schemeClr val="tx1"/>
              </a:solidFill>
              <a:latin typeface="+mn-lt"/>
              <a:ea typeface="+mn-ea"/>
              <a:cs typeface="+mn-cs"/>
            </a:endParaRPr>
          </a:p>
          <a:p>
            <a:r>
              <a:rPr lang="en-US" dirty="0" smtClean="0"/>
              <a:t>Expand E-Commerce and Multichannel Logistics</a:t>
            </a:r>
          </a:p>
          <a:p>
            <a:pPr>
              <a:buNone/>
            </a:pPr>
            <a:endParaRPr lang="en-US" dirty="0" smtClean="0">
              <a:solidFill>
                <a:schemeClr val="tx1"/>
              </a:solidFill>
              <a:latin typeface="+mn-lt"/>
              <a:ea typeface="+mn-ea"/>
              <a:cs typeface="+mn-cs"/>
            </a:endParaRPr>
          </a:p>
          <a:p>
            <a:r>
              <a:rPr lang="en-US" dirty="0" smtClean="0"/>
              <a:t>Conversion-Convergence</a:t>
            </a:r>
          </a:p>
          <a:p>
            <a:pPr>
              <a:buNone/>
            </a:pPr>
            <a:endParaRPr lang="en-US" dirty="0" smtClean="0"/>
          </a:p>
          <a:p>
            <a:r>
              <a:rPr lang="en-US" dirty="0" smtClean="0"/>
              <a:t>Environmental Sustainability</a:t>
            </a:r>
          </a:p>
          <a:p>
            <a:pPr>
              <a:buNone/>
            </a:pPr>
            <a:endParaRPr lang="en-US" dirty="0" smtClean="0"/>
          </a:p>
          <a:p>
            <a:r>
              <a:rPr lang="en-US" dirty="0" smtClean="0"/>
              <a:t>Local Food Initiatives</a:t>
            </a:r>
          </a:p>
          <a:p>
            <a:pPr>
              <a:buNone/>
            </a:pPr>
            <a:endParaRPr lang="en-US"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pPr>
              <a:defRPr/>
            </a:pPr>
            <a:r>
              <a:rPr lang="en-US" dirty="0" smtClean="0"/>
              <a:t>2009 Temperature Control Conference</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a:xfrm>
            <a:off x="457200" y="219075"/>
            <a:ext cx="8229600" cy="585418"/>
          </a:xfrm>
        </p:spPr>
        <p:txBody>
          <a:bodyPr/>
          <a:lstStyle/>
          <a:p>
            <a:r>
              <a:rPr lang="en-US" sz="3200" dirty="0" smtClean="0">
                <a:solidFill>
                  <a:schemeClr val="tx1"/>
                </a:solidFill>
              </a:rPr>
              <a:t>More People – More Freight</a:t>
            </a:r>
          </a:p>
        </p:txBody>
      </p:sp>
      <p:sp>
        <p:nvSpPr>
          <p:cNvPr id="69634" name="Slide Number Placeholder 3"/>
          <p:cNvSpPr>
            <a:spLocks noGrp="1"/>
          </p:cNvSpPr>
          <p:nvPr>
            <p:ph type="sldNum" sz="quarter" idx="4294967295"/>
          </p:nvPr>
        </p:nvSpPr>
        <p:spPr>
          <a:xfrm>
            <a:off x="0" y="6461125"/>
            <a:ext cx="777875" cy="396875"/>
          </a:xfrm>
          <a:prstGeom prst="rect">
            <a:avLst/>
          </a:prstGeom>
          <a:noFill/>
        </p:spPr>
        <p:txBody>
          <a:bodyPr/>
          <a:lstStyle/>
          <a:p>
            <a:fld id="{32BE8705-1E29-486F-B456-D2333F9174B1}" type="slidenum">
              <a:rPr lang="en-US" smtClean="0">
                <a:solidFill>
                  <a:srgbClr val="FFFFFF"/>
                </a:solidFill>
              </a:rPr>
              <a:pPr/>
              <a:t>16</a:t>
            </a:fld>
            <a:endParaRPr lang="en-US" dirty="0" smtClean="0">
              <a:solidFill>
                <a:srgbClr val="FFFFFF"/>
              </a:solidFill>
            </a:endParaRPr>
          </a:p>
        </p:txBody>
      </p:sp>
      <p:sp>
        <p:nvSpPr>
          <p:cNvPr id="69635" name="Text Box 3"/>
          <p:cNvSpPr txBox="1">
            <a:spLocks noChangeArrowheads="1"/>
          </p:cNvSpPr>
          <p:nvPr/>
        </p:nvSpPr>
        <p:spPr bwMode="auto">
          <a:xfrm>
            <a:off x="603250" y="858838"/>
            <a:ext cx="7927975" cy="923925"/>
          </a:xfrm>
          <a:prstGeom prst="rect">
            <a:avLst/>
          </a:prstGeom>
          <a:noFill/>
          <a:ln w="9525">
            <a:noFill/>
            <a:miter lim="800000"/>
            <a:headEnd/>
            <a:tailEnd/>
          </a:ln>
        </p:spPr>
        <p:txBody>
          <a:bodyPr>
            <a:spAutoFit/>
          </a:bodyPr>
          <a:lstStyle/>
          <a:p>
            <a:pPr algn="ctr"/>
            <a:r>
              <a:rPr lang="en-US" b="1" dirty="0">
                <a:latin typeface="Arial Narrow" pitchFamily="34" charset="0"/>
              </a:rPr>
              <a:t>Americans require a freight system that moves 40 tons of freight per person annually. With current population growth projections, we are looking at moving 4 Billion more tons of freight in the next 40 years.</a:t>
            </a:r>
          </a:p>
        </p:txBody>
      </p:sp>
      <p:sp>
        <p:nvSpPr>
          <p:cNvPr id="69636" name="Line 4"/>
          <p:cNvSpPr>
            <a:spLocks noChangeShapeType="1"/>
          </p:cNvSpPr>
          <p:nvPr/>
        </p:nvSpPr>
        <p:spPr bwMode="auto">
          <a:xfrm>
            <a:off x="612775" y="1755775"/>
            <a:ext cx="7918450" cy="0"/>
          </a:xfrm>
          <a:prstGeom prst="line">
            <a:avLst/>
          </a:prstGeom>
          <a:noFill/>
          <a:ln w="9525">
            <a:solidFill>
              <a:schemeClr val="tx1"/>
            </a:solidFill>
            <a:round/>
            <a:headEnd/>
            <a:tailEnd/>
          </a:ln>
        </p:spPr>
        <p:txBody>
          <a:bodyPr/>
          <a:lstStyle/>
          <a:p>
            <a:endParaRPr lang="en-US" dirty="0"/>
          </a:p>
        </p:txBody>
      </p:sp>
      <p:sp>
        <p:nvSpPr>
          <p:cNvPr id="69637" name="Text Box 3"/>
          <p:cNvSpPr txBox="1">
            <a:spLocks noChangeArrowheads="1"/>
          </p:cNvSpPr>
          <p:nvPr/>
        </p:nvSpPr>
        <p:spPr bwMode="auto">
          <a:xfrm>
            <a:off x="6823075" y="6245225"/>
            <a:ext cx="2260600" cy="215900"/>
          </a:xfrm>
          <a:prstGeom prst="rect">
            <a:avLst/>
          </a:prstGeom>
          <a:noFill/>
          <a:ln w="9525">
            <a:noFill/>
            <a:miter lim="800000"/>
            <a:headEnd/>
            <a:tailEnd/>
          </a:ln>
        </p:spPr>
        <p:txBody>
          <a:bodyPr wrap="none">
            <a:spAutoFit/>
          </a:bodyPr>
          <a:lstStyle/>
          <a:p>
            <a:pPr algn="r"/>
            <a:r>
              <a:rPr lang="fr-FR" sz="800" i="1" dirty="0">
                <a:solidFill>
                  <a:srgbClr val="000000"/>
                </a:solidFill>
                <a:latin typeface="Arial Narrow" pitchFamily="34" charset="0"/>
              </a:rPr>
              <a:t>Source:  U.S. Census Bureau; FRA’s National Rail Plan</a:t>
            </a:r>
          </a:p>
        </p:txBody>
      </p:sp>
      <p:graphicFrame>
        <p:nvGraphicFramePr>
          <p:cNvPr id="20" name="Chart 19"/>
          <p:cNvGraphicFramePr/>
          <p:nvPr/>
        </p:nvGraphicFramePr>
        <p:xfrm>
          <a:off x="1381328" y="1885545"/>
          <a:ext cx="6615113" cy="4267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69" name="Picture 9"/>
          <p:cNvPicPr>
            <a:picLocks noChangeArrowheads="1"/>
          </p:cNvPicPr>
          <p:nvPr/>
        </p:nvPicPr>
        <p:blipFill>
          <a:blip r:embed="rId3" cstate="print"/>
          <a:srcRect/>
          <a:stretch>
            <a:fillRect/>
          </a:stretch>
        </p:blipFill>
        <p:spPr bwMode="auto">
          <a:xfrm>
            <a:off x="1069975" y="2193925"/>
            <a:ext cx="7004050" cy="4005263"/>
          </a:xfrm>
          <a:prstGeom prst="rect">
            <a:avLst/>
          </a:prstGeom>
          <a:noFill/>
          <a:ln w="9525">
            <a:noFill/>
            <a:miter lim="800000"/>
            <a:headEnd/>
            <a:tailEnd/>
          </a:ln>
        </p:spPr>
      </p:pic>
      <p:sp>
        <p:nvSpPr>
          <p:cNvPr id="83970" name="Title 1"/>
          <p:cNvSpPr>
            <a:spLocks noGrp="1"/>
          </p:cNvSpPr>
          <p:nvPr>
            <p:ph type="title"/>
          </p:nvPr>
        </p:nvSpPr>
        <p:spPr>
          <a:xfrm>
            <a:off x="457200" y="219075"/>
            <a:ext cx="8229600" cy="585418"/>
          </a:xfrm>
        </p:spPr>
        <p:txBody>
          <a:bodyPr/>
          <a:lstStyle/>
          <a:p>
            <a:r>
              <a:rPr lang="en-US" sz="3200" dirty="0" smtClean="0">
                <a:solidFill>
                  <a:schemeClr val="tx1"/>
                </a:solidFill>
              </a:rPr>
              <a:t>Truckload Freight Index</a:t>
            </a:r>
          </a:p>
        </p:txBody>
      </p:sp>
      <p:sp>
        <p:nvSpPr>
          <p:cNvPr id="83971" name="Slide Number Placeholder 3"/>
          <p:cNvSpPr>
            <a:spLocks noGrp="1"/>
          </p:cNvSpPr>
          <p:nvPr>
            <p:ph type="sldNum" sz="quarter" idx="4294967295"/>
          </p:nvPr>
        </p:nvSpPr>
        <p:spPr>
          <a:xfrm>
            <a:off x="0" y="6492875"/>
            <a:ext cx="822325" cy="365125"/>
          </a:xfrm>
          <a:prstGeom prst="rect">
            <a:avLst/>
          </a:prstGeom>
          <a:noFill/>
        </p:spPr>
        <p:txBody>
          <a:bodyPr/>
          <a:lstStyle/>
          <a:p>
            <a:fld id="{47C4C320-ED83-4D29-A6F8-354E1C0E99F6}" type="slidenum">
              <a:rPr lang="en-US" smtClean="0">
                <a:solidFill>
                  <a:srgbClr val="FFFFFF"/>
                </a:solidFill>
              </a:rPr>
              <a:pPr/>
              <a:t>17</a:t>
            </a:fld>
            <a:endParaRPr lang="en-US" dirty="0" smtClean="0">
              <a:solidFill>
                <a:srgbClr val="FFFFFF"/>
              </a:solidFill>
            </a:endParaRPr>
          </a:p>
        </p:txBody>
      </p:sp>
      <p:sp>
        <p:nvSpPr>
          <p:cNvPr id="83972" name="Line 4"/>
          <p:cNvSpPr>
            <a:spLocks noChangeShapeType="1"/>
          </p:cNvSpPr>
          <p:nvPr/>
        </p:nvSpPr>
        <p:spPr bwMode="auto">
          <a:xfrm>
            <a:off x="612775" y="1752600"/>
            <a:ext cx="7918450" cy="0"/>
          </a:xfrm>
          <a:prstGeom prst="line">
            <a:avLst/>
          </a:prstGeom>
          <a:noFill/>
          <a:ln w="9525">
            <a:solidFill>
              <a:schemeClr val="tx1"/>
            </a:solidFill>
            <a:round/>
            <a:headEnd/>
            <a:tailEnd/>
          </a:ln>
        </p:spPr>
        <p:txBody>
          <a:bodyPr/>
          <a:lstStyle/>
          <a:p>
            <a:endParaRPr lang="en-US" dirty="0"/>
          </a:p>
        </p:txBody>
      </p:sp>
      <p:sp>
        <p:nvSpPr>
          <p:cNvPr id="83973" name="TextBox 13"/>
          <p:cNvSpPr txBox="1">
            <a:spLocks noChangeArrowheads="1"/>
          </p:cNvSpPr>
          <p:nvPr/>
        </p:nvSpPr>
        <p:spPr bwMode="auto">
          <a:xfrm>
            <a:off x="1189038" y="1801813"/>
            <a:ext cx="6719887" cy="400050"/>
          </a:xfrm>
          <a:prstGeom prst="rect">
            <a:avLst/>
          </a:prstGeom>
          <a:noFill/>
          <a:ln w="9525">
            <a:noFill/>
            <a:miter lim="800000"/>
            <a:headEnd/>
            <a:tailEnd/>
          </a:ln>
        </p:spPr>
        <p:txBody>
          <a:bodyPr>
            <a:spAutoFit/>
          </a:bodyPr>
          <a:lstStyle/>
          <a:p>
            <a:pPr algn="ctr"/>
            <a:r>
              <a:rPr lang="en-US" sz="2000" b="1" dirty="0">
                <a:solidFill>
                  <a:srgbClr val="000000"/>
                </a:solidFill>
                <a:latin typeface="Arial Narrow" pitchFamily="34" charset="0"/>
              </a:rPr>
              <a:t>Dry-Van Only</a:t>
            </a:r>
            <a:endParaRPr lang="en-US" sz="1200" b="1" dirty="0">
              <a:solidFill>
                <a:srgbClr val="F15931"/>
              </a:solidFill>
              <a:latin typeface="Arial Narrow" pitchFamily="34" charset="0"/>
            </a:endParaRPr>
          </a:p>
        </p:txBody>
      </p:sp>
      <p:sp>
        <p:nvSpPr>
          <p:cNvPr id="83974" name="Rectangle 5"/>
          <p:cNvSpPr>
            <a:spLocks noChangeArrowheads="1"/>
          </p:cNvSpPr>
          <p:nvPr/>
        </p:nvSpPr>
        <p:spPr bwMode="auto">
          <a:xfrm>
            <a:off x="1298575" y="6245225"/>
            <a:ext cx="7772400" cy="215900"/>
          </a:xfrm>
          <a:prstGeom prst="rect">
            <a:avLst/>
          </a:prstGeom>
          <a:noFill/>
          <a:ln w="9525">
            <a:noFill/>
            <a:miter lim="800000"/>
            <a:headEnd/>
            <a:tailEnd/>
          </a:ln>
        </p:spPr>
        <p:txBody>
          <a:bodyPr>
            <a:spAutoFit/>
          </a:bodyPr>
          <a:lstStyle/>
          <a:p>
            <a:pPr algn="r" eaLnBrk="0" hangingPunct="0">
              <a:spcBef>
                <a:spcPct val="50000"/>
              </a:spcBef>
            </a:pPr>
            <a:r>
              <a:rPr lang="en-US" sz="800" i="1" dirty="0">
                <a:solidFill>
                  <a:srgbClr val="000000"/>
                </a:solidFill>
                <a:latin typeface="Arial Narrow" pitchFamily="34" charset="0"/>
                <a:ea typeface="ＭＳ Ｐゴシック"/>
                <a:cs typeface="ＭＳ Ｐゴシック"/>
              </a:rPr>
              <a:t>Source: Morgan Stanley</a:t>
            </a:r>
          </a:p>
        </p:txBody>
      </p:sp>
      <p:sp>
        <p:nvSpPr>
          <p:cNvPr id="83975" name="Text Box 3"/>
          <p:cNvSpPr txBox="1">
            <a:spLocks noChangeArrowheads="1"/>
          </p:cNvSpPr>
          <p:nvPr/>
        </p:nvSpPr>
        <p:spPr bwMode="auto">
          <a:xfrm>
            <a:off x="635000" y="981075"/>
            <a:ext cx="7874000" cy="708025"/>
          </a:xfrm>
          <a:prstGeom prst="rect">
            <a:avLst/>
          </a:prstGeom>
          <a:noFill/>
          <a:ln w="9525">
            <a:noFill/>
            <a:miter lim="800000"/>
            <a:headEnd/>
            <a:tailEnd/>
          </a:ln>
        </p:spPr>
        <p:txBody>
          <a:bodyPr>
            <a:spAutoFit/>
          </a:bodyPr>
          <a:lstStyle/>
          <a:p>
            <a:pPr algn="ctr">
              <a:spcBef>
                <a:spcPct val="20000"/>
              </a:spcBef>
              <a:buFont typeface="Wingdings" pitchFamily="2" charset="2"/>
              <a:buNone/>
            </a:pPr>
            <a:r>
              <a:rPr lang="en-US" sz="2000" b="1" dirty="0">
                <a:latin typeface="Arial Narrow" pitchFamily="34" charset="0"/>
              </a:rPr>
              <a:t>Truckload demand relative to capacity continued to outpace last year and is the highest it has been in the past five year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22531" name="Rectangle 2"/>
          <p:cNvSpPr>
            <a:spLocks noGrp="1" noChangeArrowheads="1"/>
          </p:cNvSpPr>
          <p:nvPr>
            <p:ph type="title"/>
          </p:nvPr>
        </p:nvSpPr>
        <p:spPr>
          <a:xfrm>
            <a:off x="457200" y="219075"/>
            <a:ext cx="8229600" cy="585418"/>
          </a:xfrm>
        </p:spPr>
        <p:txBody>
          <a:bodyPr/>
          <a:lstStyle/>
          <a:p>
            <a:r>
              <a:rPr lang="en-US" sz="3200" dirty="0" smtClean="0">
                <a:solidFill>
                  <a:schemeClr val="tx1"/>
                </a:solidFill>
              </a:rPr>
              <a:t>Purpose</a:t>
            </a:r>
          </a:p>
        </p:txBody>
      </p:sp>
      <p:sp>
        <p:nvSpPr>
          <p:cNvPr id="22532" name="Rectangle 3"/>
          <p:cNvSpPr>
            <a:spLocks noGrp="1" noChangeArrowheads="1"/>
          </p:cNvSpPr>
          <p:nvPr>
            <p:ph type="body" idx="1"/>
          </p:nvPr>
        </p:nvSpPr>
        <p:spPr/>
        <p:txBody>
          <a:bodyPr/>
          <a:lstStyle/>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p:txBody>
      </p:sp>
      <p:pic>
        <p:nvPicPr>
          <p:cNvPr id="22534" name="Picture 6"/>
          <p:cNvPicPr>
            <a:picLocks noChangeAspect="1" noChangeArrowheads="1"/>
          </p:cNvPicPr>
          <p:nvPr/>
        </p:nvPicPr>
        <p:blipFill>
          <a:blip r:embed="rId2" cstate="print"/>
          <a:srcRect/>
          <a:stretch>
            <a:fillRect/>
          </a:stretch>
        </p:blipFill>
        <p:spPr bwMode="auto">
          <a:xfrm>
            <a:off x="361950" y="700088"/>
            <a:ext cx="8420100" cy="54578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dirty="0" smtClean="0"/>
              <a:t>2009 Temperature Control Conference</a:t>
            </a:r>
            <a:endParaRPr lang="en-US" dirty="0"/>
          </a:p>
        </p:txBody>
      </p:sp>
      <p:sp>
        <p:nvSpPr>
          <p:cNvPr id="3" name="TextBox 2"/>
          <p:cNvSpPr txBox="1"/>
          <p:nvPr/>
        </p:nvSpPr>
        <p:spPr>
          <a:xfrm>
            <a:off x="1731264" y="3011424"/>
            <a:ext cx="6205728" cy="584775"/>
          </a:xfrm>
          <a:prstGeom prst="rect">
            <a:avLst/>
          </a:prstGeom>
          <a:noFill/>
        </p:spPr>
        <p:txBody>
          <a:bodyPr wrap="square" rtlCol="0">
            <a:spAutoFit/>
          </a:bodyPr>
          <a:lstStyle/>
          <a:p>
            <a:r>
              <a:rPr lang="en-US" sz="3200" dirty="0" smtClean="0"/>
              <a:t>Intermodal  Opportunities</a:t>
            </a:r>
            <a:endParaRPr lang="en-US" sz="32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a:spLocks noGrp="1"/>
          </p:cNvSpPr>
          <p:nvPr>
            <p:ph type="sldNum" sz="quarter" idx="4294967295"/>
          </p:nvPr>
        </p:nvSpPr>
        <p:spPr>
          <a:xfrm>
            <a:off x="8321675" y="6465888"/>
            <a:ext cx="328613" cy="255587"/>
          </a:xfrm>
          <a:prstGeom prst="rect">
            <a:avLst/>
          </a:prstGeom>
        </p:spPr>
        <p:txBody>
          <a:bodyPr/>
          <a:lstStyle/>
          <a:p>
            <a:fld id="{385A75DA-7FC3-4AB9-9E93-AA233CAC8D6E}" type="slidenum">
              <a:rPr lang="en-US"/>
              <a:pPr/>
              <a:t>2</a:t>
            </a:fld>
            <a:endParaRPr lang="en-US" dirty="0"/>
          </a:p>
        </p:txBody>
      </p:sp>
      <p:sp>
        <p:nvSpPr>
          <p:cNvPr id="237570" name="Rectangle 2"/>
          <p:cNvSpPr>
            <a:spLocks noGrp="1" noChangeArrowheads="1"/>
          </p:cNvSpPr>
          <p:nvPr>
            <p:ph type="title" idx="4294967295"/>
          </p:nvPr>
        </p:nvSpPr>
        <p:spPr>
          <a:xfrm>
            <a:off x="642938" y="414338"/>
            <a:ext cx="8501062" cy="579437"/>
          </a:xfrm>
        </p:spPr>
        <p:txBody>
          <a:bodyPr lIns="91440" tIns="45720" rIns="91440" bIns="45720" anchor="ctr"/>
          <a:lstStyle/>
          <a:p>
            <a:r>
              <a:rPr lang="en-US" sz="3200" dirty="0">
                <a:solidFill>
                  <a:schemeClr val="tx1"/>
                </a:solidFill>
              </a:rPr>
              <a:t>Wal-Mart Distribution Network</a:t>
            </a:r>
          </a:p>
        </p:txBody>
      </p:sp>
      <p:graphicFrame>
        <p:nvGraphicFramePr>
          <p:cNvPr id="237572" name="Object 4"/>
          <p:cNvGraphicFramePr>
            <a:graphicFrameLocks noChangeAspect="1"/>
          </p:cNvGraphicFramePr>
          <p:nvPr/>
        </p:nvGraphicFramePr>
        <p:xfrm>
          <a:off x="0" y="1076325"/>
          <a:ext cx="9144000" cy="5437188"/>
        </p:xfrm>
        <a:graphic>
          <a:graphicData uri="http://schemas.openxmlformats.org/presentationml/2006/ole">
            <p:oleObj spid="_x0000_s92162" name="MapInfo Map" r:id="rId3" imgW="9753480" imgH="5800680" progId="">
              <p:embed/>
            </p:oleObj>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le 1"/>
          <p:cNvSpPr>
            <a:spLocks noGrp="1"/>
          </p:cNvSpPr>
          <p:nvPr>
            <p:ph type="title"/>
          </p:nvPr>
        </p:nvSpPr>
        <p:spPr>
          <a:xfrm>
            <a:off x="457200" y="219075"/>
            <a:ext cx="8229600" cy="585418"/>
          </a:xfrm>
        </p:spPr>
        <p:txBody>
          <a:bodyPr/>
          <a:lstStyle/>
          <a:p>
            <a:r>
              <a:rPr lang="en-US" sz="3200" dirty="0" smtClean="0">
                <a:solidFill>
                  <a:schemeClr val="tx1"/>
                </a:solidFill>
              </a:rPr>
              <a:t>Marketplace Update</a:t>
            </a:r>
          </a:p>
        </p:txBody>
      </p:sp>
      <p:sp>
        <p:nvSpPr>
          <p:cNvPr id="14339" name="Content Placeholder 2"/>
          <p:cNvSpPr>
            <a:spLocks noGrp="1"/>
          </p:cNvSpPr>
          <p:nvPr>
            <p:ph idx="1"/>
          </p:nvPr>
        </p:nvSpPr>
        <p:spPr>
          <a:xfrm>
            <a:off x="1219200" y="1295400"/>
            <a:ext cx="7467600" cy="4987925"/>
          </a:xfrm>
        </p:spPr>
        <p:txBody>
          <a:bodyPr>
            <a:normAutofit/>
          </a:bodyPr>
          <a:lstStyle/>
          <a:p>
            <a:pPr>
              <a:defRPr/>
            </a:pPr>
            <a:r>
              <a:rPr lang="en-US" dirty="0" smtClean="0"/>
              <a:t>Demand continues to increase</a:t>
            </a:r>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r>
              <a:rPr lang="en-US" dirty="0" smtClean="0"/>
              <a:t>Highway capacity continues to decrease</a:t>
            </a:r>
          </a:p>
          <a:p>
            <a:pPr lvl="1">
              <a:defRPr/>
            </a:pPr>
            <a:endParaRPr lang="en-US" dirty="0" smtClean="0"/>
          </a:p>
        </p:txBody>
      </p:sp>
      <p:sp>
        <p:nvSpPr>
          <p:cNvPr id="67587" name="Slide Number Placeholder 3"/>
          <p:cNvSpPr>
            <a:spLocks noGrp="1"/>
          </p:cNvSpPr>
          <p:nvPr>
            <p:ph type="sldNum" sz="quarter" idx="4294967295"/>
          </p:nvPr>
        </p:nvSpPr>
        <p:spPr>
          <a:xfrm>
            <a:off x="0" y="6492875"/>
            <a:ext cx="822325" cy="365125"/>
          </a:xfrm>
          <a:prstGeom prst="rect">
            <a:avLst/>
          </a:prstGeom>
          <a:noFill/>
        </p:spPr>
        <p:txBody>
          <a:bodyPr/>
          <a:lstStyle/>
          <a:p>
            <a:fld id="{43FF846E-4CD7-452A-B4AE-CB3E10BC5EAE}" type="slidenum">
              <a:rPr lang="en-US" smtClean="0">
                <a:solidFill>
                  <a:srgbClr val="FFFFFF"/>
                </a:solidFill>
              </a:rPr>
              <a:pPr/>
              <a:t>20</a:t>
            </a:fld>
            <a:endParaRPr lang="en-US" dirty="0" smtClean="0">
              <a:solidFill>
                <a:srgbClr val="FFFFFF"/>
              </a:solidFill>
            </a:endParaRPr>
          </a:p>
        </p:txBody>
      </p:sp>
      <p:sp>
        <p:nvSpPr>
          <p:cNvPr id="67588" name="TextBox 3"/>
          <p:cNvSpPr txBox="1">
            <a:spLocks noChangeArrowheads="1"/>
          </p:cNvSpPr>
          <p:nvPr/>
        </p:nvSpPr>
        <p:spPr bwMode="auto">
          <a:xfrm>
            <a:off x="1295400" y="6248400"/>
            <a:ext cx="7769225" cy="215900"/>
          </a:xfrm>
          <a:prstGeom prst="rect">
            <a:avLst/>
          </a:prstGeom>
          <a:noFill/>
          <a:ln w="9525">
            <a:noFill/>
            <a:miter lim="800000"/>
            <a:headEnd/>
            <a:tailEnd/>
          </a:ln>
        </p:spPr>
        <p:txBody>
          <a:bodyPr>
            <a:spAutoFit/>
          </a:bodyPr>
          <a:lstStyle/>
          <a:p>
            <a:pPr algn="r"/>
            <a:r>
              <a:rPr lang="en-US" sz="800" i="1" dirty="0">
                <a:solidFill>
                  <a:srgbClr val="000000"/>
                </a:solidFill>
                <a:latin typeface="Arial Narrow" pitchFamily="34" charset="0"/>
              </a:rPr>
              <a:t>Sources: IANA, ATA and Baird</a:t>
            </a:r>
          </a:p>
        </p:txBody>
      </p:sp>
      <p:graphicFrame>
        <p:nvGraphicFramePr>
          <p:cNvPr id="6" name="Table 5"/>
          <p:cNvGraphicFramePr>
            <a:graphicFrameLocks noGrp="1"/>
          </p:cNvGraphicFramePr>
          <p:nvPr/>
        </p:nvGraphicFramePr>
        <p:xfrm>
          <a:off x="1676400" y="1628140"/>
          <a:ext cx="5676901" cy="1463040"/>
        </p:xfrm>
        <a:graphic>
          <a:graphicData uri="http://schemas.openxmlformats.org/drawingml/2006/table">
            <a:tbl>
              <a:tblPr firstRow="1" bandRow="1">
                <a:tableStyleId>{5C22544A-7EE6-4342-B048-85BDC9FD1C3A}</a:tableStyleId>
              </a:tblPr>
              <a:tblGrid>
                <a:gridCol w="2676526"/>
                <a:gridCol w="1428750"/>
                <a:gridCol w="1571625"/>
              </a:tblGrid>
              <a:tr h="309483">
                <a:tc>
                  <a:txBody>
                    <a:bodyPr/>
                    <a:lstStyle/>
                    <a:p>
                      <a:r>
                        <a:rPr lang="en-US" dirty="0" smtClean="0">
                          <a:latin typeface="Arial Narrow" pitchFamily="34" charset="0"/>
                        </a:rPr>
                        <a:t>Year-over</a:t>
                      </a:r>
                      <a:r>
                        <a:rPr lang="en-US" baseline="0" dirty="0" smtClean="0">
                          <a:latin typeface="Arial Narrow" pitchFamily="34" charset="0"/>
                        </a:rPr>
                        <a:t>-year</a:t>
                      </a:r>
                      <a:endParaRPr lang="en-US" dirty="0">
                        <a:latin typeface="Arial Narrow" pitchFamily="34" charset="0"/>
                      </a:endParaRPr>
                    </a:p>
                  </a:txBody>
                  <a:tcPr>
                    <a:solidFill>
                      <a:srgbClr val="F15931"/>
                    </a:solidFill>
                  </a:tcPr>
                </a:tc>
                <a:tc>
                  <a:txBody>
                    <a:bodyPr/>
                    <a:lstStyle/>
                    <a:p>
                      <a:pPr algn="ctr"/>
                      <a:r>
                        <a:rPr lang="en-US" dirty="0" smtClean="0">
                          <a:latin typeface="Arial Narrow" pitchFamily="34" charset="0"/>
                        </a:rPr>
                        <a:t>December</a:t>
                      </a:r>
                      <a:endParaRPr lang="en-US" dirty="0">
                        <a:latin typeface="Arial Narrow" pitchFamily="34" charset="0"/>
                      </a:endParaRPr>
                    </a:p>
                  </a:txBody>
                  <a:tcPr>
                    <a:solidFill>
                      <a:srgbClr val="F15931"/>
                    </a:solidFill>
                  </a:tcPr>
                </a:tc>
                <a:tc>
                  <a:txBody>
                    <a:bodyPr/>
                    <a:lstStyle/>
                    <a:p>
                      <a:pPr algn="ctr"/>
                      <a:r>
                        <a:rPr lang="en-US" dirty="0" smtClean="0">
                          <a:latin typeface="Arial Narrow" pitchFamily="34" charset="0"/>
                        </a:rPr>
                        <a:t>2010 Full Year</a:t>
                      </a:r>
                      <a:endParaRPr lang="en-US" dirty="0">
                        <a:latin typeface="Arial Narrow" pitchFamily="34" charset="0"/>
                      </a:endParaRPr>
                    </a:p>
                  </a:txBody>
                  <a:tcPr>
                    <a:solidFill>
                      <a:srgbClr val="F15931"/>
                    </a:solidFill>
                  </a:tcPr>
                </a:tc>
              </a:tr>
              <a:tr h="309483">
                <a:tc>
                  <a:txBody>
                    <a:bodyPr/>
                    <a:lstStyle/>
                    <a:p>
                      <a:r>
                        <a:rPr lang="en-US" dirty="0" smtClean="0"/>
                        <a:t>Domestic Intermodal</a:t>
                      </a:r>
                      <a:endParaRPr lang="en-US" dirty="0"/>
                    </a:p>
                  </a:txBody>
                  <a:tcPr>
                    <a:solidFill>
                      <a:srgbClr val="F15931">
                        <a:alpha val="30000"/>
                      </a:srgbClr>
                    </a:solidFill>
                  </a:tcPr>
                </a:tc>
                <a:tc>
                  <a:txBody>
                    <a:bodyPr/>
                    <a:lstStyle/>
                    <a:p>
                      <a:pPr algn="ctr"/>
                      <a:r>
                        <a:rPr lang="en-US" dirty="0" smtClean="0"/>
                        <a:t>9.5%</a:t>
                      </a:r>
                      <a:endParaRPr lang="en-US" dirty="0"/>
                    </a:p>
                  </a:txBody>
                  <a:tcPr>
                    <a:solidFill>
                      <a:srgbClr val="F15931">
                        <a:alpha val="30000"/>
                      </a:srgbClr>
                    </a:solidFill>
                  </a:tcPr>
                </a:tc>
                <a:tc>
                  <a:txBody>
                    <a:bodyPr/>
                    <a:lstStyle/>
                    <a:p>
                      <a:pPr algn="ctr"/>
                      <a:r>
                        <a:rPr lang="en-US" dirty="0" smtClean="0"/>
                        <a:t>10.6%</a:t>
                      </a:r>
                      <a:endParaRPr lang="en-US" dirty="0"/>
                    </a:p>
                  </a:txBody>
                  <a:tcPr>
                    <a:solidFill>
                      <a:srgbClr val="F15931">
                        <a:alpha val="30000"/>
                      </a:srgbClr>
                    </a:solidFill>
                  </a:tcPr>
                </a:tc>
              </a:tr>
              <a:tr h="309483">
                <a:tc>
                  <a:txBody>
                    <a:bodyPr/>
                    <a:lstStyle/>
                    <a:p>
                      <a:r>
                        <a:rPr lang="en-US" dirty="0" smtClean="0"/>
                        <a:t>International Intermodal</a:t>
                      </a:r>
                      <a:endParaRPr lang="en-US" dirty="0"/>
                    </a:p>
                  </a:txBody>
                  <a:tcPr>
                    <a:solidFill>
                      <a:srgbClr val="F15931">
                        <a:alpha val="30000"/>
                      </a:srgbClr>
                    </a:solidFill>
                  </a:tcPr>
                </a:tc>
                <a:tc>
                  <a:txBody>
                    <a:bodyPr/>
                    <a:lstStyle/>
                    <a:p>
                      <a:pPr algn="ctr"/>
                      <a:r>
                        <a:rPr lang="en-US" dirty="0" smtClean="0"/>
                        <a:t>15.0%</a:t>
                      </a:r>
                      <a:endParaRPr lang="en-US" dirty="0"/>
                    </a:p>
                  </a:txBody>
                  <a:tcPr>
                    <a:solidFill>
                      <a:srgbClr val="F15931">
                        <a:alpha val="30000"/>
                      </a:srgbClr>
                    </a:solidFill>
                  </a:tcPr>
                </a:tc>
                <a:tc>
                  <a:txBody>
                    <a:bodyPr/>
                    <a:lstStyle/>
                    <a:p>
                      <a:pPr algn="ctr"/>
                      <a:r>
                        <a:rPr lang="en-US" dirty="0" smtClean="0"/>
                        <a:t>18.5%</a:t>
                      </a:r>
                      <a:endParaRPr lang="en-US" dirty="0"/>
                    </a:p>
                  </a:txBody>
                  <a:tcPr>
                    <a:solidFill>
                      <a:srgbClr val="F15931">
                        <a:alpha val="30000"/>
                      </a:srgbClr>
                    </a:solidFill>
                  </a:tcPr>
                </a:tc>
              </a:tr>
              <a:tr h="309483">
                <a:tc>
                  <a:txBody>
                    <a:bodyPr/>
                    <a:lstStyle/>
                    <a:p>
                      <a:r>
                        <a:rPr lang="en-US" dirty="0" smtClean="0"/>
                        <a:t>For-Hire</a:t>
                      </a:r>
                      <a:r>
                        <a:rPr lang="en-US" baseline="0" dirty="0" smtClean="0"/>
                        <a:t> Truck Tonnage</a:t>
                      </a:r>
                      <a:endParaRPr lang="en-US" dirty="0"/>
                    </a:p>
                  </a:txBody>
                  <a:tcPr>
                    <a:solidFill>
                      <a:srgbClr val="F15931">
                        <a:alpha val="30000"/>
                      </a:srgbClr>
                    </a:solidFill>
                  </a:tcPr>
                </a:tc>
                <a:tc>
                  <a:txBody>
                    <a:bodyPr/>
                    <a:lstStyle/>
                    <a:p>
                      <a:pPr algn="ctr"/>
                      <a:r>
                        <a:rPr lang="en-US" dirty="0" smtClean="0"/>
                        <a:t>4.2%</a:t>
                      </a:r>
                      <a:endParaRPr lang="en-US" dirty="0"/>
                    </a:p>
                  </a:txBody>
                  <a:tcPr>
                    <a:solidFill>
                      <a:srgbClr val="F15931">
                        <a:alpha val="30000"/>
                      </a:srgbClr>
                    </a:solidFill>
                  </a:tcPr>
                </a:tc>
                <a:tc>
                  <a:txBody>
                    <a:bodyPr/>
                    <a:lstStyle/>
                    <a:p>
                      <a:pPr algn="ctr"/>
                      <a:r>
                        <a:rPr lang="en-US" dirty="0" smtClean="0"/>
                        <a:t>5.7%</a:t>
                      </a:r>
                      <a:endParaRPr lang="en-US" dirty="0"/>
                    </a:p>
                  </a:txBody>
                  <a:tcPr>
                    <a:solidFill>
                      <a:srgbClr val="F15931">
                        <a:alpha val="30000"/>
                      </a:srgbClr>
                    </a:solid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le 1"/>
          <p:cNvSpPr>
            <a:spLocks noGrp="1"/>
          </p:cNvSpPr>
          <p:nvPr>
            <p:ph type="title"/>
          </p:nvPr>
        </p:nvSpPr>
        <p:spPr>
          <a:xfrm>
            <a:off x="457200" y="219075"/>
            <a:ext cx="8229600" cy="585418"/>
          </a:xfrm>
        </p:spPr>
        <p:txBody>
          <a:bodyPr/>
          <a:lstStyle/>
          <a:p>
            <a:r>
              <a:rPr lang="en-US" sz="3200" dirty="0" smtClean="0">
                <a:solidFill>
                  <a:schemeClr val="tx1"/>
                </a:solidFill>
              </a:rPr>
              <a:t>Modal Shift Opportunity</a:t>
            </a:r>
          </a:p>
        </p:txBody>
      </p:sp>
      <p:sp>
        <p:nvSpPr>
          <p:cNvPr id="71682" name="Slide Number Placeholder 3"/>
          <p:cNvSpPr>
            <a:spLocks noGrp="1"/>
          </p:cNvSpPr>
          <p:nvPr>
            <p:ph type="sldNum" sz="quarter" idx="4294967295"/>
          </p:nvPr>
        </p:nvSpPr>
        <p:spPr>
          <a:xfrm>
            <a:off x="0" y="6492875"/>
            <a:ext cx="822325" cy="365125"/>
          </a:xfrm>
          <a:prstGeom prst="rect">
            <a:avLst/>
          </a:prstGeom>
          <a:noFill/>
        </p:spPr>
        <p:txBody>
          <a:bodyPr/>
          <a:lstStyle/>
          <a:p>
            <a:fld id="{0DC663F5-B9E5-4B3F-918C-336D6979E09F}" type="slidenum">
              <a:rPr lang="en-US" smtClean="0">
                <a:solidFill>
                  <a:srgbClr val="FFFFFF"/>
                </a:solidFill>
              </a:rPr>
              <a:pPr/>
              <a:t>21</a:t>
            </a:fld>
            <a:endParaRPr lang="en-US" dirty="0" smtClean="0">
              <a:solidFill>
                <a:srgbClr val="FFFFFF"/>
              </a:solidFill>
            </a:endParaRPr>
          </a:p>
        </p:txBody>
      </p:sp>
      <p:sp>
        <p:nvSpPr>
          <p:cNvPr id="71683" name="Text Box 3"/>
          <p:cNvSpPr txBox="1">
            <a:spLocks noChangeArrowheads="1"/>
          </p:cNvSpPr>
          <p:nvPr/>
        </p:nvSpPr>
        <p:spPr bwMode="auto">
          <a:xfrm>
            <a:off x="233363" y="938213"/>
            <a:ext cx="8472487" cy="708025"/>
          </a:xfrm>
          <a:prstGeom prst="rect">
            <a:avLst/>
          </a:prstGeom>
          <a:noFill/>
          <a:ln w="9525">
            <a:noFill/>
            <a:miter lim="800000"/>
            <a:headEnd/>
            <a:tailEnd/>
          </a:ln>
        </p:spPr>
        <p:txBody>
          <a:bodyPr>
            <a:spAutoFit/>
          </a:bodyPr>
          <a:lstStyle/>
          <a:p>
            <a:pPr algn="ctr"/>
            <a:r>
              <a:rPr lang="en-US" sz="2000" b="1" dirty="0">
                <a:latin typeface="Arial Narrow" pitchFamily="34" charset="0"/>
              </a:rPr>
              <a:t>With improvements in service and facilities, Intermodal is becoming more competitive in shorter distances, absorbing more of the projected growth in freight. </a:t>
            </a:r>
          </a:p>
        </p:txBody>
      </p:sp>
      <p:sp>
        <p:nvSpPr>
          <p:cNvPr id="71684" name="Line 4"/>
          <p:cNvSpPr>
            <a:spLocks noChangeShapeType="1"/>
          </p:cNvSpPr>
          <p:nvPr/>
        </p:nvSpPr>
        <p:spPr bwMode="auto">
          <a:xfrm>
            <a:off x="612775" y="1752600"/>
            <a:ext cx="7918450" cy="0"/>
          </a:xfrm>
          <a:prstGeom prst="line">
            <a:avLst/>
          </a:prstGeom>
          <a:noFill/>
          <a:ln w="9525">
            <a:solidFill>
              <a:schemeClr val="tx1"/>
            </a:solidFill>
            <a:round/>
            <a:headEnd/>
            <a:tailEnd/>
          </a:ln>
        </p:spPr>
        <p:txBody>
          <a:bodyPr/>
          <a:lstStyle/>
          <a:p>
            <a:endParaRPr lang="en-US" dirty="0"/>
          </a:p>
        </p:txBody>
      </p:sp>
      <p:grpSp>
        <p:nvGrpSpPr>
          <p:cNvPr id="2" name="Group 13"/>
          <p:cNvGrpSpPr>
            <a:grpSpLocks/>
          </p:cNvGrpSpPr>
          <p:nvPr/>
        </p:nvGrpSpPr>
        <p:grpSpPr bwMode="auto">
          <a:xfrm>
            <a:off x="1035050" y="2035175"/>
            <a:ext cx="7073900" cy="4129088"/>
            <a:chOff x="1035050" y="2171700"/>
            <a:chExt cx="7073900" cy="4129088"/>
          </a:xfrm>
        </p:grpSpPr>
        <p:pic>
          <p:nvPicPr>
            <p:cNvPr id="71687" name="Picture 1"/>
            <p:cNvPicPr>
              <a:picLocks noChangeAspect="1" noChangeArrowheads="1"/>
            </p:cNvPicPr>
            <p:nvPr/>
          </p:nvPicPr>
          <p:blipFill>
            <a:blip r:embed="rId3" cstate="print"/>
            <a:srcRect/>
            <a:stretch>
              <a:fillRect/>
            </a:stretch>
          </p:blipFill>
          <p:spPr bwMode="auto">
            <a:xfrm>
              <a:off x="1035050" y="2171700"/>
              <a:ext cx="7073900" cy="3856038"/>
            </a:xfrm>
            <a:prstGeom prst="rect">
              <a:avLst/>
            </a:prstGeom>
            <a:noFill/>
            <a:ln w="9525">
              <a:noFill/>
              <a:miter lim="800000"/>
              <a:headEnd/>
              <a:tailEnd/>
            </a:ln>
          </p:spPr>
        </p:pic>
        <p:grpSp>
          <p:nvGrpSpPr>
            <p:cNvPr id="3" name="Group 13"/>
            <p:cNvGrpSpPr>
              <a:grpSpLocks/>
            </p:cNvGrpSpPr>
            <p:nvPr/>
          </p:nvGrpSpPr>
          <p:grpSpPr bwMode="auto">
            <a:xfrm>
              <a:off x="2692400" y="5992813"/>
              <a:ext cx="4391025" cy="307975"/>
              <a:chOff x="2494135" y="5993024"/>
              <a:chExt cx="4390276" cy="307777"/>
            </a:xfrm>
          </p:grpSpPr>
          <p:sp>
            <p:nvSpPr>
              <p:cNvPr id="71689" name="TextBox 9"/>
              <p:cNvSpPr txBox="1">
                <a:spLocks noChangeArrowheads="1"/>
              </p:cNvSpPr>
              <p:nvPr/>
            </p:nvSpPr>
            <p:spPr bwMode="auto">
              <a:xfrm>
                <a:off x="2607278" y="5993024"/>
                <a:ext cx="4277133" cy="307777"/>
              </a:xfrm>
              <a:prstGeom prst="rect">
                <a:avLst/>
              </a:prstGeom>
              <a:noFill/>
              <a:ln w="9525">
                <a:noFill/>
                <a:miter lim="800000"/>
                <a:headEnd/>
                <a:tailEnd/>
              </a:ln>
            </p:spPr>
            <p:txBody>
              <a:bodyPr wrap="none">
                <a:spAutoFit/>
              </a:bodyPr>
              <a:lstStyle/>
              <a:p>
                <a:r>
                  <a:rPr lang="en-US" sz="1400" dirty="0"/>
                  <a:t>% truck	       % intermodal conversion	%rail</a:t>
                </a:r>
              </a:p>
            </p:txBody>
          </p:sp>
          <p:sp>
            <p:nvSpPr>
              <p:cNvPr id="18" name="Rectangle 17"/>
              <p:cNvSpPr/>
              <p:nvPr/>
            </p:nvSpPr>
            <p:spPr>
              <a:xfrm>
                <a:off x="2494135" y="6070761"/>
                <a:ext cx="185706" cy="161821"/>
              </a:xfrm>
              <a:prstGeom prst="rect">
                <a:avLst/>
              </a:prstGeom>
              <a:solidFill>
                <a:srgbClr val="B45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9" name="Rectangle 18"/>
              <p:cNvSpPr/>
              <p:nvPr/>
            </p:nvSpPr>
            <p:spPr>
              <a:xfrm>
                <a:off x="6141588" y="6070761"/>
                <a:ext cx="185706" cy="16182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Rectangle 19"/>
              <p:cNvSpPr/>
              <p:nvPr/>
            </p:nvSpPr>
            <p:spPr>
              <a:xfrm>
                <a:off x="3740110" y="6070761"/>
                <a:ext cx="185705" cy="161821"/>
              </a:xfrm>
              <a:prstGeom prst="rect">
                <a:avLst/>
              </a:prstGeom>
              <a:solidFill>
                <a:srgbClr val="BEA66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grpSp>
      <p:sp>
        <p:nvSpPr>
          <p:cNvPr id="71686" name="TextBox 3"/>
          <p:cNvSpPr txBox="1">
            <a:spLocks noChangeArrowheads="1"/>
          </p:cNvSpPr>
          <p:nvPr/>
        </p:nvSpPr>
        <p:spPr bwMode="auto">
          <a:xfrm>
            <a:off x="1295400" y="6248400"/>
            <a:ext cx="7769225" cy="215900"/>
          </a:xfrm>
          <a:prstGeom prst="rect">
            <a:avLst/>
          </a:prstGeom>
          <a:noFill/>
          <a:ln w="9525">
            <a:noFill/>
            <a:miter lim="800000"/>
            <a:headEnd/>
            <a:tailEnd/>
          </a:ln>
        </p:spPr>
        <p:txBody>
          <a:bodyPr>
            <a:spAutoFit/>
          </a:bodyPr>
          <a:lstStyle/>
          <a:p>
            <a:pPr algn="r"/>
            <a:r>
              <a:rPr lang="fr-FR" sz="800" i="1" dirty="0">
                <a:solidFill>
                  <a:srgbClr val="000000"/>
                </a:solidFill>
                <a:latin typeface="Arial Narrow" pitchFamily="34" charset="0"/>
              </a:rPr>
              <a:t>Source: FRA’s National Rail Pla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Rectangle 2"/>
          <p:cNvSpPr>
            <a:spLocks noGrp="1" noChangeArrowheads="1"/>
          </p:cNvSpPr>
          <p:nvPr>
            <p:ph type="title"/>
          </p:nvPr>
        </p:nvSpPr>
        <p:spPr>
          <a:xfrm>
            <a:off x="457200" y="219075"/>
            <a:ext cx="8229600" cy="585418"/>
          </a:xfrm>
        </p:spPr>
        <p:txBody>
          <a:bodyPr/>
          <a:lstStyle/>
          <a:p>
            <a:pPr eaLnBrk="1" hangingPunct="1"/>
            <a:r>
              <a:rPr lang="en-US" sz="3200" dirty="0" smtClean="0">
                <a:solidFill>
                  <a:schemeClr val="tx1"/>
                </a:solidFill>
              </a:rPr>
              <a:t>Domestic Intermodal Volume</a:t>
            </a:r>
          </a:p>
        </p:txBody>
      </p:sp>
      <p:sp>
        <p:nvSpPr>
          <p:cNvPr id="73730" name="Slide Number Placeholder 4"/>
          <p:cNvSpPr>
            <a:spLocks noGrp="1"/>
          </p:cNvSpPr>
          <p:nvPr>
            <p:ph type="sldNum" sz="quarter" idx="4294967295"/>
          </p:nvPr>
        </p:nvSpPr>
        <p:spPr>
          <a:xfrm>
            <a:off x="0" y="6492875"/>
            <a:ext cx="822325" cy="365125"/>
          </a:xfrm>
          <a:prstGeom prst="rect">
            <a:avLst/>
          </a:prstGeom>
          <a:noFill/>
        </p:spPr>
        <p:txBody>
          <a:bodyPr/>
          <a:lstStyle/>
          <a:p>
            <a:endParaRPr lang="en-US" dirty="0" smtClean="0"/>
          </a:p>
        </p:txBody>
      </p:sp>
      <p:sp>
        <p:nvSpPr>
          <p:cNvPr id="73731" name="Text Box 3"/>
          <p:cNvSpPr txBox="1">
            <a:spLocks noChangeArrowheads="1"/>
          </p:cNvSpPr>
          <p:nvPr/>
        </p:nvSpPr>
        <p:spPr bwMode="auto">
          <a:xfrm>
            <a:off x="7067550" y="6245225"/>
            <a:ext cx="2003425" cy="215900"/>
          </a:xfrm>
          <a:prstGeom prst="rect">
            <a:avLst/>
          </a:prstGeom>
          <a:noFill/>
          <a:ln w="9525">
            <a:noFill/>
            <a:miter lim="800000"/>
            <a:headEnd/>
            <a:tailEnd/>
          </a:ln>
        </p:spPr>
        <p:txBody>
          <a:bodyPr wrap="none">
            <a:spAutoFit/>
          </a:bodyPr>
          <a:lstStyle/>
          <a:p>
            <a:pPr algn="r"/>
            <a:r>
              <a:rPr lang="en-US" sz="800" i="1" dirty="0">
                <a:solidFill>
                  <a:srgbClr val="000000"/>
                </a:solidFill>
                <a:latin typeface="Arial Narrow" pitchFamily="34" charset="0"/>
              </a:rPr>
              <a:t>Source: Intermodal Association of North America</a:t>
            </a:r>
          </a:p>
        </p:txBody>
      </p:sp>
      <p:sp>
        <p:nvSpPr>
          <p:cNvPr id="73732" name="Line 4"/>
          <p:cNvSpPr>
            <a:spLocks noChangeShapeType="1"/>
          </p:cNvSpPr>
          <p:nvPr/>
        </p:nvSpPr>
        <p:spPr bwMode="auto">
          <a:xfrm>
            <a:off x="612775" y="1752600"/>
            <a:ext cx="7918450" cy="0"/>
          </a:xfrm>
          <a:prstGeom prst="line">
            <a:avLst/>
          </a:prstGeom>
          <a:noFill/>
          <a:ln w="9525">
            <a:solidFill>
              <a:schemeClr val="tx1"/>
            </a:solidFill>
            <a:round/>
            <a:headEnd/>
            <a:tailEnd/>
          </a:ln>
        </p:spPr>
        <p:txBody>
          <a:bodyPr/>
          <a:lstStyle/>
          <a:p>
            <a:endParaRPr lang="en-US" dirty="0"/>
          </a:p>
        </p:txBody>
      </p:sp>
      <p:sp>
        <p:nvSpPr>
          <p:cNvPr id="73733" name="Text Box 3"/>
          <p:cNvSpPr txBox="1">
            <a:spLocks noChangeArrowheads="1"/>
          </p:cNvSpPr>
          <p:nvPr/>
        </p:nvSpPr>
        <p:spPr bwMode="auto">
          <a:xfrm>
            <a:off x="635000" y="990600"/>
            <a:ext cx="7874000" cy="708025"/>
          </a:xfrm>
          <a:prstGeom prst="rect">
            <a:avLst/>
          </a:prstGeom>
          <a:noFill/>
          <a:ln w="9525">
            <a:noFill/>
            <a:miter lim="800000"/>
            <a:headEnd/>
            <a:tailEnd/>
          </a:ln>
        </p:spPr>
        <p:txBody>
          <a:bodyPr>
            <a:spAutoFit/>
          </a:bodyPr>
          <a:lstStyle/>
          <a:p>
            <a:pPr algn="ctr">
              <a:spcBef>
                <a:spcPct val="20000"/>
              </a:spcBef>
              <a:buFont typeface="Wingdings" pitchFamily="2" charset="2"/>
              <a:buNone/>
            </a:pPr>
            <a:r>
              <a:rPr lang="en-US" sz="2000" b="1" dirty="0">
                <a:latin typeface="Arial Narrow" pitchFamily="34" charset="0"/>
              </a:rPr>
              <a:t>Domestic Intermodal demand showed continued growth, with volume up over 8% for the fourth quarter and up over 9% in December.</a:t>
            </a:r>
          </a:p>
        </p:txBody>
      </p:sp>
      <p:graphicFrame>
        <p:nvGraphicFramePr>
          <p:cNvPr id="13" name="Chart 12"/>
          <p:cNvGraphicFramePr>
            <a:graphicFrameLocks/>
          </p:cNvGraphicFramePr>
          <p:nvPr/>
        </p:nvGraphicFramePr>
        <p:xfrm>
          <a:off x="-523875" y="-523875"/>
          <a:ext cx="0" cy="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nvGraphicFramePr>
        <p:xfrm>
          <a:off x="704088" y="1972228"/>
          <a:ext cx="7735824" cy="4169664"/>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Slide Number Placeholder 4"/>
          <p:cNvSpPr>
            <a:spLocks noGrp="1"/>
          </p:cNvSpPr>
          <p:nvPr>
            <p:ph type="sldNum" sz="quarter" idx="4294967295"/>
          </p:nvPr>
        </p:nvSpPr>
        <p:spPr>
          <a:xfrm>
            <a:off x="484188" y="6453188"/>
            <a:ext cx="328612" cy="255587"/>
          </a:xfrm>
          <a:prstGeom prst="rect">
            <a:avLst/>
          </a:prstGeom>
          <a:noFill/>
        </p:spPr>
        <p:txBody>
          <a:bodyPr/>
          <a:lstStyle/>
          <a:p>
            <a:fld id="{612306E0-822A-4679-8E70-6634697E9F7C}" type="slidenum">
              <a:rPr lang="en-US" smtClean="0">
                <a:latin typeface="Arial" pitchFamily="34" charset="0"/>
                <a:ea typeface="MS PGothic"/>
                <a:cs typeface="MS PGothic"/>
              </a:rPr>
              <a:pPr/>
              <a:t>23</a:t>
            </a:fld>
            <a:endParaRPr lang="en-US" dirty="0" smtClean="0">
              <a:latin typeface="Arial" pitchFamily="34" charset="0"/>
              <a:ea typeface="MS PGothic"/>
              <a:cs typeface="MS PGothic"/>
            </a:endParaRPr>
          </a:p>
        </p:txBody>
      </p:sp>
      <p:sp>
        <p:nvSpPr>
          <p:cNvPr id="6" name="Rectangle 5"/>
          <p:cNvSpPr/>
          <p:nvPr/>
        </p:nvSpPr>
        <p:spPr>
          <a:xfrm>
            <a:off x="635260" y="374982"/>
            <a:ext cx="7839999" cy="480131"/>
          </a:xfrm>
          <a:prstGeom prst="rect">
            <a:avLst/>
          </a:prstGeom>
        </p:spPr>
        <p:txBody>
          <a:bodyPr wrap="square">
            <a:spAutoFit/>
          </a:bodyPr>
          <a:lstStyle/>
          <a:p>
            <a:pPr eaLnBrk="0" hangingPunct="0">
              <a:defRPr/>
            </a:pPr>
            <a:r>
              <a:rPr lang="en-US" sz="2800" kern="0" dirty="0" smtClean="0">
                <a:solidFill>
                  <a:srgbClr val="FFFFFF"/>
                </a:solidFill>
                <a:latin typeface="+mj-lt"/>
                <a:ea typeface="+mj-ea"/>
                <a:cs typeface="+mj-cs"/>
              </a:rPr>
              <a:t>Western Intermodal Current State (2010)</a:t>
            </a:r>
            <a:endParaRPr lang="en-US" dirty="0">
              <a:latin typeface="Arial" charset="0"/>
              <a:ea typeface="MS PGothic" pitchFamily="34" charset="-128"/>
              <a:cs typeface="+mn-cs"/>
            </a:endParaRPr>
          </a:p>
        </p:txBody>
      </p:sp>
      <p:pic>
        <p:nvPicPr>
          <p:cNvPr id="1026" name="Picture 2"/>
          <p:cNvPicPr>
            <a:picLocks noGrp="1" noChangeAspect="1" noChangeArrowheads="1"/>
          </p:cNvPicPr>
          <p:nvPr>
            <p:ph idx="1"/>
          </p:nvPr>
        </p:nvPicPr>
        <p:blipFill>
          <a:blip r:embed="rId2" cstate="print"/>
          <a:srcRect/>
          <a:stretch>
            <a:fillRect/>
          </a:stretch>
        </p:blipFill>
        <p:spPr bwMode="auto">
          <a:xfrm>
            <a:off x="491319" y="1491568"/>
            <a:ext cx="8175009" cy="4450474"/>
          </a:xfrm>
          <a:prstGeom prst="rect">
            <a:avLst/>
          </a:prstGeom>
          <a:noFill/>
          <a:ln w="9525">
            <a:noFill/>
            <a:miter lim="800000"/>
            <a:headEnd/>
            <a:tailEnd/>
          </a:ln>
        </p:spPr>
      </p:pic>
      <p:sp>
        <p:nvSpPr>
          <p:cNvPr id="8" name="TextBox 7"/>
          <p:cNvSpPr txBox="1"/>
          <p:nvPr/>
        </p:nvSpPr>
        <p:spPr>
          <a:xfrm>
            <a:off x="2033517" y="900752"/>
            <a:ext cx="4858602" cy="313932"/>
          </a:xfrm>
          <a:prstGeom prst="rect">
            <a:avLst/>
          </a:prstGeom>
          <a:noFill/>
        </p:spPr>
        <p:txBody>
          <a:bodyPr wrap="square" rtlCol="0">
            <a:spAutoFit/>
          </a:bodyPr>
          <a:lstStyle/>
          <a:p>
            <a:r>
              <a:rPr lang="en-US" dirty="0" smtClean="0"/>
              <a:t>Western Railroad Container (COFC) Breakdown</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0"/>
          </p:nvPr>
        </p:nvSpPr>
        <p:spPr/>
        <p:txBody>
          <a:bodyPr/>
          <a:lstStyle/>
          <a:p>
            <a:pPr>
              <a:defRPr/>
            </a:pPr>
            <a:r>
              <a:rPr lang="en-US" dirty="0" smtClean="0"/>
              <a:t>2009 Temperature Control Conference</a:t>
            </a:r>
            <a:endParaRPr lang="en-US" dirty="0"/>
          </a:p>
        </p:txBody>
      </p:sp>
      <p:sp>
        <p:nvSpPr>
          <p:cNvPr id="4" name="TextBox 3"/>
          <p:cNvSpPr txBox="1"/>
          <p:nvPr/>
        </p:nvSpPr>
        <p:spPr>
          <a:xfrm>
            <a:off x="1950720" y="3352800"/>
            <a:ext cx="4623879" cy="861774"/>
          </a:xfrm>
          <a:prstGeom prst="rect">
            <a:avLst/>
          </a:prstGeom>
          <a:noFill/>
        </p:spPr>
        <p:txBody>
          <a:bodyPr wrap="square" rtlCol="0">
            <a:spAutoFit/>
          </a:bodyPr>
          <a:lstStyle/>
          <a:p>
            <a:pPr algn="ctr"/>
            <a:r>
              <a:rPr lang="en-US" sz="3200" dirty="0" smtClean="0"/>
              <a:t>Environmental Initiatives</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457200" y="0"/>
            <a:ext cx="8229600" cy="584771"/>
          </a:xfrm>
        </p:spPr>
        <p:txBody>
          <a:bodyPr lIns="91435" tIns="45718" rIns="91435" bIns="45718"/>
          <a:lstStyle/>
          <a:p>
            <a:r>
              <a:rPr lang="en-US" sz="3200" b="0" dirty="0" smtClean="0">
                <a:solidFill>
                  <a:schemeClr val="tx1"/>
                </a:solidFill>
                <a:ea typeface="MS PGothic"/>
                <a:cs typeface="MS PGothic"/>
              </a:rPr>
              <a:t>Alternatively Fueled Trucks</a:t>
            </a:r>
            <a:endParaRPr lang="en-US" sz="3200" b="0" dirty="0" smtClean="0">
              <a:solidFill>
                <a:schemeClr val="tx1"/>
              </a:solidFill>
            </a:endParaRPr>
          </a:p>
        </p:txBody>
      </p:sp>
      <p:sp>
        <p:nvSpPr>
          <p:cNvPr id="12291" name="Content Placeholder 2"/>
          <p:cNvSpPr>
            <a:spLocks noGrp="1"/>
          </p:cNvSpPr>
          <p:nvPr>
            <p:ph idx="4294967295"/>
          </p:nvPr>
        </p:nvSpPr>
        <p:spPr>
          <a:xfrm>
            <a:off x="3838575" y="1916113"/>
            <a:ext cx="5305425" cy="4097337"/>
          </a:xfrm>
        </p:spPr>
        <p:txBody>
          <a:bodyPr lIns="91435" tIns="45718" rIns="91435" bIns="45718"/>
          <a:lstStyle/>
          <a:p>
            <a:pPr marL="341313" indent="-341313" defTabSz="455613" eaLnBrk="1" hangingPunct="1">
              <a:buClr>
                <a:srgbClr val="6CABE7"/>
              </a:buClr>
            </a:pPr>
            <a:endParaRPr lang="en-US" sz="2900" dirty="0" smtClean="0"/>
          </a:p>
          <a:p>
            <a:pPr marL="341313" indent="-341313" defTabSz="455613" eaLnBrk="1" hangingPunct="1">
              <a:buClr>
                <a:srgbClr val="6CABE7"/>
              </a:buClr>
            </a:pPr>
            <a:endParaRPr lang="en-US" sz="2900" dirty="0" smtClean="0"/>
          </a:p>
        </p:txBody>
      </p:sp>
      <p:pic>
        <p:nvPicPr>
          <p:cNvPr id="296963" name="Picture 3" descr="Picture 006"/>
          <p:cNvPicPr>
            <a:picLocks noChangeAspect="1" noChangeArrowheads="1"/>
          </p:cNvPicPr>
          <p:nvPr/>
        </p:nvPicPr>
        <p:blipFill>
          <a:blip r:embed="rId2" cstate="print"/>
          <a:srcRect/>
          <a:stretch>
            <a:fillRect/>
          </a:stretch>
        </p:blipFill>
        <p:spPr bwMode="auto">
          <a:xfrm>
            <a:off x="488950" y="1262062"/>
            <a:ext cx="3532188" cy="2286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96968" name="Picture 8" descr="DSC00911"/>
          <p:cNvPicPr>
            <a:picLocks noChangeAspect="1" noChangeArrowheads="1"/>
          </p:cNvPicPr>
          <p:nvPr/>
        </p:nvPicPr>
        <p:blipFill>
          <a:blip r:embed="rId3" cstate="print"/>
          <a:srcRect/>
          <a:stretch>
            <a:fillRect/>
          </a:stretch>
        </p:blipFill>
        <p:spPr bwMode="auto">
          <a:xfrm>
            <a:off x="517525" y="3608388"/>
            <a:ext cx="3502026" cy="23939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96969" name="Picture 9" descr="DSC_8595_rev"/>
          <p:cNvPicPr>
            <a:picLocks noChangeAspect="1" noChangeArrowheads="1"/>
          </p:cNvPicPr>
          <p:nvPr/>
        </p:nvPicPr>
        <p:blipFill>
          <a:blip r:embed="rId4" cstate="print"/>
          <a:srcRect/>
          <a:stretch>
            <a:fillRect/>
          </a:stretch>
        </p:blipFill>
        <p:spPr bwMode="auto">
          <a:xfrm>
            <a:off x="4978400" y="1216025"/>
            <a:ext cx="3665538" cy="22923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96970" name="Picture 10" descr="Grease_Truck20090313_0014"/>
          <p:cNvPicPr>
            <a:picLocks noChangeAspect="1" noChangeArrowheads="1"/>
          </p:cNvPicPr>
          <p:nvPr/>
        </p:nvPicPr>
        <p:blipFill>
          <a:blip r:embed="rId5" cstate="print"/>
          <a:srcRect/>
          <a:stretch>
            <a:fillRect/>
          </a:stretch>
        </p:blipFill>
        <p:spPr bwMode="auto">
          <a:xfrm>
            <a:off x="5026025" y="3595687"/>
            <a:ext cx="3678238" cy="24368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2296" name="Text Box 9"/>
          <p:cNvSpPr txBox="1">
            <a:spLocks noChangeArrowheads="1"/>
          </p:cNvSpPr>
          <p:nvPr/>
        </p:nvSpPr>
        <p:spPr bwMode="auto">
          <a:xfrm>
            <a:off x="1468438" y="1223963"/>
            <a:ext cx="1657350" cy="366712"/>
          </a:xfrm>
          <a:prstGeom prst="rect">
            <a:avLst/>
          </a:prstGeom>
          <a:noFill/>
          <a:ln w="9525">
            <a:noFill/>
            <a:miter lim="800000"/>
            <a:headEnd/>
            <a:tailEnd/>
          </a:ln>
        </p:spPr>
        <p:txBody>
          <a:bodyPr wrap="none">
            <a:spAutoFit/>
          </a:bodyPr>
          <a:lstStyle/>
          <a:p>
            <a:r>
              <a:rPr lang="en-US" dirty="0">
                <a:solidFill>
                  <a:srgbClr val="003896"/>
                </a:solidFill>
              </a:rPr>
              <a:t>Hybrid Assist</a:t>
            </a:r>
          </a:p>
        </p:txBody>
      </p:sp>
      <p:sp>
        <p:nvSpPr>
          <p:cNvPr id="12297" name="Text Box 10"/>
          <p:cNvSpPr txBox="1">
            <a:spLocks noChangeArrowheads="1"/>
          </p:cNvSpPr>
          <p:nvPr/>
        </p:nvSpPr>
        <p:spPr bwMode="auto">
          <a:xfrm>
            <a:off x="942975" y="3590925"/>
            <a:ext cx="2914650" cy="641350"/>
          </a:xfrm>
          <a:prstGeom prst="rect">
            <a:avLst/>
          </a:prstGeom>
          <a:noFill/>
          <a:ln w="9525">
            <a:noFill/>
            <a:miter lim="800000"/>
            <a:headEnd/>
            <a:tailEnd/>
          </a:ln>
        </p:spPr>
        <p:txBody>
          <a:bodyPr wrap="none">
            <a:spAutoFit/>
          </a:bodyPr>
          <a:lstStyle/>
          <a:p>
            <a:pPr eaLnBrk="0" hangingPunct="0"/>
            <a:r>
              <a:rPr lang="en-US" dirty="0">
                <a:solidFill>
                  <a:srgbClr val="003896"/>
                </a:solidFill>
              </a:rPr>
              <a:t>Liquid Natural Gas (LNG)</a:t>
            </a:r>
          </a:p>
          <a:p>
            <a:endParaRPr lang="en-US" dirty="0"/>
          </a:p>
        </p:txBody>
      </p:sp>
      <p:sp>
        <p:nvSpPr>
          <p:cNvPr id="12298" name="Text Box 11"/>
          <p:cNvSpPr txBox="1">
            <a:spLocks noChangeArrowheads="1"/>
          </p:cNvSpPr>
          <p:nvPr/>
        </p:nvSpPr>
        <p:spPr bwMode="auto">
          <a:xfrm>
            <a:off x="5529263" y="1196975"/>
            <a:ext cx="2635250" cy="641350"/>
          </a:xfrm>
          <a:prstGeom prst="rect">
            <a:avLst/>
          </a:prstGeom>
          <a:noFill/>
          <a:ln w="9525">
            <a:noFill/>
            <a:miter lim="800000"/>
            <a:headEnd/>
            <a:tailEnd/>
          </a:ln>
        </p:spPr>
        <p:txBody>
          <a:bodyPr wrap="none">
            <a:spAutoFit/>
          </a:bodyPr>
          <a:lstStyle/>
          <a:p>
            <a:pPr eaLnBrk="0" hangingPunct="0"/>
            <a:r>
              <a:rPr lang="en-US" dirty="0">
                <a:solidFill>
                  <a:srgbClr val="003896"/>
                </a:solidFill>
              </a:rPr>
              <a:t>Full Propulsion Hybrid</a:t>
            </a:r>
          </a:p>
          <a:p>
            <a:endParaRPr lang="en-US" dirty="0">
              <a:solidFill>
                <a:srgbClr val="003896"/>
              </a:solidFill>
            </a:endParaRPr>
          </a:p>
        </p:txBody>
      </p:sp>
      <p:sp>
        <p:nvSpPr>
          <p:cNvPr id="12299" name="Text Box 12"/>
          <p:cNvSpPr txBox="1">
            <a:spLocks noChangeArrowheads="1"/>
          </p:cNvSpPr>
          <p:nvPr/>
        </p:nvSpPr>
        <p:spPr bwMode="auto">
          <a:xfrm>
            <a:off x="5245100" y="3563938"/>
            <a:ext cx="3397250" cy="366712"/>
          </a:xfrm>
          <a:prstGeom prst="rect">
            <a:avLst/>
          </a:prstGeom>
          <a:noFill/>
          <a:ln w="9525">
            <a:noFill/>
            <a:miter lim="800000"/>
            <a:headEnd/>
            <a:tailEnd/>
          </a:ln>
        </p:spPr>
        <p:txBody>
          <a:bodyPr wrap="none">
            <a:spAutoFit/>
          </a:bodyPr>
          <a:lstStyle/>
          <a:p>
            <a:r>
              <a:rPr lang="en-US" dirty="0">
                <a:solidFill>
                  <a:srgbClr val="003896"/>
                </a:solidFill>
              </a:rPr>
              <a:t>Reclaimed Grease Fuel (RGF)</a:t>
            </a:r>
          </a:p>
        </p:txBody>
      </p:sp>
    </p:spTree>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ooter Placeholder 5"/>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13315" name="AutoShape 2"/>
          <p:cNvSpPr>
            <a:spLocks noChangeArrowheads="1"/>
          </p:cNvSpPr>
          <p:nvPr/>
        </p:nvSpPr>
        <p:spPr bwMode="auto">
          <a:xfrm>
            <a:off x="166688" y="2081213"/>
            <a:ext cx="8256587" cy="2533650"/>
          </a:xfrm>
          <a:prstGeom prst="roundRect">
            <a:avLst>
              <a:gd name="adj" fmla="val 2509"/>
            </a:avLst>
          </a:prstGeom>
          <a:solidFill>
            <a:schemeClr val="accent1"/>
          </a:solidFill>
          <a:ln w="12700">
            <a:solidFill>
              <a:schemeClr val="tx1"/>
            </a:solidFill>
            <a:round/>
            <a:headEnd type="none" w="sm" len="sm"/>
            <a:tailEnd type="none" w="sm" len="sm"/>
          </a:ln>
        </p:spPr>
        <p:txBody>
          <a:bodyPr wrap="none" lIns="91429" tIns="45714" rIns="91429" bIns="45714" anchor="ctr"/>
          <a:lstStyle/>
          <a:p>
            <a:endParaRPr lang="en-US" dirty="0">
              <a:solidFill>
                <a:schemeClr val="bg1"/>
              </a:solidFill>
            </a:endParaRPr>
          </a:p>
        </p:txBody>
      </p:sp>
      <p:sp>
        <p:nvSpPr>
          <p:cNvPr id="13316" name="Text Box 3"/>
          <p:cNvSpPr txBox="1">
            <a:spLocks noChangeArrowheads="1"/>
          </p:cNvSpPr>
          <p:nvPr/>
        </p:nvSpPr>
        <p:spPr bwMode="auto">
          <a:xfrm>
            <a:off x="309563" y="188913"/>
            <a:ext cx="7180262" cy="585408"/>
          </a:xfrm>
          <a:prstGeom prst="rect">
            <a:avLst/>
          </a:prstGeom>
          <a:noFill/>
          <a:ln w="9525" algn="ctr">
            <a:noFill/>
            <a:miter lim="800000"/>
            <a:headEnd type="none" w="sm" len="sm"/>
            <a:tailEnd type="none" w="sm" len="sm"/>
          </a:ln>
        </p:spPr>
        <p:txBody>
          <a:bodyPr lIns="0" tIns="46033" rIns="0" bIns="46033">
            <a:spAutoFit/>
          </a:bodyPr>
          <a:lstStyle/>
          <a:p>
            <a:pPr eaLnBrk="0" hangingPunct="0"/>
            <a:r>
              <a:rPr lang="en-US" sz="3200" dirty="0">
                <a:ea typeface="MS PGothic"/>
                <a:cs typeface="MS PGothic"/>
              </a:rPr>
              <a:t>FYE </a:t>
            </a:r>
            <a:r>
              <a:rPr lang="en-US" sz="3200" dirty="0" smtClean="0">
                <a:ea typeface="MS PGothic"/>
                <a:cs typeface="MS PGothic"/>
              </a:rPr>
              <a:t>2010 </a:t>
            </a:r>
            <a:r>
              <a:rPr lang="en-US" sz="3200" dirty="0">
                <a:ea typeface="MS PGothic"/>
                <a:cs typeface="MS PGothic"/>
              </a:rPr>
              <a:t>Operational Results</a:t>
            </a:r>
          </a:p>
        </p:txBody>
      </p:sp>
      <p:sp>
        <p:nvSpPr>
          <p:cNvPr id="588804" name="Rectangle 4"/>
          <p:cNvSpPr>
            <a:spLocks noChangeArrowheads="1"/>
          </p:cNvSpPr>
          <p:nvPr/>
        </p:nvSpPr>
        <p:spPr bwMode="auto">
          <a:xfrm>
            <a:off x="306388" y="2185988"/>
            <a:ext cx="5822950" cy="3651250"/>
          </a:xfrm>
          <a:prstGeom prst="rect">
            <a:avLst/>
          </a:prstGeom>
          <a:noFill/>
          <a:ln w="9525">
            <a:noFill/>
            <a:miter lim="800000"/>
            <a:headEnd/>
            <a:tailEnd/>
          </a:ln>
        </p:spPr>
        <p:txBody>
          <a:bodyPr lIns="0" tIns="0" rIns="0" bIns="0"/>
          <a:lstStyle/>
          <a:p>
            <a:pPr marL="287338" indent="-287338">
              <a:spcAft>
                <a:spcPct val="75000"/>
              </a:spcAft>
              <a:buClr>
                <a:schemeClr val="folHlink"/>
              </a:buClr>
              <a:buSzPct val="120000"/>
              <a:buFont typeface="Times" pitchFamily="18" charset="0"/>
              <a:buChar char="•"/>
            </a:pPr>
            <a:r>
              <a:rPr lang="en-US" sz="2200" u="sng" dirty="0">
                <a:solidFill>
                  <a:schemeClr val="bg1"/>
                </a:solidFill>
              </a:rPr>
              <a:t>3.0% more</a:t>
            </a:r>
            <a:r>
              <a:rPr lang="en-US" sz="2200" dirty="0">
                <a:solidFill>
                  <a:schemeClr val="bg1"/>
                </a:solidFill>
              </a:rPr>
              <a:t> cases and </a:t>
            </a:r>
            <a:r>
              <a:rPr lang="en-US" sz="2200" u="sng" dirty="0">
                <a:solidFill>
                  <a:schemeClr val="bg1"/>
                </a:solidFill>
              </a:rPr>
              <a:t>6.9% less</a:t>
            </a:r>
            <a:r>
              <a:rPr lang="en-US" sz="2200" dirty="0">
                <a:solidFill>
                  <a:schemeClr val="bg1"/>
                </a:solidFill>
              </a:rPr>
              <a:t> miles</a:t>
            </a:r>
          </a:p>
          <a:p>
            <a:pPr marL="287338" indent="-287338">
              <a:spcAft>
                <a:spcPct val="75000"/>
              </a:spcAft>
              <a:buClr>
                <a:schemeClr val="folHlink"/>
              </a:buClr>
              <a:buSzPct val="120000"/>
              <a:buFont typeface="Times" pitchFamily="18" charset="0"/>
              <a:buChar char="•"/>
            </a:pPr>
            <a:r>
              <a:rPr lang="en-US" sz="2200" u="sng" dirty="0">
                <a:solidFill>
                  <a:schemeClr val="bg1"/>
                </a:solidFill>
              </a:rPr>
              <a:t>14.2% increase</a:t>
            </a:r>
            <a:r>
              <a:rPr lang="en-US" sz="2200" dirty="0">
                <a:solidFill>
                  <a:schemeClr val="bg1"/>
                </a:solidFill>
              </a:rPr>
              <a:t> in GDC trailer cube</a:t>
            </a:r>
          </a:p>
          <a:p>
            <a:pPr marL="287338" indent="-287338">
              <a:spcAft>
                <a:spcPct val="75000"/>
              </a:spcAft>
              <a:buClr>
                <a:schemeClr val="folHlink"/>
              </a:buClr>
              <a:buSzPct val="120000"/>
              <a:buFont typeface="Times" pitchFamily="18" charset="0"/>
              <a:buChar char="•"/>
            </a:pPr>
            <a:r>
              <a:rPr lang="en-US" sz="2200" u="sng" dirty="0">
                <a:solidFill>
                  <a:schemeClr val="bg1"/>
                </a:solidFill>
              </a:rPr>
              <a:t>5.0% reduction</a:t>
            </a:r>
            <a:r>
              <a:rPr lang="en-US" sz="2200" dirty="0">
                <a:solidFill>
                  <a:schemeClr val="bg1"/>
                </a:solidFill>
              </a:rPr>
              <a:t> in empty mileage</a:t>
            </a:r>
          </a:p>
          <a:p>
            <a:pPr marL="287338" indent="-287338">
              <a:spcAft>
                <a:spcPct val="75000"/>
              </a:spcAft>
              <a:buClr>
                <a:schemeClr val="folHlink"/>
              </a:buClr>
              <a:buSzPct val="120000"/>
              <a:buFont typeface="Times" pitchFamily="18" charset="0"/>
              <a:buChar char="•"/>
            </a:pPr>
            <a:r>
              <a:rPr lang="en-US" sz="2200" u="sng" dirty="0">
                <a:solidFill>
                  <a:schemeClr val="bg1"/>
                </a:solidFill>
              </a:rPr>
              <a:t>12.7% reduction</a:t>
            </a:r>
            <a:r>
              <a:rPr lang="en-US" sz="2200" dirty="0">
                <a:solidFill>
                  <a:schemeClr val="bg1"/>
                </a:solidFill>
              </a:rPr>
              <a:t> in load dist ~ 34 Miles</a:t>
            </a:r>
          </a:p>
        </p:txBody>
      </p:sp>
      <p:sp>
        <p:nvSpPr>
          <p:cNvPr id="13318" name="Rectangle 5"/>
          <p:cNvSpPr>
            <a:spLocks noChangeArrowheads="1"/>
          </p:cNvSpPr>
          <p:nvPr/>
        </p:nvSpPr>
        <p:spPr bwMode="auto">
          <a:xfrm>
            <a:off x="538163" y="803275"/>
            <a:ext cx="7875587" cy="1006475"/>
          </a:xfrm>
          <a:prstGeom prst="rect">
            <a:avLst/>
          </a:prstGeom>
          <a:noFill/>
          <a:ln w="12700">
            <a:noFill/>
            <a:miter lim="800000"/>
            <a:headEnd type="none" w="sm" len="sm"/>
            <a:tailEnd type="none" w="sm" len="sm"/>
          </a:ln>
        </p:spPr>
        <p:txBody>
          <a:bodyPr lIns="91429" tIns="45714" rIns="91429" bIns="45714">
            <a:spAutoFit/>
          </a:bodyPr>
          <a:lstStyle/>
          <a:p>
            <a:pPr>
              <a:lnSpc>
                <a:spcPct val="125000"/>
              </a:lnSpc>
              <a:buClr>
                <a:schemeClr val="folHlink"/>
              </a:buClr>
              <a:buSzPct val="120000"/>
              <a:buFont typeface="Times" pitchFamily="18" charset="0"/>
              <a:buNone/>
            </a:pPr>
            <a:r>
              <a:rPr lang="en-US" sz="2400" i="1" dirty="0"/>
              <a:t>We delivered 161.2M more cases while reducing mileage by 97.1M…</a:t>
            </a:r>
            <a:r>
              <a:rPr lang="en-US" sz="2000" i="1" dirty="0"/>
              <a:t>  </a:t>
            </a:r>
          </a:p>
        </p:txBody>
      </p:sp>
      <p:pic>
        <p:nvPicPr>
          <p:cNvPr id="13319" name="Picture 6" descr="MPj03879400000[1]"/>
          <p:cNvPicPr>
            <a:picLocks noChangeAspect="1" noChangeArrowheads="1"/>
          </p:cNvPicPr>
          <p:nvPr/>
        </p:nvPicPr>
        <p:blipFill>
          <a:blip r:embed="rId2" cstate="print"/>
          <a:srcRect/>
          <a:stretch>
            <a:fillRect/>
          </a:stretch>
        </p:blipFill>
        <p:spPr bwMode="auto">
          <a:xfrm>
            <a:off x="6096000" y="2066925"/>
            <a:ext cx="2644775" cy="2551113"/>
          </a:xfrm>
          <a:prstGeom prst="rect">
            <a:avLst/>
          </a:prstGeom>
          <a:noFill/>
          <a:ln w="9525">
            <a:noFill/>
            <a:miter lim="800000"/>
            <a:headEnd/>
            <a:tailEnd/>
          </a:ln>
        </p:spPr>
      </p:pic>
      <p:sp>
        <p:nvSpPr>
          <p:cNvPr id="588807" name="Rectangle 7"/>
          <p:cNvSpPr>
            <a:spLocks noChangeArrowheads="1"/>
          </p:cNvSpPr>
          <p:nvPr/>
        </p:nvSpPr>
        <p:spPr bwMode="auto">
          <a:xfrm>
            <a:off x="801688" y="5026025"/>
            <a:ext cx="7608887" cy="854075"/>
          </a:xfrm>
          <a:prstGeom prst="rect">
            <a:avLst/>
          </a:prstGeom>
          <a:noFill/>
          <a:ln w="12700" algn="ctr">
            <a:noFill/>
            <a:miter lim="800000"/>
            <a:headEnd/>
            <a:tailEnd/>
          </a:ln>
        </p:spPr>
        <p:txBody>
          <a:bodyPr lIns="91429" tIns="45714" rIns="91429" bIns="45714">
            <a:spAutoFit/>
          </a:bodyPr>
          <a:lstStyle/>
          <a:p>
            <a:pPr>
              <a:lnSpc>
                <a:spcPct val="125000"/>
              </a:lnSpc>
              <a:buClr>
                <a:schemeClr val="folHlink"/>
              </a:buClr>
              <a:buSzPct val="120000"/>
              <a:buFont typeface="Times" pitchFamily="18" charset="0"/>
              <a:buNone/>
            </a:pPr>
            <a:r>
              <a:rPr lang="en-US" sz="2000" i="1" dirty="0"/>
              <a:t>“If nothing was done we would have passed on an additional 12bp of expenses, or $178.1M to our Stores and Club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8804"/>
                                        </p:tgtEl>
                                        <p:attrNameLst>
                                          <p:attrName>style.visibility</p:attrName>
                                        </p:attrNameLst>
                                      </p:cBhvr>
                                      <p:to>
                                        <p:strVal val="visible"/>
                                      </p:to>
                                    </p:set>
                                    <p:animEffect transition="in" filter="fade">
                                      <p:cBhvr>
                                        <p:cTn id="7" dur="1000"/>
                                        <p:tgtEl>
                                          <p:spTgt spid="588804"/>
                                        </p:tgtEl>
                                      </p:cBhvr>
                                    </p:animEffect>
                                  </p:childTnLst>
                                </p:cTn>
                              </p:par>
                            </p:childTnLst>
                          </p:cTn>
                        </p:par>
                        <p:par>
                          <p:cTn id="8" fill="hold">
                            <p:stCondLst>
                              <p:cond delay="1000"/>
                            </p:stCondLst>
                            <p:childTnLst>
                              <p:par>
                                <p:cTn id="9" presetID="6" presetClass="entr" presetSubtype="16" fill="hold" grpId="0" nodeType="afterEffect">
                                  <p:stCondLst>
                                    <p:cond delay="0"/>
                                  </p:stCondLst>
                                  <p:childTnLst>
                                    <p:set>
                                      <p:cBhvr>
                                        <p:cTn id="10" dur="1" fill="hold">
                                          <p:stCondLst>
                                            <p:cond delay="0"/>
                                          </p:stCondLst>
                                        </p:cTn>
                                        <p:tgtEl>
                                          <p:spTgt spid="588807"/>
                                        </p:tgtEl>
                                        <p:attrNameLst>
                                          <p:attrName>style.visibility</p:attrName>
                                        </p:attrNameLst>
                                      </p:cBhvr>
                                      <p:to>
                                        <p:strVal val="visible"/>
                                      </p:to>
                                    </p:set>
                                    <p:animEffect transition="in" filter="circle(in)">
                                      <p:cBhvr>
                                        <p:cTn id="11" dur="1000"/>
                                        <p:tgtEl>
                                          <p:spTgt spid="5888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8804" grpId="0"/>
      <p:bldP spid="58880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oter Placeholder 2"/>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pic>
        <p:nvPicPr>
          <p:cNvPr id="28675" name="Picture 2"/>
          <p:cNvPicPr>
            <a:picLocks noChangeAspect="1" noChangeArrowheads="1"/>
          </p:cNvPicPr>
          <p:nvPr/>
        </p:nvPicPr>
        <p:blipFill>
          <a:blip r:embed="rId3" cstate="print"/>
          <a:srcRect/>
          <a:stretch>
            <a:fillRect/>
          </a:stretch>
        </p:blipFill>
        <p:spPr bwMode="auto">
          <a:xfrm>
            <a:off x="5562600" y="3427413"/>
            <a:ext cx="3429000" cy="2897187"/>
          </a:xfrm>
          <a:prstGeom prst="rect">
            <a:avLst/>
          </a:prstGeom>
          <a:noFill/>
          <a:ln w="9525">
            <a:noFill/>
            <a:miter lim="800000"/>
            <a:headEnd type="none" w="sm" len="sm"/>
            <a:tailEnd type="none" w="sm" len="sm"/>
          </a:ln>
        </p:spPr>
      </p:pic>
      <p:sp>
        <p:nvSpPr>
          <p:cNvPr id="28676" name="Text Box 3"/>
          <p:cNvSpPr txBox="1">
            <a:spLocks noChangeArrowheads="1"/>
          </p:cNvSpPr>
          <p:nvPr/>
        </p:nvSpPr>
        <p:spPr bwMode="auto">
          <a:xfrm>
            <a:off x="533400" y="304800"/>
            <a:ext cx="7369175" cy="628955"/>
          </a:xfrm>
          <a:prstGeom prst="rect">
            <a:avLst/>
          </a:prstGeom>
          <a:noFill/>
          <a:ln w="9525">
            <a:noFill/>
            <a:miter lim="800000"/>
            <a:headEnd type="none" w="sm" len="sm"/>
            <a:tailEnd type="none" w="sm" len="sm"/>
          </a:ln>
        </p:spPr>
        <p:txBody>
          <a:bodyPr>
            <a:spAutoFit/>
          </a:bodyPr>
          <a:lstStyle/>
          <a:p>
            <a:pPr marL="120650" indent="-120650" eaLnBrk="0" hangingPunct="0">
              <a:lnSpc>
                <a:spcPct val="120000"/>
              </a:lnSpc>
            </a:pPr>
            <a:r>
              <a:rPr lang="en-US" sz="3200" b="1" dirty="0"/>
              <a:t>Zero Waste – Before &amp; After</a:t>
            </a:r>
          </a:p>
        </p:txBody>
      </p:sp>
      <p:sp>
        <p:nvSpPr>
          <p:cNvPr id="28677" name="Rectangle 6"/>
          <p:cNvSpPr>
            <a:spLocks noChangeArrowheads="1"/>
          </p:cNvSpPr>
          <p:nvPr/>
        </p:nvSpPr>
        <p:spPr bwMode="auto">
          <a:xfrm>
            <a:off x="1600200" y="5667375"/>
            <a:ext cx="4114800" cy="657225"/>
          </a:xfrm>
          <a:prstGeom prst="rect">
            <a:avLst/>
          </a:prstGeom>
          <a:noFill/>
          <a:ln w="9525">
            <a:noFill/>
            <a:miter lim="800000"/>
            <a:headEnd/>
            <a:tailEnd/>
          </a:ln>
        </p:spPr>
        <p:txBody>
          <a:bodyPr lIns="0" tIns="0" rIns="0" bIns="0"/>
          <a:lstStyle/>
          <a:p>
            <a:pPr marL="287338" indent="-287338">
              <a:buClr>
                <a:schemeClr val="folHlink"/>
              </a:buClr>
              <a:buSzPct val="120000"/>
              <a:buFont typeface="Times" pitchFamily="18" charset="0"/>
              <a:buNone/>
            </a:pPr>
            <a:r>
              <a:rPr lang="en-US" b="1" dirty="0"/>
              <a:t>Packaging for Kid Connection Toys</a:t>
            </a:r>
          </a:p>
          <a:p>
            <a:pPr marL="287338" indent="-287338">
              <a:buClr>
                <a:schemeClr val="folHlink"/>
              </a:buClr>
              <a:buSzPct val="120000"/>
              <a:buFont typeface="Times" pitchFamily="18" charset="0"/>
              <a:buNone/>
            </a:pPr>
            <a:endParaRPr lang="en-US" b="1" dirty="0"/>
          </a:p>
        </p:txBody>
      </p:sp>
      <p:grpSp>
        <p:nvGrpSpPr>
          <p:cNvPr id="28678" name="Group 7"/>
          <p:cNvGrpSpPr>
            <a:grpSpLocks/>
          </p:cNvGrpSpPr>
          <p:nvPr/>
        </p:nvGrpSpPr>
        <p:grpSpPr bwMode="auto">
          <a:xfrm>
            <a:off x="381000" y="1066800"/>
            <a:ext cx="4191000" cy="2819400"/>
            <a:chOff x="336" y="768"/>
            <a:chExt cx="5280" cy="3083"/>
          </a:xfrm>
        </p:grpSpPr>
        <p:pic>
          <p:nvPicPr>
            <p:cNvPr id="28680" name="Picture 8" descr="GV_yog_lid"/>
            <p:cNvPicPr>
              <a:picLocks noChangeAspect="1" noChangeArrowheads="1"/>
            </p:cNvPicPr>
            <p:nvPr/>
          </p:nvPicPr>
          <p:blipFill>
            <a:blip r:embed="rId4" cstate="print"/>
            <a:srcRect/>
            <a:stretch>
              <a:fillRect/>
            </a:stretch>
          </p:blipFill>
          <p:spPr bwMode="auto">
            <a:xfrm>
              <a:off x="336" y="768"/>
              <a:ext cx="2447" cy="2877"/>
            </a:xfrm>
            <a:prstGeom prst="rect">
              <a:avLst/>
            </a:prstGeom>
            <a:noFill/>
            <a:ln w="9525">
              <a:noFill/>
              <a:miter lim="800000"/>
              <a:headEnd/>
              <a:tailEnd/>
            </a:ln>
          </p:spPr>
        </p:pic>
        <p:pic>
          <p:nvPicPr>
            <p:cNvPr id="28681" name="Picture 9" descr="GV_yog_foil"/>
            <p:cNvPicPr>
              <a:picLocks noChangeAspect="1" noChangeArrowheads="1"/>
            </p:cNvPicPr>
            <p:nvPr/>
          </p:nvPicPr>
          <p:blipFill>
            <a:blip r:embed="rId5" cstate="print"/>
            <a:srcRect/>
            <a:stretch>
              <a:fillRect/>
            </a:stretch>
          </p:blipFill>
          <p:spPr bwMode="auto">
            <a:xfrm>
              <a:off x="3001" y="828"/>
              <a:ext cx="2615" cy="3023"/>
            </a:xfrm>
            <a:prstGeom prst="rect">
              <a:avLst/>
            </a:prstGeom>
            <a:noFill/>
            <a:ln w="9525">
              <a:noFill/>
              <a:miter lim="800000"/>
              <a:headEnd/>
              <a:tailEnd/>
            </a:ln>
          </p:spPr>
        </p:pic>
      </p:grpSp>
      <p:sp>
        <p:nvSpPr>
          <p:cNvPr id="28679" name="Rectangle 10"/>
          <p:cNvSpPr>
            <a:spLocks noChangeArrowheads="1"/>
          </p:cNvSpPr>
          <p:nvPr/>
        </p:nvSpPr>
        <p:spPr bwMode="auto">
          <a:xfrm>
            <a:off x="4572000" y="1676400"/>
            <a:ext cx="4114800" cy="657225"/>
          </a:xfrm>
          <a:prstGeom prst="rect">
            <a:avLst/>
          </a:prstGeom>
          <a:noFill/>
          <a:ln w="9525">
            <a:noFill/>
            <a:miter lim="800000"/>
            <a:headEnd/>
            <a:tailEnd/>
          </a:ln>
        </p:spPr>
        <p:txBody>
          <a:bodyPr lIns="0" tIns="0" rIns="0" bIns="0"/>
          <a:lstStyle/>
          <a:p>
            <a:pPr marL="287338" indent="-287338">
              <a:buClr>
                <a:schemeClr val="folHlink"/>
              </a:buClr>
              <a:buSzPct val="120000"/>
              <a:buFont typeface="Times" pitchFamily="18" charset="0"/>
              <a:buNone/>
            </a:pPr>
            <a:r>
              <a:rPr lang="en-US" b="1" dirty="0"/>
              <a:t>Yogurt Lids</a:t>
            </a:r>
          </a:p>
          <a:p>
            <a:pPr marL="287338" indent="-287338">
              <a:buClr>
                <a:schemeClr val="folHlink"/>
              </a:buClr>
              <a:buSzPct val="120000"/>
              <a:buFont typeface="Times" pitchFamily="18" charset="0"/>
              <a:buNone/>
            </a:pPr>
            <a:endParaRPr lang="en-US" b="1"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29699" name="Rectangle 2"/>
          <p:cNvSpPr>
            <a:spLocks noChangeArrowheads="1"/>
          </p:cNvSpPr>
          <p:nvPr/>
        </p:nvSpPr>
        <p:spPr bwMode="auto">
          <a:xfrm>
            <a:off x="3409950" y="5513388"/>
            <a:ext cx="5399088" cy="400110"/>
          </a:xfrm>
          <a:prstGeom prst="rect">
            <a:avLst/>
          </a:prstGeom>
          <a:noFill/>
          <a:ln w="9525">
            <a:noFill/>
            <a:miter lim="800000"/>
            <a:headEnd/>
            <a:tailEnd/>
          </a:ln>
        </p:spPr>
        <p:txBody>
          <a:bodyPr>
            <a:spAutoFit/>
          </a:bodyPr>
          <a:lstStyle/>
          <a:p>
            <a:r>
              <a:rPr lang="en-US" sz="2000" dirty="0"/>
              <a:t>Just 277 SKU’s.  Imagine the possibilities…</a:t>
            </a:r>
          </a:p>
        </p:txBody>
      </p:sp>
      <p:sp>
        <p:nvSpPr>
          <p:cNvPr id="29700" name="Rectangle 3"/>
          <p:cNvSpPr>
            <a:spLocks noChangeArrowheads="1"/>
          </p:cNvSpPr>
          <p:nvPr/>
        </p:nvSpPr>
        <p:spPr bwMode="auto">
          <a:xfrm>
            <a:off x="5795963" y="1666875"/>
            <a:ext cx="550862" cy="701675"/>
          </a:xfrm>
          <a:prstGeom prst="rect">
            <a:avLst/>
          </a:prstGeom>
          <a:noFill/>
          <a:ln w="9525">
            <a:noFill/>
            <a:miter lim="800000"/>
            <a:headEnd/>
            <a:tailEnd/>
          </a:ln>
        </p:spPr>
        <p:txBody>
          <a:bodyPr>
            <a:spAutoFit/>
          </a:bodyPr>
          <a:lstStyle/>
          <a:p>
            <a:r>
              <a:rPr lang="en-US" sz="4000" b="1" dirty="0">
                <a:solidFill>
                  <a:srgbClr val="174B91"/>
                </a:solidFill>
                <a:latin typeface="Arial "/>
              </a:rPr>
              <a:t>+</a:t>
            </a:r>
            <a:endParaRPr lang="en-US" sz="6000" b="1" dirty="0">
              <a:solidFill>
                <a:srgbClr val="174B91"/>
              </a:solidFill>
              <a:latin typeface="Arial "/>
            </a:endParaRPr>
          </a:p>
        </p:txBody>
      </p:sp>
      <p:sp>
        <p:nvSpPr>
          <p:cNvPr id="29701" name="Rectangle 4"/>
          <p:cNvSpPr>
            <a:spLocks noChangeArrowheads="1"/>
          </p:cNvSpPr>
          <p:nvPr/>
        </p:nvSpPr>
        <p:spPr bwMode="auto">
          <a:xfrm>
            <a:off x="3657600" y="609600"/>
            <a:ext cx="4814888" cy="1006475"/>
          </a:xfrm>
          <a:prstGeom prst="rect">
            <a:avLst/>
          </a:prstGeom>
          <a:noFill/>
          <a:ln w="9525">
            <a:noFill/>
            <a:miter lim="800000"/>
            <a:headEnd/>
            <a:tailEnd/>
          </a:ln>
        </p:spPr>
        <p:txBody>
          <a:bodyPr>
            <a:spAutoFit/>
          </a:bodyPr>
          <a:lstStyle/>
          <a:p>
            <a:r>
              <a:rPr lang="en-US" sz="2000" dirty="0"/>
              <a:t>Used 727 less shipping containers.</a:t>
            </a:r>
          </a:p>
          <a:p>
            <a:r>
              <a:rPr lang="en-US" sz="2000" dirty="0"/>
              <a:t>Saved $3.5 million on transportation costs.</a:t>
            </a:r>
          </a:p>
        </p:txBody>
      </p:sp>
      <p:sp>
        <p:nvSpPr>
          <p:cNvPr id="29702" name="Rectangle 5"/>
          <p:cNvSpPr>
            <a:spLocks noChangeArrowheads="1"/>
          </p:cNvSpPr>
          <p:nvPr/>
        </p:nvSpPr>
        <p:spPr bwMode="auto">
          <a:xfrm>
            <a:off x="5832475" y="3228975"/>
            <a:ext cx="550863" cy="701675"/>
          </a:xfrm>
          <a:prstGeom prst="rect">
            <a:avLst/>
          </a:prstGeom>
          <a:noFill/>
          <a:ln w="9525">
            <a:noFill/>
            <a:miter lim="800000"/>
            <a:headEnd/>
            <a:tailEnd/>
          </a:ln>
        </p:spPr>
        <p:txBody>
          <a:bodyPr>
            <a:spAutoFit/>
          </a:bodyPr>
          <a:lstStyle/>
          <a:p>
            <a:r>
              <a:rPr lang="en-US" sz="4000" b="1" dirty="0">
                <a:solidFill>
                  <a:srgbClr val="174B91"/>
                </a:solidFill>
                <a:latin typeface="Arial "/>
              </a:rPr>
              <a:t>+</a:t>
            </a:r>
            <a:endParaRPr lang="en-US" sz="6000" b="1" dirty="0">
              <a:solidFill>
                <a:srgbClr val="174B91"/>
              </a:solidFill>
              <a:latin typeface="Arial "/>
            </a:endParaRPr>
          </a:p>
        </p:txBody>
      </p:sp>
      <p:sp>
        <p:nvSpPr>
          <p:cNvPr id="29703" name="Rectangle 6"/>
          <p:cNvSpPr>
            <a:spLocks noChangeArrowheads="1"/>
          </p:cNvSpPr>
          <p:nvPr/>
        </p:nvSpPr>
        <p:spPr bwMode="auto">
          <a:xfrm>
            <a:off x="3687763" y="2660650"/>
            <a:ext cx="4776787" cy="396875"/>
          </a:xfrm>
          <a:prstGeom prst="rect">
            <a:avLst/>
          </a:prstGeom>
          <a:noFill/>
          <a:ln w="9525">
            <a:noFill/>
            <a:miter lim="800000"/>
            <a:headEnd/>
            <a:tailEnd/>
          </a:ln>
        </p:spPr>
        <p:txBody>
          <a:bodyPr>
            <a:spAutoFit/>
          </a:bodyPr>
          <a:lstStyle/>
          <a:p>
            <a:r>
              <a:rPr lang="en-US" sz="2000" dirty="0"/>
              <a:t>Saved 5,100 trees. </a:t>
            </a:r>
          </a:p>
        </p:txBody>
      </p:sp>
      <p:sp>
        <p:nvSpPr>
          <p:cNvPr id="29704" name="Rectangle 7"/>
          <p:cNvSpPr>
            <a:spLocks noChangeArrowheads="1"/>
          </p:cNvSpPr>
          <p:nvPr/>
        </p:nvSpPr>
        <p:spPr bwMode="auto">
          <a:xfrm>
            <a:off x="3733800" y="4267200"/>
            <a:ext cx="4672013" cy="1006475"/>
          </a:xfrm>
          <a:prstGeom prst="rect">
            <a:avLst/>
          </a:prstGeom>
          <a:noFill/>
          <a:ln w="9525">
            <a:noFill/>
            <a:miter lim="800000"/>
            <a:headEnd/>
            <a:tailEnd/>
          </a:ln>
        </p:spPr>
        <p:txBody>
          <a:bodyPr>
            <a:spAutoFit/>
          </a:bodyPr>
          <a:lstStyle/>
          <a:p>
            <a:r>
              <a:rPr lang="en-US" sz="2000" dirty="0"/>
              <a:t>Prevented 1,300 barrels of oil from being used.</a:t>
            </a:r>
          </a:p>
          <a:p>
            <a:endParaRPr lang="en-US" sz="2000" b="1" dirty="0"/>
          </a:p>
        </p:txBody>
      </p:sp>
      <p:sp>
        <p:nvSpPr>
          <p:cNvPr id="29705" name="Rectangle 8"/>
          <p:cNvSpPr>
            <a:spLocks noChangeArrowheads="1"/>
          </p:cNvSpPr>
          <p:nvPr/>
        </p:nvSpPr>
        <p:spPr bwMode="auto">
          <a:xfrm>
            <a:off x="9005888" y="4075113"/>
            <a:ext cx="195262" cy="366712"/>
          </a:xfrm>
          <a:prstGeom prst="rect">
            <a:avLst/>
          </a:prstGeom>
          <a:noFill/>
          <a:ln w="9525">
            <a:noFill/>
            <a:miter lim="800000"/>
            <a:headEnd/>
            <a:tailEnd/>
          </a:ln>
        </p:spPr>
        <p:txBody>
          <a:bodyPr>
            <a:spAutoFit/>
          </a:bodyPr>
          <a:lstStyle/>
          <a:p>
            <a:endParaRPr lang="en-US" dirty="0"/>
          </a:p>
        </p:txBody>
      </p:sp>
      <p:pic>
        <p:nvPicPr>
          <p:cNvPr id="29706" name="Picture 9"/>
          <p:cNvPicPr>
            <a:picLocks noChangeAspect="1" noChangeArrowheads="1"/>
          </p:cNvPicPr>
          <p:nvPr/>
        </p:nvPicPr>
        <p:blipFill>
          <a:blip r:embed="rId3" cstate="print"/>
          <a:srcRect/>
          <a:stretch>
            <a:fillRect/>
          </a:stretch>
        </p:blipFill>
        <p:spPr bwMode="auto">
          <a:xfrm>
            <a:off x="596900" y="198438"/>
            <a:ext cx="2762250" cy="1830387"/>
          </a:xfrm>
          <a:prstGeom prst="rect">
            <a:avLst/>
          </a:prstGeom>
          <a:noFill/>
          <a:ln w="57150">
            <a:solidFill>
              <a:srgbClr val="BBC2C9"/>
            </a:solidFill>
            <a:miter lim="800000"/>
            <a:headEnd/>
            <a:tailEnd/>
          </a:ln>
        </p:spPr>
      </p:pic>
      <p:pic>
        <p:nvPicPr>
          <p:cNvPr id="29707" name="Picture 10"/>
          <p:cNvPicPr>
            <a:picLocks noChangeAspect="1" noChangeArrowheads="1"/>
          </p:cNvPicPr>
          <p:nvPr/>
        </p:nvPicPr>
        <p:blipFill>
          <a:blip r:embed="rId4" cstate="print"/>
          <a:srcRect/>
          <a:stretch>
            <a:fillRect/>
          </a:stretch>
        </p:blipFill>
        <p:spPr bwMode="auto">
          <a:xfrm>
            <a:off x="595313" y="2273300"/>
            <a:ext cx="2746375" cy="1830388"/>
          </a:xfrm>
          <a:prstGeom prst="rect">
            <a:avLst/>
          </a:prstGeom>
          <a:noFill/>
          <a:ln w="57150">
            <a:solidFill>
              <a:srgbClr val="BBC2C9"/>
            </a:solidFill>
            <a:miter lim="800000"/>
            <a:headEnd/>
            <a:tailEnd/>
          </a:ln>
        </p:spPr>
      </p:pic>
      <p:sp>
        <p:nvSpPr>
          <p:cNvPr id="29708" name="Rectangle 11"/>
          <p:cNvSpPr>
            <a:spLocks noChangeArrowheads="1"/>
          </p:cNvSpPr>
          <p:nvPr/>
        </p:nvSpPr>
        <p:spPr bwMode="auto">
          <a:xfrm>
            <a:off x="839788" y="1395413"/>
            <a:ext cx="2341562" cy="579437"/>
          </a:xfrm>
          <a:prstGeom prst="rect">
            <a:avLst/>
          </a:prstGeom>
          <a:noFill/>
          <a:ln w="9525">
            <a:noFill/>
            <a:miter lim="800000"/>
            <a:headEnd/>
            <a:tailEnd/>
          </a:ln>
        </p:spPr>
        <p:txBody>
          <a:bodyPr wrap="none">
            <a:spAutoFit/>
          </a:bodyPr>
          <a:lstStyle/>
          <a:p>
            <a:r>
              <a:rPr lang="en-US" sz="3200" b="1" dirty="0"/>
              <a:t>$3.5</a:t>
            </a:r>
            <a:r>
              <a:rPr lang="en-US" sz="1700" b="1" dirty="0"/>
              <a:t> </a:t>
            </a:r>
            <a:r>
              <a:rPr lang="en-US" sz="3200" b="1" dirty="0"/>
              <a:t>million</a:t>
            </a:r>
          </a:p>
        </p:txBody>
      </p:sp>
      <p:sp>
        <p:nvSpPr>
          <p:cNvPr id="29709" name="Rectangle 12"/>
          <p:cNvSpPr>
            <a:spLocks noChangeArrowheads="1"/>
          </p:cNvSpPr>
          <p:nvPr/>
        </p:nvSpPr>
        <p:spPr bwMode="auto">
          <a:xfrm>
            <a:off x="1384300" y="3081338"/>
            <a:ext cx="1198563" cy="579437"/>
          </a:xfrm>
          <a:prstGeom prst="rect">
            <a:avLst/>
          </a:prstGeom>
          <a:noFill/>
          <a:ln w="9525">
            <a:noFill/>
            <a:miter lim="800000"/>
            <a:headEnd/>
            <a:tailEnd/>
          </a:ln>
        </p:spPr>
        <p:txBody>
          <a:bodyPr wrap="none">
            <a:spAutoFit/>
          </a:bodyPr>
          <a:lstStyle/>
          <a:p>
            <a:r>
              <a:rPr lang="en-US" sz="3200" b="1" dirty="0"/>
              <a:t>5,100</a:t>
            </a:r>
          </a:p>
        </p:txBody>
      </p:sp>
      <p:sp>
        <p:nvSpPr>
          <p:cNvPr id="29710" name="Rectangle 13"/>
          <p:cNvSpPr>
            <a:spLocks noChangeArrowheads="1"/>
          </p:cNvSpPr>
          <p:nvPr/>
        </p:nvSpPr>
        <p:spPr bwMode="auto">
          <a:xfrm>
            <a:off x="5792788" y="4852988"/>
            <a:ext cx="550862" cy="701675"/>
          </a:xfrm>
          <a:prstGeom prst="rect">
            <a:avLst/>
          </a:prstGeom>
          <a:noFill/>
          <a:ln w="9525">
            <a:noFill/>
            <a:miter lim="800000"/>
            <a:headEnd/>
            <a:tailEnd/>
          </a:ln>
        </p:spPr>
        <p:txBody>
          <a:bodyPr>
            <a:spAutoFit/>
          </a:bodyPr>
          <a:lstStyle/>
          <a:p>
            <a:r>
              <a:rPr lang="en-US" sz="4000" b="1" dirty="0">
                <a:solidFill>
                  <a:srgbClr val="174B91"/>
                </a:solidFill>
                <a:latin typeface="Arial "/>
              </a:rPr>
              <a:t>=</a:t>
            </a:r>
            <a:endParaRPr lang="en-US" sz="6000" b="1" dirty="0">
              <a:solidFill>
                <a:srgbClr val="174B91"/>
              </a:solidFill>
              <a:latin typeface="Arial "/>
            </a:endParaRPr>
          </a:p>
        </p:txBody>
      </p:sp>
      <p:pic>
        <p:nvPicPr>
          <p:cNvPr id="29711" name="Picture 14" descr="10073672"/>
          <p:cNvPicPr>
            <a:picLocks noChangeAspect="1" noChangeArrowheads="1"/>
          </p:cNvPicPr>
          <p:nvPr/>
        </p:nvPicPr>
        <p:blipFill>
          <a:blip r:embed="rId5" cstate="print"/>
          <a:srcRect/>
          <a:stretch>
            <a:fillRect/>
          </a:stretch>
        </p:blipFill>
        <p:spPr bwMode="auto">
          <a:xfrm>
            <a:off x="565150" y="4381500"/>
            <a:ext cx="2755900" cy="1830388"/>
          </a:xfrm>
          <a:prstGeom prst="rect">
            <a:avLst/>
          </a:prstGeom>
          <a:noFill/>
          <a:ln w="57150">
            <a:solidFill>
              <a:srgbClr val="D6DEE6"/>
            </a:solidFill>
            <a:miter lim="800000"/>
            <a:headEnd/>
            <a:tailEnd/>
          </a:ln>
        </p:spPr>
      </p:pic>
      <p:sp>
        <p:nvSpPr>
          <p:cNvPr id="214031" name="Rectangle 15"/>
          <p:cNvSpPr>
            <a:spLocks noChangeArrowheads="1"/>
          </p:cNvSpPr>
          <p:nvPr/>
        </p:nvSpPr>
        <p:spPr bwMode="auto">
          <a:xfrm>
            <a:off x="1219200" y="4648200"/>
            <a:ext cx="1198563" cy="579438"/>
          </a:xfrm>
          <a:prstGeom prst="rect">
            <a:avLst/>
          </a:prstGeom>
          <a:noFill/>
          <a:ln w="9525">
            <a:noFill/>
            <a:miter lim="800000"/>
            <a:headEnd/>
            <a:tailEnd/>
          </a:ln>
          <a:effectLst/>
        </p:spPr>
        <p:txBody>
          <a:bodyPr wrap="none">
            <a:spAutoFit/>
          </a:bodyPr>
          <a:lstStyle/>
          <a:p>
            <a:pPr>
              <a:defRPr/>
            </a:pPr>
            <a:r>
              <a:rPr lang="en-US" sz="3200" b="1" dirty="0">
                <a:effectLst>
                  <a:outerShdw blurRad="38100" dist="38100" dir="2700000" algn="tl">
                    <a:srgbClr val="C0C0C0"/>
                  </a:outerShdw>
                </a:effectLst>
              </a:rPr>
              <a:t>1,300</a:t>
            </a:r>
          </a:p>
        </p:txBody>
      </p:sp>
    </p:spTree>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3"/>
          <p:cNvSpPr>
            <a:spLocks noGrp="1"/>
          </p:cNvSpPr>
          <p:nvPr>
            <p:ph type="sldNum" sz="quarter" idx="4294967295"/>
          </p:nvPr>
        </p:nvSpPr>
        <p:spPr bwMode="gray">
          <a:xfrm>
            <a:off x="909638" y="6456363"/>
            <a:ext cx="5711825" cy="214312"/>
          </a:xfrm>
          <a:prstGeom prst="rect">
            <a:avLst/>
          </a:prstGeom>
          <a:noFill/>
          <a:ln>
            <a:miter lim="800000"/>
            <a:headEnd/>
            <a:tailEnd/>
          </a:ln>
        </p:spPr>
        <p:txBody>
          <a:bodyPr lIns="92075" tIns="46038" rIns="92075" bIns="46038"/>
          <a:lstStyle/>
          <a:p>
            <a:endParaRPr lang="en-US" sz="1000" b="1" dirty="0">
              <a:solidFill>
                <a:schemeClr val="bg1"/>
              </a:solidFill>
              <a:ea typeface="MS PGothic"/>
              <a:cs typeface="MS PGothic"/>
            </a:endParaRPr>
          </a:p>
        </p:txBody>
      </p:sp>
      <p:sp>
        <p:nvSpPr>
          <p:cNvPr id="30723" name="Rectangle 2"/>
          <p:cNvSpPr>
            <a:spLocks noGrp="1" noChangeArrowheads="1"/>
          </p:cNvSpPr>
          <p:nvPr>
            <p:ph type="body" idx="1"/>
          </p:nvPr>
        </p:nvSpPr>
        <p:spPr>
          <a:xfrm>
            <a:off x="457200" y="1828800"/>
            <a:ext cx="3600450" cy="4584192"/>
          </a:xfrm>
          <a:noFill/>
        </p:spPr>
        <p:txBody>
          <a:bodyPr/>
          <a:lstStyle/>
          <a:p>
            <a:pPr>
              <a:lnSpc>
                <a:spcPct val="200000"/>
              </a:lnSpc>
              <a:spcBef>
                <a:spcPct val="50000"/>
              </a:spcBef>
            </a:pPr>
            <a:r>
              <a:rPr lang="en-US" sz="2400" dirty="0" smtClean="0"/>
              <a:t>16 cases per row</a:t>
            </a:r>
          </a:p>
          <a:p>
            <a:pPr>
              <a:lnSpc>
                <a:spcPct val="200000"/>
              </a:lnSpc>
              <a:spcBef>
                <a:spcPct val="50000"/>
              </a:spcBef>
            </a:pPr>
            <a:r>
              <a:rPr lang="en-US" sz="2400" dirty="0" smtClean="0"/>
              <a:t>20 rows per load</a:t>
            </a:r>
          </a:p>
          <a:p>
            <a:pPr>
              <a:lnSpc>
                <a:spcPct val="200000"/>
              </a:lnSpc>
              <a:spcBef>
                <a:spcPct val="50000"/>
              </a:spcBef>
            </a:pPr>
            <a:r>
              <a:rPr lang="en-US" sz="2400" dirty="0" smtClean="0"/>
              <a:t>320 cases per load</a:t>
            </a:r>
          </a:p>
          <a:p>
            <a:pPr>
              <a:lnSpc>
                <a:spcPct val="200000"/>
              </a:lnSpc>
              <a:spcBef>
                <a:spcPct val="50000"/>
              </a:spcBef>
            </a:pPr>
            <a:r>
              <a:rPr lang="en-US" sz="2400" dirty="0" smtClean="0"/>
              <a:t>10 units per cases</a:t>
            </a:r>
          </a:p>
          <a:p>
            <a:pPr>
              <a:lnSpc>
                <a:spcPct val="200000"/>
              </a:lnSpc>
              <a:spcBef>
                <a:spcPct val="50000"/>
              </a:spcBef>
              <a:buFont typeface="Wingdings" pitchFamily="2" charset="2"/>
              <a:buNone/>
            </a:pPr>
            <a:r>
              <a:rPr lang="en-US" sz="2400" dirty="0" smtClean="0"/>
              <a:t>	= 3,200 pillows/load</a:t>
            </a:r>
          </a:p>
        </p:txBody>
      </p:sp>
      <p:pic>
        <p:nvPicPr>
          <p:cNvPr id="30724" name="Picture 3"/>
          <p:cNvPicPr>
            <a:picLocks noChangeAspect="1" noChangeArrowheads="1"/>
          </p:cNvPicPr>
          <p:nvPr/>
        </p:nvPicPr>
        <p:blipFill>
          <a:blip r:embed="rId2" cstate="print"/>
          <a:srcRect/>
          <a:stretch>
            <a:fillRect/>
          </a:stretch>
        </p:blipFill>
        <p:spPr bwMode="auto">
          <a:xfrm>
            <a:off x="4373563" y="1905000"/>
            <a:ext cx="4541837" cy="4267200"/>
          </a:xfrm>
          <a:prstGeom prst="rect">
            <a:avLst/>
          </a:prstGeom>
          <a:noFill/>
          <a:ln w="9525">
            <a:noFill/>
            <a:miter lim="800000"/>
            <a:headEnd/>
            <a:tailEnd/>
          </a:ln>
        </p:spPr>
      </p:pic>
      <p:sp>
        <p:nvSpPr>
          <p:cNvPr id="30725" name="Rectangle 4"/>
          <p:cNvSpPr>
            <a:spLocks noGrp="1" noChangeArrowheads="1"/>
          </p:cNvSpPr>
          <p:nvPr>
            <p:ph type="title"/>
          </p:nvPr>
        </p:nvSpPr>
        <p:spPr>
          <a:xfrm>
            <a:off x="612648" y="661416"/>
            <a:ext cx="8229600" cy="519113"/>
          </a:xfrm>
          <a:noFill/>
        </p:spPr>
        <p:txBody>
          <a:bodyPr/>
          <a:lstStyle/>
          <a:p>
            <a:r>
              <a:rPr lang="en-US" sz="2800" dirty="0" smtClean="0">
                <a:solidFill>
                  <a:schemeClr val="tx1"/>
                </a:solidFill>
                <a:latin typeface="Arial Black" pitchFamily="34" charset="0"/>
              </a:rPr>
              <a:t>Existing Load Configuration Large Pillow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219075"/>
            <a:ext cx="8229600" cy="585418"/>
          </a:xfrm>
        </p:spPr>
        <p:txBody>
          <a:bodyPr/>
          <a:lstStyle/>
          <a:p>
            <a:r>
              <a:rPr lang="en-US" sz="3200" dirty="0" smtClean="0">
                <a:solidFill>
                  <a:schemeClr val="tx1"/>
                </a:solidFill>
              </a:rPr>
              <a:t>Import DC Alignment</a:t>
            </a:r>
            <a:endParaRPr lang="en-US" sz="3200" dirty="0">
              <a:solidFill>
                <a:schemeClr val="tx1"/>
              </a:solidFill>
            </a:endParaRPr>
          </a:p>
        </p:txBody>
      </p:sp>
      <p:sp>
        <p:nvSpPr>
          <p:cNvPr id="4" name="Footer Placeholder 3"/>
          <p:cNvSpPr>
            <a:spLocks noGrp="1"/>
          </p:cNvSpPr>
          <p:nvPr>
            <p:ph type="ftr" sz="quarter" idx="10"/>
          </p:nvPr>
        </p:nvSpPr>
        <p:spPr/>
        <p:txBody>
          <a:bodyPr/>
          <a:lstStyle/>
          <a:p>
            <a:pPr>
              <a:defRPr/>
            </a:pPr>
            <a:endParaRPr lang="en-US" dirty="0"/>
          </a:p>
        </p:txBody>
      </p:sp>
      <p:pic>
        <p:nvPicPr>
          <p:cNvPr id="94210" name="Picture 2"/>
          <p:cNvPicPr>
            <a:picLocks noChangeAspect="1" noChangeArrowheads="1"/>
          </p:cNvPicPr>
          <p:nvPr/>
        </p:nvPicPr>
        <p:blipFill>
          <a:blip r:embed="rId2" cstate="print"/>
          <a:srcRect/>
          <a:stretch>
            <a:fillRect/>
          </a:stretch>
        </p:blipFill>
        <p:spPr bwMode="auto">
          <a:xfrm>
            <a:off x="499872" y="1123950"/>
            <a:ext cx="7632191" cy="4610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4"/>
          <p:cNvSpPr>
            <a:spLocks noGrp="1"/>
          </p:cNvSpPr>
          <p:nvPr>
            <p:ph type="sldNum" sz="quarter" idx="4294967295"/>
          </p:nvPr>
        </p:nvSpPr>
        <p:spPr bwMode="gray">
          <a:xfrm>
            <a:off x="909638" y="6456363"/>
            <a:ext cx="5711825" cy="214312"/>
          </a:xfrm>
          <a:prstGeom prst="rect">
            <a:avLst/>
          </a:prstGeom>
          <a:noFill/>
          <a:ln>
            <a:miter lim="800000"/>
            <a:headEnd/>
            <a:tailEnd/>
          </a:ln>
        </p:spPr>
        <p:txBody>
          <a:bodyPr lIns="92075" tIns="46038" rIns="92075" bIns="46038"/>
          <a:lstStyle/>
          <a:p>
            <a:endParaRPr lang="en-US" sz="1000" b="1" dirty="0">
              <a:solidFill>
                <a:schemeClr val="bg1"/>
              </a:solidFill>
              <a:ea typeface="MS PGothic"/>
              <a:cs typeface="MS PGothic"/>
            </a:endParaRPr>
          </a:p>
        </p:txBody>
      </p:sp>
      <p:sp>
        <p:nvSpPr>
          <p:cNvPr id="31747" name="Rectangle 2"/>
          <p:cNvSpPr>
            <a:spLocks noGrp="1" noChangeArrowheads="1"/>
          </p:cNvSpPr>
          <p:nvPr>
            <p:ph type="title"/>
          </p:nvPr>
        </p:nvSpPr>
        <p:spPr>
          <a:xfrm>
            <a:off x="523494" y="688848"/>
            <a:ext cx="8401050" cy="508474"/>
          </a:xfrm>
          <a:noFill/>
        </p:spPr>
        <p:txBody>
          <a:bodyPr/>
          <a:lstStyle/>
          <a:p>
            <a:r>
              <a:rPr lang="en-US" sz="2700" dirty="0" smtClean="0">
                <a:solidFill>
                  <a:schemeClr val="tx1"/>
                </a:solidFill>
                <a:latin typeface="Arial Black" pitchFamily="34" charset="0"/>
              </a:rPr>
              <a:t>Proposed Load Configuration Large Pillows</a:t>
            </a:r>
          </a:p>
        </p:txBody>
      </p:sp>
      <p:sp>
        <p:nvSpPr>
          <p:cNvPr id="31748" name="Rectangle 3"/>
          <p:cNvSpPr>
            <a:spLocks noGrp="1" noChangeArrowheads="1"/>
          </p:cNvSpPr>
          <p:nvPr>
            <p:ph type="body" sz="half" idx="1"/>
          </p:nvPr>
        </p:nvSpPr>
        <p:spPr>
          <a:xfrm>
            <a:off x="228600" y="1828800"/>
            <a:ext cx="4038600" cy="4523232"/>
          </a:xfrm>
          <a:noFill/>
        </p:spPr>
        <p:txBody>
          <a:bodyPr/>
          <a:lstStyle/>
          <a:p>
            <a:pPr>
              <a:lnSpc>
                <a:spcPct val="200000"/>
              </a:lnSpc>
              <a:spcBef>
                <a:spcPct val="50000"/>
              </a:spcBef>
            </a:pPr>
            <a:r>
              <a:rPr lang="en-US" sz="2400" dirty="0" smtClean="0"/>
              <a:t>26 cases / row</a:t>
            </a:r>
          </a:p>
          <a:p>
            <a:pPr>
              <a:lnSpc>
                <a:spcPct val="200000"/>
              </a:lnSpc>
              <a:spcBef>
                <a:spcPct val="50000"/>
              </a:spcBef>
            </a:pPr>
            <a:r>
              <a:rPr lang="en-US" sz="2400" dirty="0" smtClean="0"/>
              <a:t>17 rows / load</a:t>
            </a:r>
          </a:p>
          <a:p>
            <a:pPr>
              <a:lnSpc>
                <a:spcPct val="200000"/>
              </a:lnSpc>
              <a:spcBef>
                <a:spcPct val="50000"/>
              </a:spcBef>
            </a:pPr>
            <a:r>
              <a:rPr lang="en-US" sz="2400" dirty="0" smtClean="0"/>
              <a:t>442 cartons per load</a:t>
            </a:r>
          </a:p>
          <a:p>
            <a:pPr>
              <a:lnSpc>
                <a:spcPct val="200000"/>
              </a:lnSpc>
              <a:spcBef>
                <a:spcPct val="50000"/>
              </a:spcBef>
            </a:pPr>
            <a:r>
              <a:rPr lang="en-US" sz="2400" dirty="0" smtClean="0"/>
              <a:t>12 units per carton</a:t>
            </a:r>
          </a:p>
          <a:p>
            <a:pPr>
              <a:lnSpc>
                <a:spcPct val="200000"/>
              </a:lnSpc>
              <a:spcBef>
                <a:spcPct val="50000"/>
              </a:spcBef>
            </a:pPr>
            <a:r>
              <a:rPr lang="en-US" sz="2400" dirty="0" smtClean="0"/>
              <a:t>= 5,304 pillows/load</a:t>
            </a:r>
          </a:p>
        </p:txBody>
      </p:sp>
      <p:pic>
        <p:nvPicPr>
          <p:cNvPr id="31749" name="Picture 4"/>
          <p:cNvPicPr>
            <a:picLocks noChangeAspect="1" noChangeArrowheads="1"/>
          </p:cNvPicPr>
          <p:nvPr/>
        </p:nvPicPr>
        <p:blipFill>
          <a:blip r:embed="rId2" cstate="print"/>
          <a:srcRect/>
          <a:stretch>
            <a:fillRect/>
          </a:stretch>
        </p:blipFill>
        <p:spPr bwMode="auto">
          <a:xfrm>
            <a:off x="4011613" y="1905000"/>
            <a:ext cx="4803775" cy="4343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3"/>
          <p:cNvSpPr>
            <a:spLocks noGrp="1"/>
          </p:cNvSpPr>
          <p:nvPr>
            <p:ph type="sldNum" sz="quarter" idx="4294967295"/>
          </p:nvPr>
        </p:nvSpPr>
        <p:spPr bwMode="gray">
          <a:xfrm>
            <a:off x="909638" y="6456363"/>
            <a:ext cx="5711825" cy="214312"/>
          </a:xfrm>
          <a:prstGeom prst="rect">
            <a:avLst/>
          </a:prstGeom>
          <a:noFill/>
          <a:ln>
            <a:miter lim="800000"/>
            <a:headEnd/>
            <a:tailEnd/>
          </a:ln>
        </p:spPr>
        <p:txBody>
          <a:bodyPr lIns="92075" tIns="46038" rIns="92075" bIns="46038"/>
          <a:lstStyle/>
          <a:p>
            <a:endParaRPr lang="en-US" sz="1000" b="1" dirty="0">
              <a:solidFill>
                <a:schemeClr val="bg1"/>
              </a:solidFill>
              <a:ea typeface="MS PGothic"/>
              <a:cs typeface="MS PGothic"/>
            </a:endParaRPr>
          </a:p>
        </p:txBody>
      </p:sp>
      <p:sp>
        <p:nvSpPr>
          <p:cNvPr id="308226" name="Rectangle 2"/>
          <p:cNvSpPr>
            <a:spLocks noChangeArrowheads="1"/>
          </p:cNvSpPr>
          <p:nvPr/>
        </p:nvSpPr>
        <p:spPr bwMode="auto">
          <a:xfrm>
            <a:off x="704850" y="4229100"/>
            <a:ext cx="4210050" cy="628650"/>
          </a:xfrm>
          <a:prstGeom prst="rect">
            <a:avLst/>
          </a:prstGeom>
          <a:solidFill>
            <a:srgbClr val="FFFF00"/>
          </a:solidFill>
          <a:ln w="12700">
            <a:noFill/>
            <a:miter lim="800000"/>
            <a:headEnd type="none" w="sm" len="sm"/>
            <a:tailEnd type="none" w="sm" len="sm"/>
          </a:ln>
          <a:effectLst>
            <a:outerShdw dist="107763" dir="2700000" algn="ctr" rotWithShape="0">
              <a:schemeClr val="tx1"/>
            </a:outerShdw>
          </a:effectLst>
        </p:spPr>
        <p:txBody>
          <a:bodyPr wrap="none" anchor="ctr"/>
          <a:lstStyle/>
          <a:p>
            <a:pPr>
              <a:defRPr/>
            </a:pPr>
            <a:endParaRPr lang="en-US" dirty="0"/>
          </a:p>
        </p:txBody>
      </p:sp>
      <p:sp>
        <p:nvSpPr>
          <p:cNvPr id="32772" name="Rectangle 3"/>
          <p:cNvSpPr>
            <a:spLocks noGrp="1" noChangeArrowheads="1"/>
          </p:cNvSpPr>
          <p:nvPr>
            <p:ph type="title"/>
          </p:nvPr>
        </p:nvSpPr>
        <p:spPr>
          <a:xfrm>
            <a:off x="539496" y="762000"/>
            <a:ext cx="8153400" cy="519113"/>
          </a:xfrm>
          <a:noFill/>
        </p:spPr>
        <p:txBody>
          <a:bodyPr/>
          <a:lstStyle/>
          <a:p>
            <a:r>
              <a:rPr lang="en-US" sz="2800" dirty="0" smtClean="0">
                <a:solidFill>
                  <a:schemeClr val="tx1"/>
                </a:solidFill>
                <a:latin typeface="Arial (W1)" pitchFamily="34" charset="0"/>
              </a:rPr>
              <a:t>New Carton Design Annual Reduction</a:t>
            </a:r>
          </a:p>
        </p:txBody>
      </p:sp>
      <p:sp>
        <p:nvSpPr>
          <p:cNvPr id="32773" name="Rectangle 4"/>
          <p:cNvSpPr>
            <a:spLocks noGrp="1" noChangeArrowheads="1"/>
          </p:cNvSpPr>
          <p:nvPr>
            <p:ph type="body" idx="1"/>
          </p:nvPr>
        </p:nvSpPr>
        <p:spPr>
          <a:xfrm>
            <a:off x="381000" y="1371600"/>
            <a:ext cx="8534400" cy="4724400"/>
          </a:xfrm>
          <a:noFill/>
        </p:spPr>
        <p:txBody>
          <a:bodyPr/>
          <a:lstStyle/>
          <a:p>
            <a:pPr>
              <a:lnSpc>
                <a:spcPct val="200000"/>
              </a:lnSpc>
              <a:spcBef>
                <a:spcPct val="50000"/>
              </a:spcBef>
            </a:pPr>
            <a:r>
              <a:rPr lang="en-US" sz="2400" dirty="0" smtClean="0"/>
              <a:t>17 items impacted totaling 21.9M units / yr</a:t>
            </a:r>
          </a:p>
          <a:p>
            <a:pPr>
              <a:lnSpc>
                <a:spcPct val="200000"/>
              </a:lnSpc>
              <a:spcBef>
                <a:spcPct val="50000"/>
              </a:spcBef>
            </a:pPr>
            <a:r>
              <a:rPr lang="en-US" sz="2400" dirty="0" smtClean="0"/>
              <a:t>14 million less square feet of corrugate</a:t>
            </a:r>
          </a:p>
          <a:p>
            <a:pPr>
              <a:lnSpc>
                <a:spcPct val="200000"/>
              </a:lnSpc>
              <a:spcBef>
                <a:spcPct val="50000"/>
              </a:spcBef>
            </a:pPr>
            <a:r>
              <a:rPr lang="en-US" sz="2400" dirty="0" smtClean="0"/>
              <a:t>1.6 million less lbs of corrugate</a:t>
            </a:r>
          </a:p>
          <a:p>
            <a:pPr>
              <a:lnSpc>
                <a:spcPct val="200000"/>
              </a:lnSpc>
              <a:spcBef>
                <a:spcPct val="50000"/>
              </a:spcBef>
            </a:pPr>
            <a:r>
              <a:rPr lang="en-US" sz="2400" dirty="0" smtClean="0"/>
              <a:t>1,800 less truckloads</a:t>
            </a:r>
          </a:p>
          <a:p>
            <a:pPr>
              <a:lnSpc>
                <a:spcPct val="200000"/>
              </a:lnSpc>
              <a:spcBef>
                <a:spcPct val="50000"/>
              </a:spcBef>
            </a:pPr>
            <a:r>
              <a:rPr lang="en-US" sz="2400" dirty="0" smtClean="0"/>
              <a:t>Estimated savings of $2.1M</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4294967295"/>
          </p:nvPr>
        </p:nvSpPr>
        <p:spPr bwMode="gray">
          <a:xfrm>
            <a:off x="909638" y="6456363"/>
            <a:ext cx="5711825" cy="214312"/>
          </a:xfrm>
          <a:prstGeom prst="rect">
            <a:avLst/>
          </a:prstGeom>
          <a:noFill/>
          <a:ln>
            <a:miter lim="800000"/>
            <a:headEnd/>
            <a:tailEnd/>
          </a:ln>
        </p:spPr>
        <p:txBody>
          <a:bodyPr lIns="92075" tIns="46038" rIns="92075" bIns="46038"/>
          <a:lstStyle/>
          <a:p>
            <a:endParaRPr lang="en-US" sz="1000" b="1" dirty="0">
              <a:solidFill>
                <a:schemeClr val="bg1"/>
              </a:solidFill>
              <a:ea typeface="MS PGothic"/>
              <a:cs typeface="MS PGothic"/>
            </a:endParaRPr>
          </a:p>
        </p:txBody>
      </p:sp>
      <p:sp>
        <p:nvSpPr>
          <p:cNvPr id="26627" name="Rectangle 2"/>
          <p:cNvSpPr>
            <a:spLocks noGrp="1" noChangeArrowheads="1"/>
          </p:cNvSpPr>
          <p:nvPr>
            <p:ph type="body" idx="1"/>
          </p:nvPr>
        </p:nvSpPr>
        <p:spPr>
          <a:xfrm>
            <a:off x="442913" y="1254125"/>
            <a:ext cx="8229600" cy="4994275"/>
          </a:xfrm>
          <a:noFill/>
        </p:spPr>
        <p:txBody>
          <a:bodyPr/>
          <a:lstStyle/>
          <a:p>
            <a:r>
              <a:rPr lang="en-US" sz="2400" u="sng" dirty="0" smtClean="0"/>
              <a:t>The Walmart Customer</a:t>
            </a:r>
          </a:p>
          <a:p>
            <a:r>
              <a:rPr lang="en-US" sz="2400" dirty="0" smtClean="0"/>
              <a:t>140 M customers per week shop at Walmart or Sam’s Clubs.</a:t>
            </a:r>
          </a:p>
          <a:p>
            <a:pPr>
              <a:buFont typeface="Wingdings" pitchFamily="2" charset="2"/>
              <a:buNone/>
            </a:pPr>
            <a:endParaRPr lang="en-US" sz="1000" dirty="0" smtClean="0"/>
          </a:p>
          <a:p>
            <a:r>
              <a:rPr lang="en-US" sz="2400" u="sng" dirty="0" smtClean="0"/>
              <a:t>What Has Changed?</a:t>
            </a:r>
          </a:p>
          <a:p>
            <a:pPr lvl="1"/>
            <a:r>
              <a:rPr lang="en-US" sz="2400" dirty="0" smtClean="0"/>
              <a:t>Price Point Decisions</a:t>
            </a:r>
          </a:p>
          <a:p>
            <a:pPr lvl="1"/>
            <a:r>
              <a:rPr lang="en-US" sz="2400" dirty="0" smtClean="0"/>
              <a:t>Payday Patterns</a:t>
            </a:r>
          </a:p>
          <a:p>
            <a:pPr lvl="1"/>
            <a:r>
              <a:rPr lang="en-US" sz="2400" dirty="0" smtClean="0"/>
              <a:t>Purchase Priorities</a:t>
            </a:r>
          </a:p>
          <a:p>
            <a:pPr lvl="1"/>
            <a:r>
              <a:rPr lang="en-US" sz="2400" dirty="0" smtClean="0"/>
              <a:t>Size Selection</a:t>
            </a:r>
          </a:p>
          <a:p>
            <a:pPr lvl="1"/>
            <a:r>
              <a:rPr lang="en-US" sz="2400" dirty="0" smtClean="0"/>
              <a:t>Staycations</a:t>
            </a:r>
          </a:p>
          <a:p>
            <a:pPr lvl="1"/>
            <a:r>
              <a:rPr lang="en-US" sz="2400" dirty="0" smtClean="0"/>
              <a:t>Tax Return Delays</a:t>
            </a:r>
            <a:endParaRPr lang="en-US" sz="2400" dirty="0" smtClean="0"/>
          </a:p>
          <a:p>
            <a:pPr lvl="1"/>
            <a:r>
              <a:rPr lang="en-US" sz="2400" dirty="0" smtClean="0"/>
              <a:t>Credit Crunch</a:t>
            </a:r>
          </a:p>
        </p:txBody>
      </p:sp>
      <p:sp>
        <p:nvSpPr>
          <p:cNvPr id="26628" name="Text Box 3"/>
          <p:cNvSpPr txBox="1">
            <a:spLocks noChangeArrowheads="1"/>
          </p:cNvSpPr>
          <p:nvPr/>
        </p:nvSpPr>
        <p:spPr bwMode="auto">
          <a:xfrm>
            <a:off x="536448" y="393192"/>
            <a:ext cx="5513388" cy="584775"/>
          </a:xfrm>
          <a:prstGeom prst="rect">
            <a:avLst/>
          </a:prstGeom>
          <a:noFill/>
          <a:ln w="12700">
            <a:noFill/>
            <a:miter lim="800000"/>
            <a:headEnd type="none" w="sm" len="sm"/>
            <a:tailEnd type="none" w="sm" len="sm"/>
          </a:ln>
        </p:spPr>
        <p:txBody>
          <a:bodyPr>
            <a:spAutoFit/>
          </a:bodyPr>
          <a:lstStyle/>
          <a:p>
            <a:r>
              <a:rPr lang="en-US" sz="3200" b="1" dirty="0">
                <a:latin typeface="Arial "/>
              </a:rPr>
              <a:t>The Customer</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endParaRPr lang="en-US" dirty="0"/>
          </a:p>
        </p:txBody>
      </p:sp>
      <p:graphicFrame>
        <p:nvGraphicFramePr>
          <p:cNvPr id="5" name="Table 4"/>
          <p:cNvGraphicFramePr>
            <a:graphicFrameLocks noGrp="1"/>
          </p:cNvGraphicFramePr>
          <p:nvPr/>
        </p:nvGraphicFramePr>
        <p:xfrm>
          <a:off x="182880" y="207257"/>
          <a:ext cx="8802626" cy="5937510"/>
        </p:xfrm>
        <a:graphic>
          <a:graphicData uri="http://schemas.openxmlformats.org/drawingml/2006/table">
            <a:tbl>
              <a:tblPr/>
              <a:tblGrid>
                <a:gridCol w="1568629"/>
                <a:gridCol w="392157"/>
                <a:gridCol w="156863"/>
                <a:gridCol w="400000"/>
                <a:gridCol w="298039"/>
                <a:gridCol w="431374"/>
                <a:gridCol w="156863"/>
                <a:gridCol w="423530"/>
                <a:gridCol w="172550"/>
                <a:gridCol w="54903"/>
                <a:gridCol w="1639217"/>
                <a:gridCol w="512419"/>
                <a:gridCol w="125490"/>
                <a:gridCol w="512419"/>
                <a:gridCol w="117647"/>
                <a:gridCol w="512419"/>
                <a:gridCol w="177778"/>
                <a:gridCol w="512419"/>
                <a:gridCol w="135948"/>
                <a:gridCol w="501962"/>
              </a:tblGrid>
              <a:tr h="244960">
                <a:tc gridSpan="11">
                  <a:txBody>
                    <a:bodyPr/>
                    <a:lstStyle/>
                    <a:p>
                      <a:pPr algn="l" fontAlgn="b"/>
                      <a:r>
                        <a:rPr lang="en-US" sz="800" b="1" i="0" u="none" strike="noStrike" dirty="0">
                          <a:latin typeface="Helvetica"/>
                        </a:rPr>
                        <a:t>Goldman Sachs January Comparable-Store Sales for Major Retailers (a)</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dirty="0">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1" i="0" u="none" strike="noStrike" dirty="0">
                        <a:latin typeface="Helvetica"/>
                      </a:endParaRPr>
                    </a:p>
                  </a:txBody>
                  <a:tcPr marL="0" marR="0" marT="0" marB="0" anchor="b">
                    <a:lnL>
                      <a:noFill/>
                    </a:lnL>
                    <a:lnR>
                      <a:noFill/>
                    </a:lnR>
                    <a:lnT>
                      <a:noFill/>
                    </a:lnT>
                    <a:lnB>
                      <a:noFill/>
                    </a:lnB>
                  </a:tcPr>
                </a:tc>
              </a:tr>
              <a:tr h="137667">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r>
              <a:tr h="137667">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n-US" sz="600" b="1" i="0" u="none" strike="noStrike" dirty="0">
                          <a:latin typeface="Helvetica"/>
                        </a:rPr>
                        <a:t>January 20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b"/>
                      <a:r>
                        <a:rPr lang="en-US" sz="600" b="1" i="0" u="none" strike="noStrike" dirty="0">
                          <a:latin typeface="Helvetica"/>
                        </a:rPr>
                        <a:t>January</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gridSpan="2">
                  <a:txBody>
                    <a:bodyPr/>
                    <a:lstStyle/>
                    <a:p>
                      <a:pPr algn="ctr" fontAlgn="b"/>
                      <a:r>
                        <a:rPr lang="en-US" sz="600" b="1" i="0" u="none" strike="noStrike" dirty="0">
                          <a:latin typeface="Helvetica"/>
                        </a:rPr>
                        <a:t>February</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n-US" sz="600" b="1" i="0" u="none" strike="noStrike" dirty="0">
                          <a:latin typeface="Helvetica"/>
                        </a:rPr>
                        <a:t>January 20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b"/>
                      <a:r>
                        <a:rPr lang="en-US" sz="600" b="1" i="0" u="none" strike="noStrike" dirty="0">
                          <a:latin typeface="Helvetica"/>
                        </a:rPr>
                        <a:t>January</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gridSpan="2">
                  <a:txBody>
                    <a:bodyPr/>
                    <a:lstStyle/>
                    <a:p>
                      <a:pPr algn="ctr" fontAlgn="b"/>
                      <a:r>
                        <a:rPr lang="en-US" sz="600" b="1" i="0" u="none" strike="noStrike" dirty="0">
                          <a:latin typeface="Helvetica"/>
                        </a:rPr>
                        <a:t>February</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38810">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600" b="1" i="0" u="none" strike="noStrike" dirty="0">
                          <a:latin typeface="Helvetica"/>
                        </a:rPr>
                        <a:t>Actual</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Estimate*</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2010</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2010</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600" b="1" i="0" u="none" strike="noStrike" dirty="0">
                          <a:latin typeface="Helvetica"/>
                        </a:rPr>
                        <a:t>Actual</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Estimate</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2010</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latin typeface="Helvetica"/>
                        </a:rPr>
                        <a:t>2010</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37667">
                <a:tc>
                  <a:txBody>
                    <a:bodyPr/>
                    <a:lstStyle/>
                    <a:p>
                      <a:pPr algn="l" fontAlgn="b"/>
                      <a:endParaRPr lang="en-US" sz="600" b="1" i="0" u="sng"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600" b="1" i="0" u="none" strike="noStrike" dirty="0">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sng"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dirty="0">
                          <a:latin typeface="Helv"/>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dirty="0">
                          <a:latin typeface="Helv"/>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r>
                        <a:rPr lang="en-US" sz="600" b="1" i="0" u="none" strike="noStrike" dirty="0">
                          <a:latin typeface="Helvetica"/>
                        </a:rPr>
                        <a:t>DEPARTMENT STORES</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DISCOUNT STORES</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dirty="0">
                          <a:latin typeface="Helv"/>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dirty="0">
                          <a:latin typeface="Helv"/>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latin typeface="Helvetica"/>
                        </a:rPr>
                        <a:t>Dillards</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dirty="0">
                          <a:latin typeface="Helvetica"/>
                        </a:rPr>
                        <a:t>6.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a:t>
                      </a:r>
                    </a:p>
                  </a:txBody>
                  <a:tcPr marL="0" marR="0" marT="0" marB="0" anchor="b">
                    <a:lnL>
                      <a:noFill/>
                    </a:lnL>
                    <a:lnR>
                      <a:noFill/>
                    </a:lnR>
                    <a:lnT>
                      <a:noFill/>
                    </a:lnT>
                    <a:lnB>
                      <a:noFill/>
                    </a:lnB>
                  </a:tcPr>
                </a:tc>
                <a:tc>
                  <a:txBody>
                    <a:bodyPr/>
                    <a:lstStyle/>
                    <a:p>
                      <a:pPr algn="r" fontAlgn="b"/>
                      <a:r>
                        <a:rPr lang="en-US" sz="600" b="1" i="0" u="none" strike="noStrike" dirty="0">
                          <a:latin typeface="Helvetica"/>
                        </a:rPr>
                        <a:t>1.0</a:t>
                      </a:r>
                    </a:p>
                  </a:txBody>
                  <a:tcPr marL="0" marR="0" marT="0" marB="0" anchor="b">
                    <a:lnL>
                      <a:noFill/>
                    </a:lnL>
                    <a:lnR>
                      <a:noFill/>
                    </a:lnR>
                    <a:lnT>
                      <a:noFill/>
                    </a:lnT>
                    <a:lnB>
                      <a:noFill/>
                    </a:lnB>
                  </a:tcPr>
                </a:tc>
                <a:tc>
                  <a:txBody>
                    <a:bodyPr/>
                    <a:lstStyle/>
                    <a:p>
                      <a:pPr algn="l" fontAlgn="b"/>
                      <a:r>
                        <a:rPr lang="en-US" sz="600" b="1" i="0" u="none" strike="noStrike" dirty="0">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5.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a:t>
                      </a: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2.0 </a:t>
                      </a:r>
                    </a:p>
                  </a:txBody>
                  <a:tcPr marL="0" marR="0" marT="0" marB="0" anchor="b">
                    <a:lnL>
                      <a:noFill/>
                    </a:lnL>
                    <a:lnR>
                      <a:noFill/>
                    </a:lnR>
                    <a:lnT>
                      <a:noFill/>
                    </a:lnT>
                    <a:lnB>
                      <a:noFill/>
                    </a:lnB>
                  </a:tcPr>
                </a:tc>
                <a:tc>
                  <a:txBody>
                    <a:bodyPr/>
                    <a:lstStyle/>
                    <a:p>
                      <a:pPr algn="l" fontAlgn="b"/>
                      <a:r>
                        <a:rPr lang="en-US" sz="600" b="1" i="0" u="none" strike="noStrike" dirty="0">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Target</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dirty="0">
                          <a:latin typeface="Helvetica"/>
                        </a:rPr>
                        <a:t>1.7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3.0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dirty="0">
                          <a:latin typeface="Helvetica"/>
                        </a:rPr>
                        <a:t>0.5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dirty="0">
                          <a:latin typeface="Helvetica"/>
                        </a:rPr>
                        <a:t>%</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2.4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solidFill>
                            <a:srgbClr val="000000"/>
                          </a:solidFill>
                          <a:latin typeface="Helvetica"/>
                        </a:rPr>
                        <a:t>Macy's</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2.6</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latin typeface="Helvetica"/>
                        </a:rPr>
                        <a:t>1.0</a:t>
                      </a:r>
                    </a:p>
                  </a:txBody>
                  <a:tcPr marL="0" marR="0" marT="0" marB="0" anchor="b">
                    <a:lnL>
                      <a:noFill/>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3.4</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3.7 </a:t>
                      </a:r>
                    </a:p>
                  </a:txBody>
                  <a:tcPr marL="0" marR="0" marT="0" marB="0" anchor="b">
                    <a:lnL>
                      <a:noFill/>
                    </a:lnL>
                    <a:lnR>
                      <a:noFill/>
                    </a:lnR>
                    <a:lnT>
                      <a:noFill/>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solidFill>
                            <a:srgbClr val="000000"/>
                          </a:solidFill>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latin typeface="Helvetica"/>
                        </a:rPr>
                        <a:t>J.C. Penney Stores (b)</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1.2)</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latin typeface="Helvetica"/>
                        </a:rPr>
                        <a:t>(3.0)</a:t>
                      </a:r>
                    </a:p>
                  </a:txBody>
                  <a:tcPr marL="0" marR="0" marT="0" marB="0" anchor="b">
                    <a:lnL>
                      <a:noFill/>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4.6)</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1.2 </a:t>
                      </a:r>
                    </a:p>
                  </a:txBody>
                  <a:tcPr marL="0" marR="0" marT="0" marB="0" anchor="b">
                    <a:lnL>
                      <a:noFill/>
                    </a:lnL>
                    <a:lnR>
                      <a:noFill/>
                    </a:lnR>
                    <a:lnT>
                      <a:noFill/>
                    </a:lnT>
                    <a:lnB>
                      <a:noFill/>
                    </a:lnB>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solidFill>
                            <a:srgbClr val="000000"/>
                          </a:solidFill>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ctr"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latin typeface="Helvetica"/>
                        </a:rPr>
                        <a:t>Kohl's</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1.4</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latin typeface="Helvetica"/>
                        </a:rPr>
                        <a:t>1.0</a:t>
                      </a:r>
                    </a:p>
                  </a:txBody>
                  <a:tcPr marL="0" marR="0" marT="0" marB="0" anchor="b">
                    <a:lnL>
                      <a:noFill/>
                    </a:lnL>
                    <a:lnR>
                      <a:noFill/>
                    </a:lnR>
                    <a:lnT>
                      <a:noFill/>
                    </a:lnT>
                    <a:lnB>
                      <a:noFill/>
                    </a:lnB>
                  </a:tcPr>
                </a:tc>
                <a:tc>
                  <a:txBody>
                    <a:bodyPr/>
                    <a:lstStyle/>
                    <a:p>
                      <a:pPr algn="ctr"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6.5</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3.7 </a:t>
                      </a:r>
                    </a:p>
                  </a:txBody>
                  <a:tcPr marL="0" marR="0" marT="0" marB="0" anchor="b">
                    <a:lnL>
                      <a:noFill/>
                    </a:lnL>
                    <a:lnR>
                      <a:noFill/>
                    </a:lnR>
                    <a:lnT>
                      <a:noFill/>
                    </a:lnT>
                    <a:lnB>
                      <a:noFill/>
                    </a:lnB>
                  </a:tcPr>
                </a:tc>
                <a:tc>
                  <a:txBody>
                    <a:bodyPr/>
                    <a:lstStyle/>
                    <a:p>
                      <a:pPr algn="ctr"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ctr"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solidFill>
                            <a:srgbClr val="000000"/>
                          </a:solidFill>
                          <a:latin typeface="Helvetica"/>
                        </a:rPr>
                        <a:t>Nordstrom</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4.8</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latin typeface="Helvetica"/>
                        </a:rPr>
                        <a:t>3.0</a:t>
                      </a:r>
                    </a:p>
                  </a:txBody>
                  <a:tcPr marL="0" marR="0" marT="0" marB="0" anchor="b">
                    <a:lnL>
                      <a:noFill/>
                    </a:lnL>
                    <a:lnR>
                      <a:noFill/>
                    </a:lnR>
                    <a:lnT>
                      <a:noFill/>
                    </a:lnT>
                    <a:lnB>
                      <a:noFill/>
                    </a:lnB>
                  </a:tcPr>
                </a:tc>
                <a:tc>
                  <a:txBody>
                    <a:bodyPr/>
                    <a:lstStyle/>
                    <a:p>
                      <a:pPr algn="ctr"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14.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10.3 </a:t>
                      </a:r>
                    </a:p>
                  </a:txBody>
                  <a:tcPr marL="0" marR="0" marT="0" marB="0" anchor="b">
                    <a:lnL>
                      <a:noFill/>
                    </a:lnL>
                    <a:lnR>
                      <a:noFill/>
                    </a:lnR>
                    <a:lnT>
                      <a:noFill/>
                    </a:lnT>
                    <a:lnB>
                      <a:noFill/>
                    </a:lnB>
                  </a:tcPr>
                </a:tc>
                <a:tc>
                  <a:txBody>
                    <a:bodyPr/>
                    <a:lstStyle/>
                    <a:p>
                      <a:pPr algn="ctr"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WAREHOUSE CLUBS</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dirty="0">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dirty="0">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dirty="0">
                          <a:solidFill>
                            <a:srgbClr val="000000"/>
                          </a:solidFill>
                          <a:latin typeface="Helvetica"/>
                        </a:rPr>
                        <a:t>Saks</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4.4</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latin typeface="Helvetica"/>
                        </a:rPr>
                        <a:t>4.0</a:t>
                      </a:r>
                    </a:p>
                  </a:txBody>
                  <a:tcPr marL="0" marR="0" marT="0" marB="0" anchor="b">
                    <a:lnL>
                      <a:noFill/>
                    </a:lnL>
                    <a:lnR>
                      <a:noFill/>
                    </a:lnR>
                    <a:lnT>
                      <a:noFill/>
                    </a:lnT>
                    <a:lnB>
                      <a:noFill/>
                    </a:lnB>
                  </a:tcPr>
                </a:tc>
                <a:tc>
                  <a:txBody>
                    <a:bodyPr/>
                    <a:lstStyle/>
                    <a:p>
                      <a:pPr algn="ctr" fontAlgn="b"/>
                      <a:endParaRPr lang="en-US" sz="600" b="1" i="0" u="none" strike="noStrike" dirty="0">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dirty="0">
                          <a:latin typeface="Helvetica"/>
                        </a:rPr>
                        <a:t>7.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dirty="0">
                        <a:latin typeface="Helvetica"/>
                      </a:endParaRPr>
                    </a:p>
                  </a:txBody>
                  <a:tcPr marL="0" marR="0" marT="0" marB="0" anchor="b">
                    <a:lnL>
                      <a:noFill/>
                    </a:lnL>
                    <a:lnR>
                      <a:noFill/>
                    </a:lnR>
                    <a:lnT>
                      <a:noFill/>
                    </a:lnT>
                    <a:lnB>
                      <a:noFill/>
                    </a:lnB>
                  </a:tcPr>
                </a:tc>
                <a:tc>
                  <a:txBody>
                    <a:bodyPr/>
                    <a:lstStyle/>
                    <a:p>
                      <a:pPr algn="r" fontAlgn="b"/>
                      <a:r>
                        <a:rPr lang="en-US" sz="600" b="1" i="0" u="none" strike="noStrike" dirty="0">
                          <a:solidFill>
                            <a:srgbClr val="000000"/>
                          </a:solidFill>
                          <a:latin typeface="Helvetica"/>
                        </a:rPr>
                        <a:t>2.0 </a:t>
                      </a:r>
                    </a:p>
                  </a:txBody>
                  <a:tcPr marL="0" marR="0" marT="0" marB="0" anchor="b">
                    <a:lnL>
                      <a:noFill/>
                    </a:lnL>
                    <a:lnR>
                      <a:noFill/>
                    </a:lnR>
                    <a:lnT>
                      <a:noFill/>
                    </a:lnT>
                    <a:lnB>
                      <a:noFill/>
                    </a:lnB>
                  </a:tcPr>
                </a:tc>
                <a:tc>
                  <a:txBody>
                    <a:bodyPr/>
                    <a:lstStyle/>
                    <a:p>
                      <a:pPr algn="ctr" fontAlgn="b"/>
                      <a:r>
                        <a:rPr lang="en-US" sz="600" b="1" i="0" u="none" strike="noStrike" dirty="0">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dirty="0">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dirty="0">
                          <a:latin typeface="Helvetica"/>
                        </a:rPr>
                        <a:t>Costco (</a:t>
                      </a:r>
                      <a:r>
                        <a:rPr lang="en-US" sz="600" b="1" i="0" u="none" strike="noStrike" dirty="0" err="1">
                          <a:latin typeface="Helvetica"/>
                        </a:rPr>
                        <a:t>incl</a:t>
                      </a:r>
                      <a:r>
                        <a:rPr lang="en-US" sz="600" b="1" i="0" u="none" strike="noStrike" dirty="0">
                          <a:latin typeface="Helvetica"/>
                        </a:rPr>
                        <a:t> fuel)</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9.0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a:latin typeface="Helvetica"/>
                        </a:rPr>
                        <a:t>%</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latin typeface="Helvetica"/>
                        </a:rPr>
                        <a:t>6.0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a:latin typeface="Helvetica"/>
                        </a:rPr>
                        <a:t>8.0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a:latin typeface="Helvetica"/>
                        </a:rPr>
                        <a:t>%</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latin typeface="Helvetica"/>
                        </a:rPr>
                        <a:t>9.0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r>
                        <a:rPr lang="en-US" sz="600" b="1" i="0" u="none" strike="noStrike">
                          <a:latin typeface="Helvetica"/>
                        </a:rPr>
                        <a:t>Neiman Marcus</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9.8</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4.0</a:t>
                      </a: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6.8</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6.2 </a:t>
                      </a:r>
                    </a:p>
                  </a:txBody>
                  <a:tcPr marL="0" marR="0" marT="0" marB="0" anchor="b">
                    <a:lnL>
                      <a:noFill/>
                    </a:lnL>
                    <a:lnR>
                      <a:noFill/>
                    </a:lnR>
                    <a:lnT>
                      <a:noFill/>
                    </a:lnT>
                    <a:lnB>
                      <a:noFill/>
                    </a:lnB>
                  </a:tcPr>
                </a:tc>
                <a:tc>
                  <a:txBody>
                    <a:bodyPr/>
                    <a:lstStyle/>
                    <a:p>
                      <a:pPr algn="ct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BJ's (incl fuel)</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solidFill>
                            <a:srgbClr val="000000"/>
                          </a:solidFill>
                          <a:latin typeface="Helvetica"/>
                        </a:rPr>
                        <a:t>2.7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latin typeface="Helvetica"/>
                        </a:rPr>
                        <a:t>3.0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a:latin typeface="Helvetica"/>
                        </a:rPr>
                        <a:t>8.4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latin typeface="Helvetica"/>
                        </a:rPr>
                        <a:t>7.5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endParaRPr lang="en-US" sz="600" b="1" i="0" u="none" strike="noStrike">
                        <a:solidFill>
                          <a:srgbClr val="000000"/>
                        </a:solidFill>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solidFill>
                          <a:srgbClr val="000000"/>
                        </a:solidFill>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solidFill>
                          <a:srgbClr val="000000"/>
                        </a:solidFill>
                        <a:latin typeface="Helvetica"/>
                      </a:endParaRPr>
                    </a:p>
                  </a:txBody>
                  <a:tcPr marL="0" marR="0" marT="0" marB="0" anchor="b">
                    <a:lnL>
                      <a:noFill/>
                    </a:lnL>
                    <a:lnR>
                      <a:noFill/>
                    </a:lnR>
                    <a:lnT>
                      <a:noFill/>
                    </a:lnT>
                    <a:lnB>
                      <a:noFill/>
                    </a:lnB>
                  </a:tcPr>
                </a:tc>
                <a:tc>
                  <a:txBody>
                    <a:bodyPr/>
                    <a:lstStyle/>
                    <a:p>
                      <a:pPr algn="ct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sng"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r>
              <a:tr h="163307">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600" b="1" i="0" u="none" strike="noStrike">
                          <a:solidFill>
                            <a:srgbClr val="000000"/>
                          </a:solidFill>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solidFill>
                          <a:srgbClr val="000000"/>
                        </a:solidFill>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600" b="1" i="0" u="none" strike="noStrike">
                          <a:solidFill>
                            <a:srgbClr val="000000"/>
                          </a:solidFill>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r>
              <a:tr h="163307">
                <a:tc>
                  <a:txBody>
                    <a:bodyPr/>
                    <a:lstStyle/>
                    <a:p>
                      <a:pPr algn="l" fontAlgn="b"/>
                      <a:r>
                        <a:rPr lang="en-US" sz="600" b="1" i="0" u="none" strike="noStrike">
                          <a:latin typeface="Helvetica"/>
                        </a:rPr>
                        <a:t>SPECIALTY APPAREL</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r>
              <a:tr h="163307">
                <a:tc>
                  <a:txBody>
                    <a:bodyPr/>
                    <a:lstStyle/>
                    <a:p>
                      <a:pPr algn="l" fontAlgn="b"/>
                      <a:r>
                        <a:rPr lang="en-US" sz="600" b="1" i="0" u="none" strike="noStrike">
                          <a:latin typeface="Helvetica"/>
                        </a:rPr>
                        <a:t>Abercrombie &amp; Fitch</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4.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a:noFill/>
                    </a:lnR>
                    <a:lnT>
                      <a:noFill/>
                    </a:lnT>
                    <a:lnB>
                      <a:noFill/>
                    </a:lnB>
                  </a:tcPr>
                </a:tc>
                <a:tc>
                  <a:txBody>
                    <a:bodyPr/>
                    <a:lstStyle/>
                    <a:p>
                      <a:pPr algn="r" fontAlgn="b"/>
                      <a:r>
                        <a:rPr lang="en-US" sz="600" b="1" i="0" u="none" strike="noStrike">
                          <a:latin typeface="Helvetica"/>
                        </a:rPr>
                        <a:t>(3.0)</a:t>
                      </a:r>
                    </a:p>
                  </a:txBody>
                  <a:tcPr marL="0" marR="0" marT="0" marB="0" anchor="b">
                    <a:lnL>
                      <a:noFill/>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8.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5.0 </a:t>
                      </a:r>
                    </a:p>
                  </a:txBody>
                  <a:tcPr marL="0" marR="0" marT="0" marB="0" anchor="b">
                    <a:lnL>
                      <a:noFill/>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r>
              <a:tr h="163307">
                <a:tc>
                  <a:txBody>
                    <a:bodyPr/>
                    <a:lstStyle/>
                    <a:p>
                      <a:pPr algn="l" fontAlgn="b"/>
                      <a:r>
                        <a:rPr lang="en-US" sz="600" b="1" i="0" u="none" strike="noStrike">
                          <a:latin typeface="Helvetica"/>
                        </a:rPr>
                        <a:t>American Eagle Outfitters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6.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13.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0.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6.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r>
              <a:tr h="155141">
                <a:tc>
                  <a:txBody>
                    <a:bodyPr/>
                    <a:lstStyle/>
                    <a:p>
                      <a:pPr algn="l" fontAlgn="b"/>
                      <a:r>
                        <a:rPr lang="en-US" sz="600" b="1" i="0" u="none" strike="noStrike">
                          <a:latin typeface="Helvetica"/>
                        </a:rPr>
                        <a:t>Aeropostale</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7.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6.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7.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r>
              <a:tr h="163307">
                <a:tc>
                  <a:txBody>
                    <a:bodyPr/>
                    <a:lstStyle/>
                    <a:p>
                      <a:pPr algn="l" fontAlgn="b"/>
                      <a:r>
                        <a:rPr lang="en-US" sz="600" b="1" i="0" u="none" strike="noStrike">
                          <a:latin typeface="Helvetica"/>
                        </a:rPr>
                        <a:t>The Buckle</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4.3</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latin typeface="Helvetica"/>
                        </a:rPr>
                        <a:t>3.0</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600" b="1" i="0" u="none" strike="noStrike">
                          <a:latin typeface="Helvetica"/>
                        </a:rPr>
                        <a:t>(1.2)</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5.1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Gap, Inc.</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4.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5.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3.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Gap N. America</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0.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6.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2.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0.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endParaRPr lang="en-US" sz="600" b="1" i="0" u="sng"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sng"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International</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8.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3.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3.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r" fontAlgn="b"/>
                      <a:r>
                        <a:rPr lang="en-US" sz="600" b="1" i="0" u="none" strike="noStrike">
                          <a:solidFill>
                            <a:srgbClr val="000000"/>
                          </a:solidFill>
                          <a:latin typeface="Helvetica"/>
                        </a:rPr>
                        <a:t>0.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275335">
                <a:tc>
                  <a:txBody>
                    <a:bodyPr/>
                    <a:lstStyle/>
                    <a:p>
                      <a:pPr algn="l" fontAlgn="b"/>
                      <a:r>
                        <a:rPr lang="en-US" sz="600" b="1" i="0" u="none" strike="noStrike">
                          <a:latin typeface="Helvetica"/>
                        </a:rPr>
                        <a:t>Banana Republic N. America</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4.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2.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4.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6.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sng" strike="noStrike">
                        <a:latin typeface="Helvetica"/>
                      </a:endParaRPr>
                    </a:p>
                  </a:txBody>
                  <a:tcPr marL="0" marR="0" marT="0" marB="0" anchor="b">
                    <a:lnL>
                      <a:noFill/>
                    </a:lnL>
                    <a:lnR>
                      <a:noFill/>
                    </a:lnR>
                    <a:lnT>
                      <a:noFill/>
                    </a:lnT>
                    <a:lnB>
                      <a:noFill/>
                    </a:lnB>
                  </a:tcPr>
                </a:tc>
                <a:tc>
                  <a:txBody>
                    <a:bodyPr/>
                    <a:lstStyle/>
                    <a:p>
                      <a:pPr algn="r" fontAlgn="b"/>
                      <a:endParaRPr lang="en-US" sz="600" b="1" i="0" u="sng"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sng"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Old Navy N. America</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3.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4.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0.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5.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Hot Topic (c)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3.3)</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1.6)</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3.1)</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7.0)</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Limited Brands (c)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24.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7.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6.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10.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ct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Victoria's Secret</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35.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12.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17.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10.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63307">
                <a:tc>
                  <a:txBody>
                    <a:bodyPr/>
                    <a:lstStyle/>
                    <a:p>
                      <a:pPr algn="l" fontAlgn="b"/>
                      <a:r>
                        <a:rPr lang="en-US" sz="600" b="1" i="0" u="none" strike="noStrike">
                          <a:latin typeface="Helvetica"/>
                        </a:rPr>
                        <a:t>Bath &amp; Body Works</a:t>
                      </a:r>
                    </a:p>
                  </a:txBody>
                  <a:tcPr marL="65082"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9.0</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0.0</a:t>
                      </a: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8.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11.0 </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3">
                  <a:txBody>
                    <a:bodyPr/>
                    <a:lstStyle/>
                    <a:p>
                      <a:pPr algn="ctr" fontAlgn="b"/>
                      <a:r>
                        <a:rPr lang="en-US" sz="600" b="1" i="0" u="none" strike="noStrike">
                          <a:latin typeface="Helvetica"/>
                        </a:rPr>
                        <a:t>January 2011</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a:txBody>
                    <a:bodyPr/>
                    <a:lstStyle/>
                    <a:p>
                      <a:pPr algn="ct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gridSpan="2">
                  <a:txBody>
                    <a:bodyPr/>
                    <a:lstStyle/>
                    <a:p>
                      <a:pPr algn="ctr" fontAlgn="b"/>
                      <a:r>
                        <a:rPr lang="en-US" sz="600" b="1" i="0" u="none" strike="noStrike">
                          <a:latin typeface="Helvetica"/>
                        </a:rPr>
                        <a:t>January</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ctr" fontAlgn="b"/>
                      <a:r>
                        <a:rPr lang="en-US" sz="600" b="1" i="0" u="none" strike="noStrike">
                          <a:latin typeface="Helvetica"/>
                        </a:rPr>
                        <a:t>February</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2">
                  <a:txBody>
                    <a:bodyPr/>
                    <a:lstStyle/>
                    <a:p>
                      <a:pPr algn="ctr" fontAlgn="b"/>
                      <a:r>
                        <a:rPr lang="en-US" sz="600" b="1" i="0" u="none" strike="noStrike">
                          <a:latin typeface="Helvetica"/>
                        </a:rPr>
                        <a:t>Actual</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a:latin typeface="Helvetica"/>
                        </a:rPr>
                        <a:t>Estimate</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a:latin typeface="Helvetica"/>
                        </a:rPr>
                        <a:t>2010</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a:latin typeface="Helvetica"/>
                        </a:rPr>
                        <a:t>2010</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a:latin typeface="Helvetica"/>
                        </a:rPr>
                        <a:t>RETAIL COMPOSITE INDE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4.3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2.3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4.9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5.7 </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r>
                        <a:rPr lang="en-US" sz="600" b="1" i="0" u="none" strike="noStrike">
                          <a:latin typeface="Helvetica"/>
                        </a:rPr>
                        <a:t>OFF-PRICE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a:latin typeface="Helvetica"/>
                        </a:rPr>
                        <a:t>Department Stor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2.4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0.6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3.0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solidFill>
                            <a:srgbClr val="000000"/>
                          </a:solidFill>
                          <a:latin typeface="Helvetica"/>
                        </a:rPr>
                        <a:t>3.8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r>
                        <a:rPr lang="en-US" sz="600" b="1" i="0" u="none" strike="noStrike">
                          <a:latin typeface="Helvetica"/>
                        </a:rPr>
                        <a:t>Ross Stores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3.0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a:noFill/>
                    </a:lnR>
                    <a:lnT>
                      <a:noFill/>
                    </a:lnT>
                    <a:lnB>
                      <a:noFill/>
                    </a:lnB>
                  </a:tcPr>
                </a:tc>
                <a:tc>
                  <a:txBody>
                    <a:bodyPr/>
                    <a:lstStyle/>
                    <a:p>
                      <a:pPr algn="r" fontAlgn="b"/>
                      <a:r>
                        <a:rPr lang="en-US" sz="600" b="1" i="0" u="none" strike="noStrike">
                          <a:latin typeface="Helvetica"/>
                        </a:rPr>
                        <a:t>2.0</a:t>
                      </a:r>
                    </a:p>
                  </a:txBody>
                  <a:tcPr marL="0" marR="0" marT="0" marB="0" anchor="b">
                    <a:lnL>
                      <a:noFill/>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8.0</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11.0 </a:t>
                      </a:r>
                    </a:p>
                  </a:txBody>
                  <a:tcPr marL="0" marR="0" marT="0" marB="0" anchor="b">
                    <a:lnL>
                      <a:noFill/>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600" b="1" i="0" u="none" strike="noStrike">
                          <a:latin typeface="Helvetica"/>
                        </a:rPr>
                        <a:t>Specialty Apparel/Off Pr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solidFill>
                            <a:srgbClr val="000000"/>
                          </a:solidFill>
                          <a:latin typeface="Helvetica"/>
                        </a:rPr>
                        <a:t>6.0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1.8)</a:t>
                      </a:r>
                    </a:p>
                  </a:txBody>
                  <a:tcPr marL="0" marR="0" marT="0" marB="0" anchor="b">
                    <a:lnL>
                      <a:noFill/>
                    </a:lnL>
                    <a:lnR>
                      <a:noFill/>
                    </a:lnR>
                    <a:lnT>
                      <a:noFill/>
                    </a:lnT>
                    <a:lnB>
                      <a:noFill/>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solidFill>
                            <a:srgbClr val="000000"/>
                          </a:solidFill>
                          <a:latin typeface="Helvetica"/>
                        </a:rPr>
                        <a:t>5.8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600" b="1" i="0" u="none" strike="noStrike">
                          <a:latin typeface="Helvetica"/>
                        </a:rPr>
                        <a:t>%</a:t>
                      </a:r>
                    </a:p>
                  </a:txBody>
                  <a:tcPr marL="0" marR="0" marT="0" marB="0" anchor="b">
                    <a:lnL>
                      <a:noFill/>
                    </a:lnL>
                    <a:lnR>
                      <a:noFill/>
                    </a:lnR>
                    <a:lnT>
                      <a:noFill/>
                    </a:lnT>
                    <a:lnB>
                      <a:noFill/>
                    </a:lnB>
                  </a:tcPr>
                </a:tc>
                <a:tc>
                  <a:txBody>
                    <a:bodyPr/>
                    <a:lstStyle/>
                    <a:p>
                      <a:pPr algn="r" fontAlgn="b"/>
                      <a:r>
                        <a:rPr lang="en-US" sz="600" b="1" i="0" u="none" strike="noStrike">
                          <a:solidFill>
                            <a:srgbClr val="000000"/>
                          </a:solidFill>
                          <a:latin typeface="Helvetica"/>
                        </a:rPr>
                        <a:t>5.4 </a:t>
                      </a:r>
                    </a:p>
                  </a:txBody>
                  <a:tcPr marL="0" marR="0" marT="0" marB="0" anchor="b">
                    <a:lnL>
                      <a:noFill/>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r>
                        <a:rPr lang="en-US" sz="600" b="1" i="0" u="none" strike="noStrike">
                          <a:latin typeface="Helvetica"/>
                        </a:rPr>
                        <a:t>TJX Co. (d)</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1" i="0" u="none" strike="noStrike">
                          <a:latin typeface="Helvetica"/>
                        </a:rPr>
                        <a:t>2.0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600" b="1" i="0" u="none" strike="noStrike">
                          <a:solidFill>
                            <a:srgbClr val="000000"/>
                          </a:solidFill>
                          <a:latin typeface="Helvetica"/>
                        </a:rPr>
                        <a:t>0.0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600" b="1" i="0" u="none" strike="noStrike">
                          <a:solidFill>
                            <a:srgbClr val="000000"/>
                          </a:solidFill>
                          <a:latin typeface="Helvetica"/>
                        </a:rPr>
                        <a:t>12.0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10.0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1" i="0" u="none" strike="noStrike">
                          <a:latin typeface="Helvetica"/>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600" b="1" i="0" u="none" strike="noStrike">
                          <a:latin typeface="Helvetica"/>
                        </a:rPr>
                        <a:t>Discount Store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4.8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3.8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5.6 </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600" b="1" i="0" u="none" strike="noStrike">
                          <a:latin typeface="Helvetica"/>
                        </a:rPr>
                        <a:t>%</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solidFill>
                            <a:srgbClr val="000000"/>
                          </a:solidFill>
                          <a:latin typeface="Helvetica"/>
                        </a:rPr>
                        <a:t>6.6 </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1" i="0" u="none" strike="noStrike">
                          <a:latin typeface="Helvetica"/>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600" b="1" i="0" u="none" strike="noStrike">
                        <a:latin typeface="Helvetica"/>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r>
              <a:tr h="163307">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600" b="1" i="0" u="none" strike="noStrike">
                          <a:latin typeface="Helvetica"/>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r>
              <a:tr h="137667">
                <a:tc gridSpan="11">
                  <a:txBody>
                    <a:bodyPr/>
                    <a:lstStyle/>
                    <a:p>
                      <a:pPr algn="l" fontAlgn="b"/>
                      <a:r>
                        <a:rPr lang="en-US" sz="600" b="1" i="0" u="none" strike="noStrike">
                          <a:latin typeface="Helvetica"/>
                        </a:rPr>
                        <a:t>*Estimates are Goldman Sachs estimates and do not reflect consensus analyst expectations</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r" fontAlgn="b"/>
                      <a:endParaRPr lang="en-US" sz="600" b="1" i="0" u="none" strike="noStrike">
                        <a:latin typeface="Helvetica"/>
                      </a:endParaRPr>
                    </a:p>
                  </a:txBody>
                  <a:tcPr marL="0" marR="0" marT="0" marB="0" anchor="b">
                    <a:lnL>
                      <a:noFill/>
                    </a:lnL>
                    <a:lnR>
                      <a:noFill/>
                    </a:lnR>
                    <a:lnT>
                      <a:noFill/>
                    </a:lnT>
                    <a:lnB>
                      <a:noFill/>
                    </a:lnB>
                  </a:tcPr>
                </a:tc>
                <a:tc>
                  <a:txBody>
                    <a:bodyPr/>
                    <a:lstStyle/>
                    <a:p>
                      <a:pPr algn="l" fontAlgn="b"/>
                      <a:endParaRPr lang="en-US" sz="600" b="0" i="0" u="none" strike="noStrike">
                        <a:latin typeface="Helvetica"/>
                      </a:endParaRPr>
                    </a:p>
                  </a:txBody>
                  <a:tcPr marL="0" marR="0" marT="0" marB="0" anchor="b">
                    <a:lnL>
                      <a:noFill/>
                    </a:lnL>
                    <a:lnR>
                      <a:noFill/>
                    </a:lnR>
                    <a:lnT>
                      <a:noFill/>
                    </a:lnT>
                    <a:lnB>
                      <a:noFill/>
                    </a:lnB>
                  </a:tcPr>
                </a:tc>
                <a:tc>
                  <a:txBody>
                    <a:bodyPr/>
                    <a:lstStyle/>
                    <a:p>
                      <a:pPr algn="l" fontAlgn="b"/>
                      <a:endParaRPr lang="en-US" sz="600" b="1" i="0" u="none" strike="noStrike" dirty="0">
                        <a:latin typeface="Helvetica"/>
                      </a:endParaRPr>
                    </a:p>
                  </a:txBody>
                  <a:tcPr marL="0" marR="0" marT="0" marB="0" anchor="b">
                    <a:lnL>
                      <a:noFill/>
                    </a:lnL>
                    <a:lnR>
                      <a:noFill/>
                    </a:lnR>
                    <a:lnT>
                      <a:noFill/>
                    </a:lnT>
                    <a:lnB>
                      <a:noFill/>
                    </a:lnB>
                  </a:tcPr>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33795" name="Rectangle 2"/>
          <p:cNvSpPr>
            <a:spLocks noGrp="1" noChangeArrowheads="1"/>
          </p:cNvSpPr>
          <p:nvPr>
            <p:ph type="title"/>
          </p:nvPr>
        </p:nvSpPr>
        <p:spPr>
          <a:xfrm>
            <a:off x="445008" y="755523"/>
            <a:ext cx="8229600" cy="585418"/>
          </a:xfrm>
        </p:spPr>
        <p:txBody>
          <a:bodyPr/>
          <a:lstStyle/>
          <a:p>
            <a:r>
              <a:rPr lang="en-US" sz="3200" dirty="0" smtClean="0">
                <a:solidFill>
                  <a:schemeClr val="tx1"/>
                </a:solidFill>
              </a:rPr>
              <a:t>To Be the Best in Market Supply Chain …</a:t>
            </a:r>
          </a:p>
        </p:txBody>
      </p:sp>
      <p:sp>
        <p:nvSpPr>
          <p:cNvPr id="33796" name="Rectangle 3"/>
          <p:cNvSpPr>
            <a:spLocks noGrp="1" noChangeArrowheads="1"/>
          </p:cNvSpPr>
          <p:nvPr>
            <p:ph type="body" idx="1"/>
          </p:nvPr>
        </p:nvSpPr>
        <p:spPr>
          <a:xfrm>
            <a:off x="481584" y="1637919"/>
            <a:ext cx="8229600" cy="3552825"/>
          </a:xfrm>
        </p:spPr>
        <p:txBody>
          <a:bodyPr/>
          <a:lstStyle/>
          <a:p>
            <a:pPr eaLnBrk="1" hangingPunct="1"/>
            <a:r>
              <a:rPr lang="en-US" dirty="0" smtClean="0"/>
              <a:t>Think Like a Customer</a:t>
            </a:r>
          </a:p>
          <a:p>
            <a:pPr eaLnBrk="1" hangingPunct="1"/>
            <a:endParaRPr lang="en-US" dirty="0" smtClean="0"/>
          </a:p>
          <a:p>
            <a:pPr eaLnBrk="1" hangingPunct="1"/>
            <a:r>
              <a:rPr lang="en-US" dirty="0" smtClean="0"/>
              <a:t>Be Compliant</a:t>
            </a:r>
          </a:p>
          <a:p>
            <a:pPr eaLnBrk="1" hangingPunct="1"/>
            <a:endParaRPr lang="en-US" dirty="0" smtClean="0"/>
          </a:p>
          <a:p>
            <a:pPr eaLnBrk="1" hangingPunct="1"/>
            <a:r>
              <a:rPr lang="en-US" dirty="0" smtClean="0"/>
              <a:t>Set </a:t>
            </a:r>
            <a:r>
              <a:rPr lang="en-US" dirty="0" smtClean="0"/>
              <a:t>High Expectations for Low Cost</a:t>
            </a:r>
          </a:p>
          <a:p>
            <a:pPr eaLnBrk="1" hangingPunct="1"/>
            <a:endParaRPr lang="en-US" dirty="0" smtClean="0"/>
          </a:p>
          <a:p>
            <a:pPr eaLnBrk="1" hangingPunct="1"/>
            <a:r>
              <a:rPr lang="en-US" dirty="0" smtClean="0"/>
              <a:t>Be Sustainable</a:t>
            </a:r>
          </a:p>
          <a:p>
            <a:pPr eaLnBrk="1" hangingPunct="1"/>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Footer Placeholder 1"/>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19459" name="Rectangle 2"/>
          <p:cNvSpPr>
            <a:spLocks noGrp="1" noChangeArrowheads="1"/>
          </p:cNvSpPr>
          <p:nvPr>
            <p:ph type="title" idx="4294967295"/>
          </p:nvPr>
        </p:nvSpPr>
        <p:spPr>
          <a:xfrm>
            <a:off x="457200" y="148516"/>
            <a:ext cx="8229600" cy="507831"/>
          </a:xfrm>
        </p:spPr>
        <p:txBody>
          <a:bodyPr lIns="91440" tIns="45720" rIns="91440" bIns="45720" anchor="ctr"/>
          <a:lstStyle/>
          <a:p>
            <a:r>
              <a:rPr lang="en-US" sz="2700" dirty="0" smtClean="0">
                <a:solidFill>
                  <a:schemeClr val="tx1"/>
                </a:solidFill>
              </a:rPr>
              <a:t>Walmart International Distribution Center Count</a:t>
            </a:r>
          </a:p>
        </p:txBody>
      </p:sp>
      <p:sp>
        <p:nvSpPr>
          <p:cNvPr id="19460" name="AutoShape 5"/>
          <p:cNvSpPr>
            <a:spLocks noChangeAspect="1" noChangeArrowheads="1" noTextEdit="1"/>
          </p:cNvSpPr>
          <p:nvPr/>
        </p:nvSpPr>
        <p:spPr bwMode="auto">
          <a:xfrm>
            <a:off x="750888" y="1477963"/>
            <a:ext cx="8345487" cy="4618037"/>
          </a:xfrm>
          <a:prstGeom prst="rect">
            <a:avLst/>
          </a:prstGeom>
          <a:noFill/>
          <a:ln w="9525">
            <a:noFill/>
            <a:miter lim="800000"/>
            <a:headEnd/>
            <a:tailEnd/>
          </a:ln>
        </p:spPr>
        <p:txBody>
          <a:bodyPr/>
          <a:lstStyle/>
          <a:p>
            <a:endParaRPr lang="en-US" dirty="0"/>
          </a:p>
        </p:txBody>
      </p:sp>
      <p:graphicFrame>
        <p:nvGraphicFramePr>
          <p:cNvPr id="79876" name="Group 4"/>
          <p:cNvGraphicFramePr>
            <a:graphicFrameLocks noGrp="1"/>
          </p:cNvGraphicFramePr>
          <p:nvPr/>
        </p:nvGraphicFramePr>
        <p:xfrm>
          <a:off x="5105400" y="5257800"/>
          <a:ext cx="3733800" cy="671513"/>
        </p:xfrm>
        <a:graphic>
          <a:graphicData uri="http://schemas.openxmlformats.org/drawingml/2006/table">
            <a:tbl>
              <a:tblPr/>
              <a:tblGrid>
                <a:gridCol w="2547938"/>
                <a:gridCol w="1185862"/>
              </a:tblGrid>
              <a:tr h="336550">
                <a:tc gridSpan="2">
                  <a:txBody>
                    <a:bodyPr/>
                    <a:lstStyle/>
                    <a:p>
                      <a:pPr marL="0" marR="0" lvl="0" indent="0" algn="r"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600" b="0" i="1" u="none" strike="noStrike" cap="none" normalizeH="0" baseline="0" dirty="0" smtClean="0">
                          <a:ln>
                            <a:noFill/>
                          </a:ln>
                          <a:solidFill>
                            <a:schemeClr val="tx1"/>
                          </a:solidFill>
                          <a:effectLst/>
                          <a:latin typeface="Arial" pitchFamily="34" charset="0"/>
                        </a:rPr>
                        <a:t>As of…May 31, 2009</a:t>
                      </a:r>
                    </a:p>
                  </a:txBody>
                  <a:tcPr horzOverflow="overflow">
                    <a:lnL w="28575" cap="flat" cmpd="sng" algn="ctr">
                      <a:solidFill>
                        <a:srgbClr val="003399"/>
                      </a:solidFill>
                      <a:prstDash val="solid"/>
                      <a:round/>
                      <a:headEnd type="none" w="med" len="med"/>
                      <a:tailEnd type="none" w="med" len="med"/>
                    </a:lnL>
                    <a:lnR w="28575" cap="flat" cmpd="sng" algn="ctr">
                      <a:solidFill>
                        <a:srgbClr val="003399"/>
                      </a:solidFill>
                      <a:prstDash val="solid"/>
                      <a:round/>
                      <a:headEnd type="none" w="med" len="med"/>
                      <a:tailEnd type="none" w="med" len="med"/>
                    </a:lnR>
                    <a:lnT w="28575" cap="flat" cmpd="sng" algn="ctr">
                      <a:solidFill>
                        <a:srgbClr val="003399"/>
                      </a:solidFill>
                      <a:prstDash val="solid"/>
                      <a:round/>
                      <a:headEnd type="none" w="med" len="med"/>
                      <a:tailEnd type="none" w="med" len="med"/>
                    </a:lnT>
                    <a:lnB w="12700" cap="flat" cmpd="sng" algn="ctr">
                      <a:solidFill>
                        <a:srgbClr val="003399"/>
                      </a:solidFill>
                      <a:prstDash val="solid"/>
                      <a:round/>
                      <a:headEnd type="none" w="med" len="med"/>
                      <a:tailEnd type="none" w="med" len="med"/>
                    </a:lnB>
                    <a:lnTlToBr>
                      <a:noFill/>
                    </a:lnTlToBr>
                    <a:lnBlToTr>
                      <a:noFill/>
                    </a:lnBlToTr>
                    <a:noFill/>
                  </a:tcPr>
                </a:tc>
                <a:tc hMerge="1">
                  <a:txBody>
                    <a:bodyPr/>
                    <a:lstStyle/>
                    <a:p>
                      <a:endParaRPr lang="en-US"/>
                    </a:p>
                  </a:txBody>
                  <a:tcPr/>
                </a:tc>
              </a:tr>
              <a:tr h="334963">
                <a:tc>
                  <a:txBody>
                    <a:bodyPr/>
                    <a:lstStyle/>
                    <a:p>
                      <a:pPr marL="0" marR="0" lvl="0" indent="0" algn="l"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400" b="0" i="0" u="none" strike="noStrike" cap="none" normalizeH="0" baseline="0" dirty="0" smtClean="0">
                          <a:ln>
                            <a:noFill/>
                          </a:ln>
                          <a:solidFill>
                            <a:schemeClr val="tx1"/>
                          </a:solidFill>
                          <a:effectLst/>
                          <a:latin typeface="Arial" pitchFamily="34" charset="0"/>
                        </a:rPr>
                        <a:t>Total DC’s</a:t>
                      </a:r>
                    </a:p>
                  </a:txBody>
                  <a:tcPr horzOverflow="overflow">
                    <a:lnL w="28575" cap="flat" cmpd="sng" algn="ctr">
                      <a:solidFill>
                        <a:srgbClr val="003399"/>
                      </a:solidFill>
                      <a:prstDash val="solid"/>
                      <a:round/>
                      <a:headEnd type="none" w="med" len="med"/>
                      <a:tailEnd type="none" w="med" len="med"/>
                    </a:lnL>
                    <a:lnR w="12700"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400" b="0" i="0" u="none" strike="noStrike" cap="none" normalizeH="0" baseline="0" dirty="0" smtClean="0">
                          <a:ln>
                            <a:noFill/>
                          </a:ln>
                          <a:solidFill>
                            <a:schemeClr val="tx1"/>
                          </a:solidFill>
                          <a:effectLst/>
                          <a:latin typeface="Arial" pitchFamily="34" charset="0"/>
                        </a:rPr>
                        <a:t>141</a:t>
                      </a:r>
                    </a:p>
                  </a:txBody>
                  <a:tcPr horzOverflow="overflow">
                    <a:lnL w="12700" cap="flat" cmpd="sng" algn="ctr">
                      <a:solidFill>
                        <a:srgbClr val="003399"/>
                      </a:solidFill>
                      <a:prstDash val="solid"/>
                      <a:round/>
                      <a:headEnd type="none" w="med" len="med"/>
                      <a:tailEnd type="none" w="med" len="med"/>
                    </a:lnL>
                    <a:lnR w="28575"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bl>
          </a:graphicData>
        </a:graphic>
      </p:graphicFrame>
      <p:sp>
        <p:nvSpPr>
          <p:cNvPr id="19471" name="Text Box 577"/>
          <p:cNvSpPr txBox="1">
            <a:spLocks noChangeArrowheads="1"/>
          </p:cNvSpPr>
          <p:nvPr/>
        </p:nvSpPr>
        <p:spPr bwMode="auto">
          <a:xfrm>
            <a:off x="620713" y="1189038"/>
            <a:ext cx="757237" cy="368300"/>
          </a:xfrm>
          <a:prstGeom prst="rect">
            <a:avLst/>
          </a:prstGeom>
          <a:noFill/>
          <a:ln w="8001">
            <a:noFill/>
            <a:miter lim="800000"/>
            <a:headEnd/>
            <a:tailEnd/>
          </a:ln>
        </p:spPr>
        <p:txBody>
          <a:bodyPr wrap="none">
            <a:spAutoFit/>
          </a:bodyPr>
          <a:lstStyle/>
          <a:p>
            <a:pPr eaLnBrk="0" hangingPunct="0">
              <a:lnSpc>
                <a:spcPct val="50000"/>
              </a:lnSpc>
              <a:spcBef>
                <a:spcPct val="50000"/>
              </a:spcBef>
            </a:pPr>
            <a:r>
              <a:rPr lang="en-US" sz="1200" dirty="0">
                <a:ea typeface="MS PGothic"/>
                <a:cs typeface="MS PGothic"/>
              </a:rPr>
              <a:t>Canada </a:t>
            </a:r>
          </a:p>
          <a:p>
            <a:pPr eaLnBrk="0" hangingPunct="0">
              <a:lnSpc>
                <a:spcPct val="50000"/>
              </a:lnSpc>
              <a:spcBef>
                <a:spcPct val="50000"/>
              </a:spcBef>
            </a:pPr>
            <a:r>
              <a:rPr lang="en-US" sz="1200" dirty="0">
                <a:ea typeface="MS PGothic"/>
                <a:cs typeface="MS PGothic"/>
              </a:rPr>
              <a:t>10 DC’s</a:t>
            </a:r>
          </a:p>
        </p:txBody>
      </p:sp>
      <p:sp>
        <p:nvSpPr>
          <p:cNvPr id="19472" name="Text Box 578"/>
          <p:cNvSpPr txBox="1">
            <a:spLocks noChangeArrowheads="1"/>
          </p:cNvSpPr>
          <p:nvPr/>
        </p:nvSpPr>
        <p:spPr bwMode="auto">
          <a:xfrm>
            <a:off x="301625" y="3289300"/>
            <a:ext cx="1222375"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Mexico</a:t>
            </a:r>
          </a:p>
          <a:p>
            <a:pPr eaLnBrk="0" hangingPunct="0">
              <a:lnSpc>
                <a:spcPct val="50000"/>
              </a:lnSpc>
              <a:spcBef>
                <a:spcPct val="50000"/>
              </a:spcBef>
            </a:pPr>
            <a:r>
              <a:rPr lang="en-US" sz="1200" dirty="0">
                <a:ea typeface="MS PGothic"/>
                <a:cs typeface="MS PGothic"/>
              </a:rPr>
              <a:t>15 DC’s</a:t>
            </a:r>
          </a:p>
        </p:txBody>
      </p:sp>
      <p:sp>
        <p:nvSpPr>
          <p:cNvPr id="19473" name="Text Box 579"/>
          <p:cNvSpPr txBox="1">
            <a:spLocks noChangeArrowheads="1"/>
          </p:cNvSpPr>
          <p:nvPr/>
        </p:nvSpPr>
        <p:spPr bwMode="auto">
          <a:xfrm>
            <a:off x="2438400" y="3048000"/>
            <a:ext cx="1679575"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Puerto Rico</a:t>
            </a:r>
          </a:p>
          <a:p>
            <a:pPr eaLnBrk="0" hangingPunct="0">
              <a:lnSpc>
                <a:spcPct val="50000"/>
              </a:lnSpc>
              <a:spcBef>
                <a:spcPct val="50000"/>
              </a:spcBef>
            </a:pPr>
            <a:r>
              <a:rPr lang="en-US" sz="1200" dirty="0">
                <a:ea typeface="MS PGothic"/>
                <a:cs typeface="MS PGothic"/>
              </a:rPr>
              <a:t>3 DC’s</a:t>
            </a:r>
          </a:p>
        </p:txBody>
      </p:sp>
      <p:sp>
        <p:nvSpPr>
          <p:cNvPr id="19474" name="Text Box 580"/>
          <p:cNvSpPr txBox="1">
            <a:spLocks noChangeArrowheads="1"/>
          </p:cNvSpPr>
          <p:nvPr/>
        </p:nvSpPr>
        <p:spPr bwMode="auto">
          <a:xfrm>
            <a:off x="1066800" y="3808413"/>
            <a:ext cx="1333500" cy="458787"/>
          </a:xfrm>
          <a:prstGeom prst="rect">
            <a:avLst/>
          </a:prstGeom>
          <a:noFill/>
          <a:ln w="8001">
            <a:noFill/>
            <a:miter lim="800000"/>
            <a:headEnd/>
            <a:tailEnd/>
          </a:ln>
        </p:spPr>
        <p:txBody>
          <a:bodyPr>
            <a:spAutoFit/>
          </a:bodyPr>
          <a:lstStyle/>
          <a:p>
            <a:pPr eaLnBrk="0" hangingPunct="0">
              <a:spcBef>
                <a:spcPct val="50000"/>
              </a:spcBef>
            </a:pPr>
            <a:r>
              <a:rPr lang="en-US" sz="1200" dirty="0">
                <a:ea typeface="MS PGothic"/>
                <a:cs typeface="MS PGothic"/>
              </a:rPr>
              <a:t>Central America</a:t>
            </a:r>
          </a:p>
          <a:p>
            <a:pPr eaLnBrk="0" hangingPunct="0">
              <a:lnSpc>
                <a:spcPct val="50000"/>
              </a:lnSpc>
              <a:spcBef>
                <a:spcPct val="50000"/>
              </a:spcBef>
            </a:pPr>
            <a:r>
              <a:rPr lang="en-US" sz="1200" dirty="0">
                <a:ea typeface="MS PGothic"/>
                <a:cs typeface="MS PGothic"/>
              </a:rPr>
              <a:t>11 DC’s</a:t>
            </a:r>
          </a:p>
        </p:txBody>
      </p:sp>
      <p:sp>
        <p:nvSpPr>
          <p:cNvPr id="19475" name="Text Box 581"/>
          <p:cNvSpPr txBox="1">
            <a:spLocks noChangeArrowheads="1"/>
          </p:cNvSpPr>
          <p:nvPr/>
        </p:nvSpPr>
        <p:spPr bwMode="auto">
          <a:xfrm>
            <a:off x="3170238" y="4572000"/>
            <a:ext cx="13335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Brazil</a:t>
            </a:r>
          </a:p>
          <a:p>
            <a:pPr eaLnBrk="0" hangingPunct="0">
              <a:lnSpc>
                <a:spcPct val="50000"/>
              </a:lnSpc>
              <a:spcBef>
                <a:spcPct val="50000"/>
              </a:spcBef>
            </a:pPr>
            <a:r>
              <a:rPr lang="en-US" sz="1200" dirty="0">
                <a:ea typeface="MS PGothic"/>
                <a:cs typeface="MS PGothic"/>
              </a:rPr>
              <a:t>16 DC’s</a:t>
            </a:r>
          </a:p>
        </p:txBody>
      </p:sp>
      <p:sp>
        <p:nvSpPr>
          <p:cNvPr id="19476" name="Text Box 582"/>
          <p:cNvSpPr txBox="1">
            <a:spLocks noChangeArrowheads="1"/>
          </p:cNvSpPr>
          <p:nvPr/>
        </p:nvSpPr>
        <p:spPr bwMode="auto">
          <a:xfrm>
            <a:off x="2197100" y="5608638"/>
            <a:ext cx="1592263"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Argentina</a:t>
            </a:r>
          </a:p>
          <a:p>
            <a:pPr eaLnBrk="0" hangingPunct="0">
              <a:lnSpc>
                <a:spcPct val="50000"/>
              </a:lnSpc>
              <a:spcBef>
                <a:spcPct val="50000"/>
              </a:spcBef>
            </a:pPr>
            <a:r>
              <a:rPr lang="en-US" sz="1200" dirty="0">
                <a:ea typeface="MS PGothic"/>
                <a:cs typeface="MS PGothic"/>
              </a:rPr>
              <a:t>1 DC</a:t>
            </a:r>
          </a:p>
        </p:txBody>
      </p:sp>
      <p:sp>
        <p:nvSpPr>
          <p:cNvPr id="19477" name="Text Box 583"/>
          <p:cNvSpPr txBox="1">
            <a:spLocks noChangeArrowheads="1"/>
          </p:cNvSpPr>
          <p:nvPr/>
        </p:nvSpPr>
        <p:spPr bwMode="auto">
          <a:xfrm>
            <a:off x="2905125" y="2082800"/>
            <a:ext cx="13335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UK</a:t>
            </a:r>
          </a:p>
          <a:p>
            <a:pPr eaLnBrk="0" hangingPunct="0">
              <a:lnSpc>
                <a:spcPct val="50000"/>
              </a:lnSpc>
              <a:spcBef>
                <a:spcPct val="50000"/>
              </a:spcBef>
            </a:pPr>
            <a:r>
              <a:rPr lang="en-US" sz="1200" dirty="0">
                <a:ea typeface="MS PGothic"/>
                <a:cs typeface="MS PGothic"/>
              </a:rPr>
              <a:t>34 DC’s</a:t>
            </a:r>
          </a:p>
        </p:txBody>
      </p:sp>
      <p:sp>
        <p:nvSpPr>
          <p:cNvPr id="19478" name="Text Box 585"/>
          <p:cNvSpPr txBox="1">
            <a:spLocks noChangeArrowheads="1"/>
          </p:cNvSpPr>
          <p:nvPr/>
        </p:nvSpPr>
        <p:spPr bwMode="auto">
          <a:xfrm>
            <a:off x="6616700" y="3157538"/>
            <a:ext cx="22987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China</a:t>
            </a:r>
          </a:p>
          <a:p>
            <a:pPr eaLnBrk="0" hangingPunct="0">
              <a:lnSpc>
                <a:spcPct val="50000"/>
              </a:lnSpc>
              <a:spcBef>
                <a:spcPct val="50000"/>
              </a:spcBef>
            </a:pPr>
            <a:r>
              <a:rPr lang="en-US" sz="1200" dirty="0">
                <a:ea typeface="MS PGothic"/>
                <a:cs typeface="MS PGothic"/>
              </a:rPr>
              <a:t>9 DC’s</a:t>
            </a:r>
          </a:p>
        </p:txBody>
      </p:sp>
      <p:sp>
        <p:nvSpPr>
          <p:cNvPr id="19479" name="Text Box 586"/>
          <p:cNvSpPr txBox="1">
            <a:spLocks noChangeArrowheads="1"/>
          </p:cNvSpPr>
          <p:nvPr/>
        </p:nvSpPr>
        <p:spPr bwMode="auto">
          <a:xfrm>
            <a:off x="7500938" y="2497138"/>
            <a:ext cx="1414462"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Japan</a:t>
            </a:r>
          </a:p>
          <a:p>
            <a:pPr eaLnBrk="0" hangingPunct="0">
              <a:lnSpc>
                <a:spcPct val="50000"/>
              </a:lnSpc>
              <a:spcBef>
                <a:spcPct val="50000"/>
              </a:spcBef>
            </a:pPr>
            <a:r>
              <a:rPr lang="en-US" sz="1200" dirty="0">
                <a:ea typeface="MS PGothic"/>
                <a:cs typeface="MS PGothic"/>
              </a:rPr>
              <a:t>36 DC</a:t>
            </a:r>
          </a:p>
        </p:txBody>
      </p:sp>
      <p:sp>
        <p:nvSpPr>
          <p:cNvPr id="19480" name="Text Box 586"/>
          <p:cNvSpPr txBox="1">
            <a:spLocks noChangeArrowheads="1"/>
          </p:cNvSpPr>
          <p:nvPr/>
        </p:nvSpPr>
        <p:spPr bwMode="auto">
          <a:xfrm>
            <a:off x="5202238" y="3910013"/>
            <a:ext cx="1414462"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India</a:t>
            </a:r>
          </a:p>
          <a:p>
            <a:pPr eaLnBrk="0" hangingPunct="0">
              <a:lnSpc>
                <a:spcPct val="50000"/>
              </a:lnSpc>
              <a:spcBef>
                <a:spcPct val="50000"/>
              </a:spcBef>
            </a:pPr>
            <a:r>
              <a:rPr lang="en-US" sz="1200" dirty="0">
                <a:ea typeface="MS PGothic"/>
                <a:cs typeface="MS PGothic"/>
              </a:rPr>
              <a:t>1 DC</a:t>
            </a:r>
          </a:p>
        </p:txBody>
      </p:sp>
      <p:sp>
        <p:nvSpPr>
          <p:cNvPr id="19481" name="Freeform 24"/>
          <p:cNvSpPr>
            <a:spLocks noChangeAspect="1"/>
          </p:cNvSpPr>
          <p:nvPr>
            <p:custDataLst>
              <p:tags r:id="rId1"/>
            </p:custDataLst>
          </p:nvPr>
        </p:nvSpPr>
        <p:spPr bwMode="auto">
          <a:xfrm>
            <a:off x="1708150" y="1520825"/>
            <a:ext cx="401638" cy="212725"/>
          </a:xfrm>
          <a:custGeom>
            <a:avLst/>
            <a:gdLst>
              <a:gd name="T0" fmla="*/ 360606 w 509"/>
              <a:gd name="T1" fmla="*/ 181703 h 240"/>
              <a:gd name="T2" fmla="*/ 374810 w 509"/>
              <a:gd name="T3" fmla="*/ 197657 h 240"/>
              <a:gd name="T4" fmla="*/ 360606 w 509"/>
              <a:gd name="T5" fmla="*/ 212725 h 240"/>
              <a:gd name="T6" fmla="*/ 304582 w 509"/>
              <a:gd name="T7" fmla="*/ 197657 h 240"/>
              <a:gd name="T8" fmla="*/ 262761 w 509"/>
              <a:gd name="T9" fmla="*/ 197657 h 240"/>
              <a:gd name="T10" fmla="*/ 221729 w 509"/>
              <a:gd name="T11" fmla="*/ 197657 h 240"/>
              <a:gd name="T12" fmla="*/ 194112 w 509"/>
              <a:gd name="T13" fmla="*/ 212725 h 240"/>
              <a:gd name="T14" fmla="*/ 138088 w 509"/>
              <a:gd name="T15" fmla="*/ 212725 h 240"/>
              <a:gd name="T16" fmla="*/ 124674 w 509"/>
              <a:gd name="T17" fmla="*/ 197657 h 240"/>
              <a:gd name="T18" fmla="*/ 97056 w 509"/>
              <a:gd name="T19" fmla="*/ 197657 h 240"/>
              <a:gd name="T20" fmla="*/ 55235 w 509"/>
              <a:gd name="T21" fmla="*/ 197657 h 240"/>
              <a:gd name="T22" fmla="*/ 27618 w 509"/>
              <a:gd name="T23" fmla="*/ 166635 h 240"/>
              <a:gd name="T24" fmla="*/ 83642 w 509"/>
              <a:gd name="T25" fmla="*/ 151567 h 240"/>
              <a:gd name="T26" fmla="*/ 124674 w 509"/>
              <a:gd name="T27" fmla="*/ 151567 h 240"/>
              <a:gd name="T28" fmla="*/ 97056 w 509"/>
              <a:gd name="T29" fmla="*/ 136499 h 240"/>
              <a:gd name="T30" fmla="*/ 55235 w 509"/>
              <a:gd name="T31" fmla="*/ 136499 h 240"/>
              <a:gd name="T32" fmla="*/ 14203 w 509"/>
              <a:gd name="T33" fmla="*/ 120544 h 240"/>
              <a:gd name="T34" fmla="*/ 41032 w 509"/>
              <a:gd name="T35" fmla="*/ 105476 h 240"/>
              <a:gd name="T36" fmla="*/ 14203 w 509"/>
              <a:gd name="T37" fmla="*/ 105476 h 240"/>
              <a:gd name="T38" fmla="*/ 0 w 509"/>
              <a:gd name="T39" fmla="*/ 90408 h 240"/>
              <a:gd name="T40" fmla="*/ 55235 w 509"/>
              <a:gd name="T41" fmla="*/ 29250 h 240"/>
              <a:gd name="T42" fmla="*/ 97056 w 509"/>
              <a:gd name="T43" fmla="*/ 29250 h 240"/>
              <a:gd name="T44" fmla="*/ 111259 w 509"/>
              <a:gd name="T45" fmla="*/ 59386 h 240"/>
              <a:gd name="T46" fmla="*/ 124674 w 509"/>
              <a:gd name="T47" fmla="*/ 29250 h 240"/>
              <a:gd name="T48" fmla="*/ 165705 w 509"/>
              <a:gd name="T49" fmla="*/ 44318 h 240"/>
              <a:gd name="T50" fmla="*/ 180698 w 509"/>
              <a:gd name="T51" fmla="*/ 59386 h 240"/>
              <a:gd name="T52" fmla="*/ 194112 w 509"/>
              <a:gd name="T53" fmla="*/ 44318 h 240"/>
              <a:gd name="T54" fmla="*/ 221729 w 509"/>
              <a:gd name="T55" fmla="*/ 44318 h 240"/>
              <a:gd name="T56" fmla="*/ 221729 w 509"/>
              <a:gd name="T57" fmla="*/ 75340 h 240"/>
              <a:gd name="T58" fmla="*/ 235144 w 509"/>
              <a:gd name="T59" fmla="*/ 90408 h 240"/>
              <a:gd name="T60" fmla="*/ 235144 w 509"/>
              <a:gd name="T61" fmla="*/ 59386 h 240"/>
              <a:gd name="T62" fmla="*/ 221729 w 509"/>
              <a:gd name="T63" fmla="*/ 29250 h 240"/>
              <a:gd name="T64" fmla="*/ 248558 w 509"/>
              <a:gd name="T65" fmla="*/ 13295 h 240"/>
              <a:gd name="T66" fmla="*/ 262761 w 509"/>
              <a:gd name="T67" fmla="*/ 0 h 240"/>
              <a:gd name="T68" fmla="*/ 291168 w 509"/>
              <a:gd name="T69" fmla="*/ 0 h 240"/>
              <a:gd name="T70" fmla="*/ 304582 w 509"/>
              <a:gd name="T71" fmla="*/ 13295 h 240"/>
              <a:gd name="T72" fmla="*/ 304582 w 509"/>
              <a:gd name="T73" fmla="*/ 44318 h 240"/>
              <a:gd name="T74" fmla="*/ 304582 w 509"/>
              <a:gd name="T75" fmla="*/ 90408 h 240"/>
              <a:gd name="T76" fmla="*/ 333778 w 509"/>
              <a:gd name="T77" fmla="*/ 136499 h 240"/>
              <a:gd name="T78" fmla="*/ 401638 w 509"/>
              <a:gd name="T79" fmla="*/ 166635 h 240"/>
              <a:gd name="T80" fmla="*/ 374810 w 509"/>
              <a:gd name="T81" fmla="*/ 166635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000080"/>
          </a:solidFill>
          <a:ln w="9525">
            <a:solidFill>
              <a:schemeClr val="bg2"/>
            </a:solidFill>
            <a:round/>
            <a:headEnd/>
            <a:tailEnd/>
          </a:ln>
        </p:spPr>
        <p:txBody>
          <a:bodyPr/>
          <a:lstStyle/>
          <a:p>
            <a:endParaRPr lang="en-US" dirty="0"/>
          </a:p>
        </p:txBody>
      </p:sp>
      <p:sp>
        <p:nvSpPr>
          <p:cNvPr id="19482" name="Freeform 25"/>
          <p:cNvSpPr>
            <a:spLocks noChangeAspect="1"/>
          </p:cNvSpPr>
          <p:nvPr>
            <p:custDataLst>
              <p:tags r:id="rId2"/>
            </p:custDataLst>
          </p:nvPr>
        </p:nvSpPr>
        <p:spPr bwMode="auto">
          <a:xfrm>
            <a:off x="1552575" y="1473200"/>
            <a:ext cx="238125" cy="169863"/>
          </a:xfrm>
          <a:custGeom>
            <a:avLst/>
            <a:gdLst>
              <a:gd name="T0" fmla="*/ 40347 w 301"/>
              <a:gd name="T1" fmla="*/ 154665 h 190"/>
              <a:gd name="T2" fmla="*/ 40347 w 301"/>
              <a:gd name="T3" fmla="*/ 139466 h 190"/>
              <a:gd name="T4" fmla="*/ 26898 w 301"/>
              <a:gd name="T5" fmla="*/ 139466 h 190"/>
              <a:gd name="T6" fmla="*/ 13449 w 301"/>
              <a:gd name="T7" fmla="*/ 139466 h 190"/>
              <a:gd name="T8" fmla="*/ 0 w 301"/>
              <a:gd name="T9" fmla="*/ 124268 h 190"/>
              <a:gd name="T10" fmla="*/ 13449 w 301"/>
              <a:gd name="T11" fmla="*/ 108176 h 190"/>
              <a:gd name="T12" fmla="*/ 40347 w 301"/>
              <a:gd name="T13" fmla="*/ 61687 h 190"/>
              <a:gd name="T14" fmla="*/ 40347 w 301"/>
              <a:gd name="T15" fmla="*/ 48277 h 190"/>
              <a:gd name="T16" fmla="*/ 40347 w 301"/>
              <a:gd name="T17" fmla="*/ 33079 h 190"/>
              <a:gd name="T18" fmla="*/ 40347 w 301"/>
              <a:gd name="T19" fmla="*/ 17880 h 190"/>
              <a:gd name="T20" fmla="*/ 26898 w 301"/>
              <a:gd name="T21" fmla="*/ 17880 h 190"/>
              <a:gd name="T22" fmla="*/ 40347 w 301"/>
              <a:gd name="T23" fmla="*/ 0 h 190"/>
              <a:gd name="T24" fmla="*/ 56169 w 301"/>
              <a:gd name="T25" fmla="*/ 0 h 190"/>
              <a:gd name="T26" fmla="*/ 83067 w 301"/>
              <a:gd name="T27" fmla="*/ 17880 h 190"/>
              <a:gd name="T28" fmla="*/ 96516 w 301"/>
              <a:gd name="T29" fmla="*/ 0 h 190"/>
              <a:gd name="T30" fmla="*/ 110756 w 301"/>
              <a:gd name="T31" fmla="*/ 0 h 190"/>
              <a:gd name="T32" fmla="*/ 125787 w 301"/>
              <a:gd name="T33" fmla="*/ 17880 h 190"/>
              <a:gd name="T34" fmla="*/ 140818 w 301"/>
              <a:gd name="T35" fmla="*/ 17880 h 190"/>
              <a:gd name="T36" fmla="*/ 154267 w 301"/>
              <a:gd name="T37" fmla="*/ 33079 h 190"/>
              <a:gd name="T38" fmla="*/ 168507 w 301"/>
              <a:gd name="T39" fmla="*/ 17880 h 190"/>
              <a:gd name="T40" fmla="*/ 181956 w 301"/>
              <a:gd name="T41" fmla="*/ 17880 h 190"/>
              <a:gd name="T42" fmla="*/ 195405 w 301"/>
              <a:gd name="T43" fmla="*/ 33079 h 190"/>
              <a:gd name="T44" fmla="*/ 224676 w 301"/>
              <a:gd name="T45" fmla="*/ 48277 h 190"/>
              <a:gd name="T46" fmla="*/ 238125 w 301"/>
              <a:gd name="T47" fmla="*/ 48277 h 190"/>
              <a:gd name="T48" fmla="*/ 224676 w 301"/>
              <a:gd name="T49" fmla="*/ 61687 h 190"/>
              <a:gd name="T50" fmla="*/ 195405 w 301"/>
              <a:gd name="T51" fmla="*/ 77779 h 190"/>
              <a:gd name="T52" fmla="*/ 181956 w 301"/>
              <a:gd name="T53" fmla="*/ 77779 h 190"/>
              <a:gd name="T54" fmla="*/ 154267 w 301"/>
              <a:gd name="T55" fmla="*/ 92978 h 190"/>
              <a:gd name="T56" fmla="*/ 140818 w 301"/>
              <a:gd name="T57" fmla="*/ 108176 h 190"/>
              <a:gd name="T58" fmla="*/ 125787 w 301"/>
              <a:gd name="T59" fmla="*/ 139466 h 190"/>
              <a:gd name="T60" fmla="*/ 110756 w 301"/>
              <a:gd name="T61" fmla="*/ 154665 h 190"/>
              <a:gd name="T62" fmla="*/ 83067 w 301"/>
              <a:gd name="T63" fmla="*/ 154665 h 190"/>
              <a:gd name="T64" fmla="*/ 56169 w 301"/>
              <a:gd name="T65" fmla="*/ 169863 h 190"/>
              <a:gd name="T66" fmla="*/ 56169 w 301"/>
              <a:gd name="T67" fmla="*/ 154665 h 190"/>
              <a:gd name="T68" fmla="*/ 40347 w 301"/>
              <a:gd name="T69" fmla="*/ 15466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000080"/>
          </a:solidFill>
          <a:ln w="9525">
            <a:solidFill>
              <a:schemeClr val="bg2"/>
            </a:solidFill>
            <a:round/>
            <a:headEnd/>
            <a:tailEnd/>
          </a:ln>
        </p:spPr>
        <p:txBody>
          <a:bodyPr/>
          <a:lstStyle/>
          <a:p>
            <a:endParaRPr lang="en-US" dirty="0"/>
          </a:p>
        </p:txBody>
      </p:sp>
      <p:sp>
        <p:nvSpPr>
          <p:cNvPr id="19483" name="Freeform 26"/>
          <p:cNvSpPr>
            <a:spLocks noChangeAspect="1"/>
          </p:cNvSpPr>
          <p:nvPr>
            <p:custDataLst>
              <p:tags r:id="rId3"/>
            </p:custDataLst>
          </p:nvPr>
        </p:nvSpPr>
        <p:spPr bwMode="auto">
          <a:xfrm>
            <a:off x="1736725" y="1368425"/>
            <a:ext cx="258763" cy="120650"/>
          </a:xfrm>
          <a:custGeom>
            <a:avLst/>
            <a:gdLst>
              <a:gd name="T0" fmla="*/ 82047 w 328"/>
              <a:gd name="T1" fmla="*/ 104913 h 138"/>
              <a:gd name="T2" fmla="*/ 82047 w 328"/>
              <a:gd name="T3" fmla="*/ 104913 h 138"/>
              <a:gd name="T4" fmla="*/ 95458 w 328"/>
              <a:gd name="T5" fmla="*/ 90050 h 138"/>
              <a:gd name="T6" fmla="*/ 82047 w 328"/>
              <a:gd name="T7" fmla="*/ 75188 h 138"/>
              <a:gd name="T8" fmla="*/ 67846 w 328"/>
              <a:gd name="T9" fmla="*/ 90050 h 138"/>
              <a:gd name="T10" fmla="*/ 41023 w 328"/>
              <a:gd name="T11" fmla="*/ 90050 h 138"/>
              <a:gd name="T12" fmla="*/ 13411 w 328"/>
              <a:gd name="T13" fmla="*/ 90050 h 138"/>
              <a:gd name="T14" fmla="*/ 0 w 328"/>
              <a:gd name="T15" fmla="*/ 75188 h 138"/>
              <a:gd name="T16" fmla="*/ 13411 w 328"/>
              <a:gd name="T17" fmla="*/ 60325 h 138"/>
              <a:gd name="T18" fmla="*/ 41023 w 328"/>
              <a:gd name="T19" fmla="*/ 60325 h 138"/>
              <a:gd name="T20" fmla="*/ 41023 w 328"/>
              <a:gd name="T21" fmla="*/ 60325 h 138"/>
              <a:gd name="T22" fmla="*/ 13411 w 328"/>
              <a:gd name="T23" fmla="*/ 60325 h 138"/>
              <a:gd name="T24" fmla="*/ 26823 w 328"/>
              <a:gd name="T25" fmla="*/ 44588 h 138"/>
              <a:gd name="T26" fmla="*/ 54435 w 328"/>
              <a:gd name="T27" fmla="*/ 44588 h 138"/>
              <a:gd name="T28" fmla="*/ 54435 w 328"/>
              <a:gd name="T29" fmla="*/ 44588 h 138"/>
              <a:gd name="T30" fmla="*/ 26823 w 328"/>
              <a:gd name="T31" fmla="*/ 44588 h 138"/>
              <a:gd name="T32" fmla="*/ 41023 w 328"/>
              <a:gd name="T33" fmla="*/ 29725 h 138"/>
              <a:gd name="T34" fmla="*/ 41023 w 328"/>
              <a:gd name="T35" fmla="*/ 14863 h 138"/>
              <a:gd name="T36" fmla="*/ 67846 w 328"/>
              <a:gd name="T37" fmla="*/ 14863 h 138"/>
              <a:gd name="T38" fmla="*/ 95458 w 328"/>
              <a:gd name="T39" fmla="*/ 29725 h 138"/>
              <a:gd name="T40" fmla="*/ 136482 w 328"/>
              <a:gd name="T41" fmla="*/ 60325 h 138"/>
              <a:gd name="T42" fmla="*/ 177505 w 328"/>
              <a:gd name="T43" fmla="*/ 60325 h 138"/>
              <a:gd name="T44" fmla="*/ 177505 w 328"/>
              <a:gd name="T45" fmla="*/ 60325 h 138"/>
              <a:gd name="T46" fmla="*/ 177505 w 328"/>
              <a:gd name="T47" fmla="*/ 44588 h 138"/>
              <a:gd name="T48" fmla="*/ 163305 w 328"/>
              <a:gd name="T49" fmla="*/ 29725 h 138"/>
              <a:gd name="T50" fmla="*/ 149893 w 328"/>
              <a:gd name="T51" fmla="*/ 14863 h 138"/>
              <a:gd name="T52" fmla="*/ 177505 w 328"/>
              <a:gd name="T53" fmla="*/ 0 h 138"/>
              <a:gd name="T54" fmla="*/ 190917 w 328"/>
              <a:gd name="T55" fmla="*/ 14863 h 138"/>
              <a:gd name="T56" fmla="*/ 204328 w 328"/>
              <a:gd name="T57" fmla="*/ 44588 h 138"/>
              <a:gd name="T58" fmla="*/ 245352 w 328"/>
              <a:gd name="T59" fmla="*/ 29725 h 138"/>
              <a:gd name="T60" fmla="*/ 258763 w 328"/>
              <a:gd name="T61" fmla="*/ 44588 h 138"/>
              <a:gd name="T62" fmla="*/ 245352 w 328"/>
              <a:gd name="T63" fmla="*/ 90050 h 138"/>
              <a:gd name="T64" fmla="*/ 190917 w 328"/>
              <a:gd name="T65" fmla="*/ 90050 h 138"/>
              <a:gd name="T66" fmla="*/ 149893 w 328"/>
              <a:gd name="T67" fmla="*/ 104913 h 138"/>
              <a:gd name="T68" fmla="*/ 122281 w 328"/>
              <a:gd name="T69" fmla="*/ 104913 h 138"/>
              <a:gd name="T70" fmla="*/ 95458 w 328"/>
              <a:gd name="T71" fmla="*/ 120650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000080"/>
          </a:solidFill>
          <a:ln w="9525">
            <a:solidFill>
              <a:schemeClr val="bg2"/>
            </a:solidFill>
            <a:round/>
            <a:headEnd/>
            <a:tailEnd/>
          </a:ln>
        </p:spPr>
        <p:txBody>
          <a:bodyPr/>
          <a:lstStyle/>
          <a:p>
            <a:endParaRPr lang="en-US" dirty="0"/>
          </a:p>
        </p:txBody>
      </p:sp>
      <p:sp>
        <p:nvSpPr>
          <p:cNvPr id="19484" name="Freeform 27"/>
          <p:cNvSpPr>
            <a:spLocks noChangeAspect="1"/>
          </p:cNvSpPr>
          <p:nvPr>
            <p:custDataLst>
              <p:tags r:id="rId4"/>
            </p:custDataLst>
          </p:nvPr>
        </p:nvSpPr>
        <p:spPr bwMode="auto">
          <a:xfrm>
            <a:off x="1622425" y="1336675"/>
            <a:ext cx="155575" cy="92075"/>
          </a:xfrm>
          <a:custGeom>
            <a:avLst/>
            <a:gdLst>
              <a:gd name="T0" fmla="*/ 155575 w 196"/>
              <a:gd name="T1" fmla="*/ 0 h 104"/>
              <a:gd name="T2" fmla="*/ 155575 w 196"/>
              <a:gd name="T3" fmla="*/ 15051 h 104"/>
              <a:gd name="T4" fmla="*/ 140494 w 196"/>
              <a:gd name="T5" fmla="*/ 15051 h 104"/>
              <a:gd name="T6" fmla="*/ 140494 w 196"/>
              <a:gd name="T7" fmla="*/ 30987 h 104"/>
              <a:gd name="T8" fmla="*/ 155575 w 196"/>
              <a:gd name="T9" fmla="*/ 30987 h 104"/>
              <a:gd name="T10" fmla="*/ 140494 w 196"/>
              <a:gd name="T11" fmla="*/ 30987 h 104"/>
              <a:gd name="T12" fmla="*/ 112713 w 196"/>
              <a:gd name="T13" fmla="*/ 61088 h 104"/>
              <a:gd name="T14" fmla="*/ 99219 w 196"/>
              <a:gd name="T15" fmla="*/ 46038 h 104"/>
              <a:gd name="T16" fmla="*/ 99219 w 196"/>
              <a:gd name="T17" fmla="*/ 30987 h 104"/>
              <a:gd name="T18" fmla="*/ 84931 w 196"/>
              <a:gd name="T19" fmla="*/ 46038 h 104"/>
              <a:gd name="T20" fmla="*/ 84931 w 196"/>
              <a:gd name="T21" fmla="*/ 61088 h 104"/>
              <a:gd name="T22" fmla="*/ 71438 w 196"/>
              <a:gd name="T23" fmla="*/ 61088 h 104"/>
              <a:gd name="T24" fmla="*/ 71438 w 196"/>
              <a:gd name="T25" fmla="*/ 76139 h 104"/>
              <a:gd name="T26" fmla="*/ 71438 w 196"/>
              <a:gd name="T27" fmla="*/ 92075 h 104"/>
              <a:gd name="T28" fmla="*/ 54769 w 196"/>
              <a:gd name="T29" fmla="*/ 92075 h 104"/>
              <a:gd name="T30" fmla="*/ 41275 w 196"/>
              <a:gd name="T31" fmla="*/ 92075 h 104"/>
              <a:gd name="T32" fmla="*/ 41275 w 196"/>
              <a:gd name="T33" fmla="*/ 76139 h 104"/>
              <a:gd name="T34" fmla="*/ 26988 w 196"/>
              <a:gd name="T35" fmla="*/ 76139 h 104"/>
              <a:gd name="T36" fmla="*/ 13494 w 196"/>
              <a:gd name="T37" fmla="*/ 76139 h 104"/>
              <a:gd name="T38" fmla="*/ 0 w 196"/>
              <a:gd name="T39" fmla="*/ 76139 h 104"/>
              <a:gd name="T40" fmla="*/ 0 w 196"/>
              <a:gd name="T41" fmla="*/ 61088 h 104"/>
              <a:gd name="T42" fmla="*/ 13494 w 196"/>
              <a:gd name="T43" fmla="*/ 46038 h 104"/>
              <a:gd name="T44" fmla="*/ 26988 w 196"/>
              <a:gd name="T45" fmla="*/ 46038 h 104"/>
              <a:gd name="T46" fmla="*/ 41275 w 196"/>
              <a:gd name="T47" fmla="*/ 30987 h 104"/>
              <a:gd name="T48" fmla="*/ 54769 w 196"/>
              <a:gd name="T49" fmla="*/ 30987 h 104"/>
              <a:gd name="T50" fmla="*/ 71438 w 196"/>
              <a:gd name="T51" fmla="*/ 30987 h 104"/>
              <a:gd name="T52" fmla="*/ 71438 w 196"/>
              <a:gd name="T53" fmla="*/ 15051 h 104"/>
              <a:gd name="T54" fmla="*/ 84931 w 196"/>
              <a:gd name="T55" fmla="*/ 0 h 104"/>
              <a:gd name="T56" fmla="*/ 99219 w 196"/>
              <a:gd name="T57" fmla="*/ 0 h 104"/>
              <a:gd name="T58" fmla="*/ 112713 w 196"/>
              <a:gd name="T59" fmla="*/ 0 h 104"/>
              <a:gd name="T60" fmla="*/ 140494 w 196"/>
              <a:gd name="T61" fmla="*/ 0 h 104"/>
              <a:gd name="T62" fmla="*/ 155575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000080"/>
          </a:solidFill>
          <a:ln w="9525">
            <a:solidFill>
              <a:schemeClr val="bg2"/>
            </a:solidFill>
            <a:round/>
            <a:headEnd/>
            <a:tailEnd/>
          </a:ln>
        </p:spPr>
        <p:txBody>
          <a:bodyPr/>
          <a:lstStyle/>
          <a:p>
            <a:endParaRPr lang="en-US" dirty="0"/>
          </a:p>
        </p:txBody>
      </p:sp>
      <p:sp>
        <p:nvSpPr>
          <p:cNvPr id="19485" name="Freeform 28"/>
          <p:cNvSpPr>
            <a:spLocks noChangeAspect="1"/>
          </p:cNvSpPr>
          <p:nvPr>
            <p:custDataLst>
              <p:tags r:id="rId5"/>
            </p:custDataLst>
          </p:nvPr>
        </p:nvSpPr>
        <p:spPr bwMode="auto">
          <a:xfrm>
            <a:off x="1828800" y="1274763"/>
            <a:ext cx="85725" cy="34925"/>
          </a:xfrm>
          <a:custGeom>
            <a:avLst/>
            <a:gdLst>
              <a:gd name="T0" fmla="*/ 29114 w 106"/>
              <a:gd name="T1" fmla="*/ 34925 h 36"/>
              <a:gd name="T2" fmla="*/ 13748 w 106"/>
              <a:gd name="T3" fmla="*/ 16492 h 36"/>
              <a:gd name="T4" fmla="*/ 0 w 106"/>
              <a:gd name="T5" fmla="*/ 16492 h 36"/>
              <a:gd name="T6" fmla="*/ 0 w 106"/>
              <a:gd name="T7" fmla="*/ 34925 h 36"/>
              <a:gd name="T8" fmla="*/ 0 w 106"/>
              <a:gd name="T9" fmla="*/ 0 h 36"/>
              <a:gd name="T10" fmla="*/ 29114 w 106"/>
              <a:gd name="T11" fmla="*/ 0 h 36"/>
              <a:gd name="T12" fmla="*/ 43671 w 106"/>
              <a:gd name="T13" fmla="*/ 0 h 36"/>
              <a:gd name="T14" fmla="*/ 57420 w 106"/>
              <a:gd name="T15" fmla="*/ 0 h 36"/>
              <a:gd name="T16" fmla="*/ 71168 w 106"/>
              <a:gd name="T17" fmla="*/ 0 h 36"/>
              <a:gd name="T18" fmla="*/ 85725 w 106"/>
              <a:gd name="T19" fmla="*/ 16492 h 36"/>
              <a:gd name="T20" fmla="*/ 71168 w 106"/>
              <a:gd name="T21" fmla="*/ 16492 h 36"/>
              <a:gd name="T22" fmla="*/ 57420 w 106"/>
              <a:gd name="T23" fmla="*/ 34925 h 36"/>
              <a:gd name="T24" fmla="*/ 43671 w 106"/>
              <a:gd name="T25" fmla="*/ 34925 h 36"/>
              <a:gd name="T26" fmla="*/ 29114 w 106"/>
              <a:gd name="T27" fmla="*/ 34925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000080"/>
          </a:solidFill>
          <a:ln w="9525">
            <a:solidFill>
              <a:schemeClr val="bg2"/>
            </a:solidFill>
            <a:round/>
            <a:headEnd/>
            <a:tailEnd/>
          </a:ln>
        </p:spPr>
        <p:txBody>
          <a:bodyPr/>
          <a:lstStyle/>
          <a:p>
            <a:endParaRPr lang="en-US" dirty="0"/>
          </a:p>
        </p:txBody>
      </p:sp>
      <p:sp>
        <p:nvSpPr>
          <p:cNvPr id="19486" name="Freeform 29"/>
          <p:cNvSpPr>
            <a:spLocks noChangeAspect="1"/>
          </p:cNvSpPr>
          <p:nvPr>
            <p:custDataLst>
              <p:tags r:id="rId6"/>
            </p:custDataLst>
          </p:nvPr>
        </p:nvSpPr>
        <p:spPr bwMode="auto">
          <a:xfrm>
            <a:off x="1828800" y="1309688"/>
            <a:ext cx="73025" cy="44450"/>
          </a:xfrm>
          <a:custGeom>
            <a:avLst/>
            <a:gdLst>
              <a:gd name="T0" fmla="*/ 58918 w 88"/>
              <a:gd name="T1" fmla="*/ 15387 h 52"/>
              <a:gd name="T2" fmla="*/ 44811 w 88"/>
              <a:gd name="T3" fmla="*/ 29918 h 52"/>
              <a:gd name="T4" fmla="*/ 14107 w 88"/>
              <a:gd name="T5" fmla="*/ 44450 h 52"/>
              <a:gd name="T6" fmla="*/ 0 w 88"/>
              <a:gd name="T7" fmla="*/ 29918 h 52"/>
              <a:gd name="T8" fmla="*/ 0 w 88"/>
              <a:gd name="T9" fmla="*/ 15387 h 52"/>
              <a:gd name="T10" fmla="*/ 0 w 88"/>
              <a:gd name="T11" fmla="*/ 0 h 52"/>
              <a:gd name="T12" fmla="*/ 44811 w 88"/>
              <a:gd name="T13" fmla="*/ 0 h 52"/>
              <a:gd name="T14" fmla="*/ 58918 w 88"/>
              <a:gd name="T15" fmla="*/ 0 h 52"/>
              <a:gd name="T16" fmla="*/ 73025 w 88"/>
              <a:gd name="T17" fmla="*/ 0 h 52"/>
              <a:gd name="T18" fmla="*/ 73025 w 88"/>
              <a:gd name="T19" fmla="*/ 15387 h 52"/>
              <a:gd name="T20" fmla="*/ 58918 w 88"/>
              <a:gd name="T21" fmla="*/ 15387 h 52"/>
              <a:gd name="T22" fmla="*/ 44811 w 88"/>
              <a:gd name="T23" fmla="*/ 15387 h 52"/>
              <a:gd name="T24" fmla="*/ 58918 w 88"/>
              <a:gd name="T25" fmla="*/ 1538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000080"/>
          </a:solidFill>
          <a:ln w="9525">
            <a:solidFill>
              <a:schemeClr val="bg2"/>
            </a:solidFill>
            <a:round/>
            <a:headEnd/>
            <a:tailEnd/>
          </a:ln>
        </p:spPr>
        <p:txBody>
          <a:bodyPr/>
          <a:lstStyle/>
          <a:p>
            <a:endParaRPr lang="en-US" dirty="0"/>
          </a:p>
        </p:txBody>
      </p:sp>
      <p:sp>
        <p:nvSpPr>
          <p:cNvPr id="19487" name="Freeform 30"/>
          <p:cNvSpPr>
            <a:spLocks noChangeAspect="1"/>
          </p:cNvSpPr>
          <p:nvPr>
            <p:custDataLst>
              <p:tags r:id="rId7"/>
            </p:custDataLst>
          </p:nvPr>
        </p:nvSpPr>
        <p:spPr bwMode="auto">
          <a:xfrm>
            <a:off x="1790700" y="1368425"/>
            <a:ext cx="26988" cy="1588"/>
          </a:xfrm>
          <a:custGeom>
            <a:avLst/>
            <a:gdLst>
              <a:gd name="T0" fmla="*/ 13108 w 35"/>
              <a:gd name="T1" fmla="*/ 0 h 1588"/>
              <a:gd name="T2" fmla="*/ 0 w 35"/>
              <a:gd name="T3" fmla="*/ 0 h 1588"/>
              <a:gd name="T4" fmla="*/ 13108 w 35"/>
              <a:gd name="T5" fmla="*/ 0 h 1588"/>
              <a:gd name="T6" fmla="*/ 26988 w 35"/>
              <a:gd name="T7" fmla="*/ 0 h 1588"/>
              <a:gd name="T8" fmla="*/ 13108 w 35"/>
              <a:gd name="T9" fmla="*/ 0 h 1588"/>
              <a:gd name="T10" fmla="*/ 0 60000 65536"/>
              <a:gd name="T11" fmla="*/ 0 60000 65536"/>
              <a:gd name="T12" fmla="*/ 0 60000 65536"/>
              <a:gd name="T13" fmla="*/ 0 60000 65536"/>
              <a:gd name="T14" fmla="*/ 0 60000 65536"/>
              <a:gd name="T15" fmla="*/ 0 w 35"/>
              <a:gd name="T16" fmla="*/ 0 h 1588"/>
              <a:gd name="T17" fmla="*/ 35 w 35"/>
              <a:gd name="T18" fmla="*/ 1588 h 1588"/>
            </a:gdLst>
            <a:ahLst/>
            <a:cxnLst>
              <a:cxn ang="T10">
                <a:pos x="T0" y="T1"/>
              </a:cxn>
              <a:cxn ang="T11">
                <a:pos x="T2" y="T3"/>
              </a:cxn>
              <a:cxn ang="T12">
                <a:pos x="T4" y="T5"/>
              </a:cxn>
              <a:cxn ang="T13">
                <a:pos x="T6" y="T7"/>
              </a:cxn>
              <a:cxn ang="T14">
                <a:pos x="T8" y="T9"/>
              </a:cxn>
            </a:cxnLst>
            <a:rect l="T15" t="T16" r="T17" b="T18"/>
            <a:pathLst>
              <a:path w="35" h="1588">
                <a:moveTo>
                  <a:pt x="17" y="0"/>
                </a:moveTo>
                <a:lnTo>
                  <a:pt x="0" y="0"/>
                </a:lnTo>
                <a:lnTo>
                  <a:pt x="17" y="0"/>
                </a:lnTo>
                <a:lnTo>
                  <a:pt x="35" y="0"/>
                </a:lnTo>
                <a:lnTo>
                  <a:pt x="17"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88" name="Freeform 31"/>
          <p:cNvSpPr>
            <a:spLocks noChangeAspect="1"/>
          </p:cNvSpPr>
          <p:nvPr>
            <p:custDataLst>
              <p:tags r:id="rId8"/>
            </p:custDataLst>
          </p:nvPr>
        </p:nvSpPr>
        <p:spPr bwMode="auto">
          <a:xfrm>
            <a:off x="2012950" y="1368425"/>
            <a:ext cx="150813" cy="93663"/>
          </a:xfrm>
          <a:custGeom>
            <a:avLst/>
            <a:gdLst>
              <a:gd name="T0" fmla="*/ 14770 w 194"/>
              <a:gd name="T1" fmla="*/ 30329 h 105"/>
              <a:gd name="T2" fmla="*/ 14770 w 194"/>
              <a:gd name="T3" fmla="*/ 15164 h 105"/>
              <a:gd name="T4" fmla="*/ 0 w 194"/>
              <a:gd name="T5" fmla="*/ 0 h 105"/>
              <a:gd name="T6" fmla="*/ 14770 w 194"/>
              <a:gd name="T7" fmla="*/ 0 h 105"/>
              <a:gd name="T8" fmla="*/ 41979 w 194"/>
              <a:gd name="T9" fmla="*/ 15164 h 105"/>
              <a:gd name="T10" fmla="*/ 55194 w 194"/>
              <a:gd name="T11" fmla="*/ 47278 h 105"/>
              <a:gd name="T12" fmla="*/ 82403 w 194"/>
              <a:gd name="T13" fmla="*/ 47278 h 105"/>
              <a:gd name="T14" fmla="*/ 69187 w 194"/>
              <a:gd name="T15" fmla="*/ 47278 h 105"/>
              <a:gd name="T16" fmla="*/ 55194 w 194"/>
              <a:gd name="T17" fmla="*/ 30329 h 105"/>
              <a:gd name="T18" fmla="*/ 55194 w 194"/>
              <a:gd name="T19" fmla="*/ 15164 h 105"/>
              <a:gd name="T20" fmla="*/ 69187 w 194"/>
              <a:gd name="T21" fmla="*/ 30329 h 105"/>
              <a:gd name="T22" fmla="*/ 97173 w 194"/>
              <a:gd name="T23" fmla="*/ 30329 h 105"/>
              <a:gd name="T24" fmla="*/ 97173 w 194"/>
              <a:gd name="T25" fmla="*/ 47278 h 105"/>
              <a:gd name="T26" fmla="*/ 97173 w 194"/>
              <a:gd name="T27" fmla="*/ 30329 h 105"/>
              <a:gd name="T28" fmla="*/ 97173 w 194"/>
              <a:gd name="T29" fmla="*/ 15164 h 105"/>
              <a:gd name="T30" fmla="*/ 82403 w 194"/>
              <a:gd name="T31" fmla="*/ 15164 h 105"/>
              <a:gd name="T32" fmla="*/ 82403 w 194"/>
              <a:gd name="T33" fmla="*/ 0 h 105"/>
              <a:gd name="T34" fmla="*/ 97173 w 194"/>
              <a:gd name="T35" fmla="*/ 0 h 105"/>
              <a:gd name="T36" fmla="*/ 110389 w 194"/>
              <a:gd name="T37" fmla="*/ 15164 h 105"/>
              <a:gd name="T38" fmla="*/ 124382 w 194"/>
              <a:gd name="T39" fmla="*/ 15164 h 105"/>
              <a:gd name="T40" fmla="*/ 137597 w 194"/>
              <a:gd name="T41" fmla="*/ 15164 h 105"/>
              <a:gd name="T42" fmla="*/ 137597 w 194"/>
              <a:gd name="T43" fmla="*/ 0 h 105"/>
              <a:gd name="T44" fmla="*/ 137597 w 194"/>
              <a:gd name="T45" fmla="*/ 15164 h 105"/>
              <a:gd name="T46" fmla="*/ 150813 w 194"/>
              <a:gd name="T47" fmla="*/ 15164 h 105"/>
              <a:gd name="T48" fmla="*/ 150813 w 194"/>
              <a:gd name="T49" fmla="*/ 30329 h 105"/>
              <a:gd name="T50" fmla="*/ 150813 w 194"/>
              <a:gd name="T51" fmla="*/ 63334 h 105"/>
              <a:gd name="T52" fmla="*/ 137597 w 194"/>
              <a:gd name="T53" fmla="*/ 63334 h 105"/>
              <a:gd name="T54" fmla="*/ 137597 w 194"/>
              <a:gd name="T55" fmla="*/ 93663 h 105"/>
              <a:gd name="T56" fmla="*/ 124382 w 194"/>
              <a:gd name="T57" fmla="*/ 93663 h 105"/>
              <a:gd name="T58" fmla="*/ 110389 w 194"/>
              <a:gd name="T59" fmla="*/ 93663 h 105"/>
              <a:gd name="T60" fmla="*/ 97173 w 194"/>
              <a:gd name="T61" fmla="*/ 93663 h 105"/>
              <a:gd name="T62" fmla="*/ 97173 w 194"/>
              <a:gd name="T63" fmla="*/ 78499 h 105"/>
              <a:gd name="T64" fmla="*/ 97173 w 194"/>
              <a:gd name="T65" fmla="*/ 63334 h 105"/>
              <a:gd name="T66" fmla="*/ 110389 w 194"/>
              <a:gd name="T67" fmla="*/ 63334 h 105"/>
              <a:gd name="T68" fmla="*/ 97173 w 194"/>
              <a:gd name="T69" fmla="*/ 63334 h 105"/>
              <a:gd name="T70" fmla="*/ 69187 w 194"/>
              <a:gd name="T71" fmla="*/ 63334 h 105"/>
              <a:gd name="T72" fmla="*/ 55194 w 194"/>
              <a:gd name="T73" fmla="*/ 63334 h 105"/>
              <a:gd name="T74" fmla="*/ 41979 w 194"/>
              <a:gd name="T75" fmla="*/ 63334 h 105"/>
              <a:gd name="T76" fmla="*/ 28763 w 194"/>
              <a:gd name="T77" fmla="*/ 63334 h 105"/>
              <a:gd name="T78" fmla="*/ 28763 w 194"/>
              <a:gd name="T79" fmla="*/ 47278 h 105"/>
              <a:gd name="T80" fmla="*/ 14770 w 194"/>
              <a:gd name="T81" fmla="*/ 47278 h 105"/>
              <a:gd name="T82" fmla="*/ 14770 w 194"/>
              <a:gd name="T83" fmla="*/ 30329 h 105"/>
              <a:gd name="T84" fmla="*/ 14770 w 194"/>
              <a:gd name="T85" fmla="*/ 15164 h 105"/>
              <a:gd name="T86" fmla="*/ 14770 w 194"/>
              <a:gd name="T87" fmla="*/ 30329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89" name="Freeform 32"/>
          <p:cNvSpPr>
            <a:spLocks noChangeAspect="1"/>
          </p:cNvSpPr>
          <p:nvPr>
            <p:custDataLst>
              <p:tags r:id="rId9"/>
            </p:custDataLst>
          </p:nvPr>
        </p:nvSpPr>
        <p:spPr bwMode="auto">
          <a:xfrm>
            <a:off x="1982788" y="1322388"/>
            <a:ext cx="30162" cy="31750"/>
          </a:xfrm>
          <a:custGeom>
            <a:avLst/>
            <a:gdLst>
              <a:gd name="T0" fmla="*/ 30162 w 38"/>
              <a:gd name="T1" fmla="*/ 14993 h 36"/>
              <a:gd name="T2" fmla="*/ 30162 w 38"/>
              <a:gd name="T3" fmla="*/ 31750 h 36"/>
              <a:gd name="T4" fmla="*/ 15081 w 38"/>
              <a:gd name="T5" fmla="*/ 31750 h 36"/>
              <a:gd name="T6" fmla="*/ 0 w 38"/>
              <a:gd name="T7" fmla="*/ 14993 h 36"/>
              <a:gd name="T8" fmla="*/ 0 w 38"/>
              <a:gd name="T9" fmla="*/ 0 h 36"/>
              <a:gd name="T10" fmla="*/ 15081 w 38"/>
              <a:gd name="T11" fmla="*/ 0 h 36"/>
              <a:gd name="T12" fmla="*/ 30162 w 38"/>
              <a:gd name="T13" fmla="*/ 14993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0" name="Freeform 33"/>
          <p:cNvSpPr>
            <a:spLocks noChangeAspect="1"/>
          </p:cNvSpPr>
          <p:nvPr>
            <p:custDataLst>
              <p:tags r:id="rId10"/>
            </p:custDataLst>
          </p:nvPr>
        </p:nvSpPr>
        <p:spPr bwMode="auto">
          <a:xfrm>
            <a:off x="2012950" y="1428750"/>
            <a:ext cx="30163" cy="33338"/>
          </a:xfrm>
          <a:custGeom>
            <a:avLst/>
            <a:gdLst>
              <a:gd name="T0" fmla="*/ 14695 w 39"/>
              <a:gd name="T1" fmla="*/ 0 h 36"/>
              <a:gd name="T2" fmla="*/ 30163 w 39"/>
              <a:gd name="T3" fmla="*/ 17595 h 36"/>
              <a:gd name="T4" fmla="*/ 14695 w 39"/>
              <a:gd name="T5" fmla="*/ 33338 h 36"/>
              <a:gd name="T6" fmla="*/ 0 w 39"/>
              <a:gd name="T7" fmla="*/ 33338 h 36"/>
              <a:gd name="T8" fmla="*/ 0 w 39"/>
              <a:gd name="T9" fmla="*/ 17595 h 36"/>
              <a:gd name="T10" fmla="*/ 0 w 39"/>
              <a:gd name="T11" fmla="*/ 0 h 36"/>
              <a:gd name="T12" fmla="*/ 14695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1" name="Freeform 34"/>
          <p:cNvSpPr>
            <a:spLocks noChangeAspect="1"/>
          </p:cNvSpPr>
          <p:nvPr>
            <p:custDataLst>
              <p:tags r:id="rId11"/>
            </p:custDataLst>
          </p:nvPr>
        </p:nvSpPr>
        <p:spPr bwMode="auto">
          <a:xfrm>
            <a:off x="2066925" y="1309688"/>
            <a:ext cx="26988" cy="12700"/>
          </a:xfrm>
          <a:custGeom>
            <a:avLst/>
            <a:gdLst>
              <a:gd name="T0" fmla="*/ 0 w 37"/>
              <a:gd name="T1" fmla="*/ 12700 h 16"/>
              <a:gd name="T2" fmla="*/ 0 w 37"/>
              <a:gd name="T3" fmla="*/ 0 h 16"/>
              <a:gd name="T4" fmla="*/ 14588 w 37"/>
              <a:gd name="T5" fmla="*/ 0 h 16"/>
              <a:gd name="T6" fmla="*/ 14588 w 37"/>
              <a:gd name="T7" fmla="*/ 12700 h 16"/>
              <a:gd name="T8" fmla="*/ 26988 w 37"/>
              <a:gd name="T9" fmla="*/ 12700 h 16"/>
              <a:gd name="T10" fmla="*/ 14588 w 37"/>
              <a:gd name="T11" fmla="*/ 12700 h 16"/>
              <a:gd name="T12" fmla="*/ 0 w 37"/>
              <a:gd name="T13" fmla="*/ 12700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2" name="Freeform 35"/>
          <p:cNvSpPr>
            <a:spLocks noChangeAspect="1"/>
          </p:cNvSpPr>
          <p:nvPr>
            <p:custDataLst>
              <p:tags r:id="rId12"/>
            </p:custDataLst>
          </p:nvPr>
        </p:nvSpPr>
        <p:spPr bwMode="auto">
          <a:xfrm>
            <a:off x="2122488" y="1200150"/>
            <a:ext cx="26987" cy="15875"/>
          </a:xfrm>
          <a:custGeom>
            <a:avLst/>
            <a:gdLst>
              <a:gd name="T0" fmla="*/ 26987 w 37"/>
              <a:gd name="T1" fmla="*/ 0 h 19"/>
              <a:gd name="T2" fmla="*/ 26987 w 37"/>
              <a:gd name="T3" fmla="*/ 15875 h 19"/>
              <a:gd name="T4" fmla="*/ 13129 w 37"/>
              <a:gd name="T5" fmla="*/ 15875 h 19"/>
              <a:gd name="T6" fmla="*/ 0 w 37"/>
              <a:gd name="T7" fmla="*/ 0 h 19"/>
              <a:gd name="T8" fmla="*/ 13129 w 37"/>
              <a:gd name="T9" fmla="*/ 0 h 19"/>
              <a:gd name="T10" fmla="*/ 26987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3" name="Freeform 36"/>
          <p:cNvSpPr>
            <a:spLocks noChangeAspect="1"/>
          </p:cNvSpPr>
          <p:nvPr>
            <p:custDataLst>
              <p:tags r:id="rId13"/>
            </p:custDataLst>
          </p:nvPr>
        </p:nvSpPr>
        <p:spPr bwMode="auto">
          <a:xfrm>
            <a:off x="2000250" y="1231900"/>
            <a:ext cx="139700" cy="90488"/>
          </a:xfrm>
          <a:custGeom>
            <a:avLst/>
            <a:gdLst>
              <a:gd name="T0" fmla="*/ 99117 w 179"/>
              <a:gd name="T1" fmla="*/ 74520 h 102"/>
              <a:gd name="T2" fmla="*/ 70240 w 179"/>
              <a:gd name="T3" fmla="*/ 59438 h 102"/>
              <a:gd name="T4" fmla="*/ 56973 w 179"/>
              <a:gd name="T5" fmla="*/ 59438 h 102"/>
              <a:gd name="T6" fmla="*/ 43705 w 179"/>
              <a:gd name="T7" fmla="*/ 59438 h 102"/>
              <a:gd name="T8" fmla="*/ 30437 w 179"/>
              <a:gd name="T9" fmla="*/ 59438 h 102"/>
              <a:gd name="T10" fmla="*/ 14828 w 179"/>
              <a:gd name="T11" fmla="*/ 59438 h 102"/>
              <a:gd name="T12" fmla="*/ 14828 w 179"/>
              <a:gd name="T13" fmla="*/ 44357 h 102"/>
              <a:gd name="T14" fmla="*/ 30437 w 179"/>
              <a:gd name="T15" fmla="*/ 44357 h 102"/>
              <a:gd name="T16" fmla="*/ 14828 w 179"/>
              <a:gd name="T17" fmla="*/ 44357 h 102"/>
              <a:gd name="T18" fmla="*/ 14828 w 179"/>
              <a:gd name="T19" fmla="*/ 29276 h 102"/>
              <a:gd name="T20" fmla="*/ 0 w 179"/>
              <a:gd name="T21" fmla="*/ 29276 h 102"/>
              <a:gd name="T22" fmla="*/ 0 w 179"/>
              <a:gd name="T23" fmla="*/ 13307 h 102"/>
              <a:gd name="T24" fmla="*/ 14828 w 179"/>
              <a:gd name="T25" fmla="*/ 13307 h 102"/>
              <a:gd name="T26" fmla="*/ 14828 w 179"/>
              <a:gd name="T27" fmla="*/ 0 h 102"/>
              <a:gd name="T28" fmla="*/ 30437 w 179"/>
              <a:gd name="T29" fmla="*/ 13307 h 102"/>
              <a:gd name="T30" fmla="*/ 43705 w 179"/>
              <a:gd name="T31" fmla="*/ 13307 h 102"/>
              <a:gd name="T32" fmla="*/ 56973 w 179"/>
              <a:gd name="T33" fmla="*/ 29276 h 102"/>
              <a:gd name="T34" fmla="*/ 56973 w 179"/>
              <a:gd name="T35" fmla="*/ 13307 h 102"/>
              <a:gd name="T36" fmla="*/ 70240 w 179"/>
              <a:gd name="T37" fmla="*/ 13307 h 102"/>
              <a:gd name="T38" fmla="*/ 84288 w 179"/>
              <a:gd name="T39" fmla="*/ 29276 h 102"/>
              <a:gd name="T40" fmla="*/ 84288 w 179"/>
              <a:gd name="T41" fmla="*/ 44357 h 102"/>
              <a:gd name="T42" fmla="*/ 99117 w 179"/>
              <a:gd name="T43" fmla="*/ 44357 h 102"/>
              <a:gd name="T44" fmla="*/ 99117 w 179"/>
              <a:gd name="T45" fmla="*/ 29276 h 102"/>
              <a:gd name="T46" fmla="*/ 112384 w 179"/>
              <a:gd name="T47" fmla="*/ 29276 h 102"/>
              <a:gd name="T48" fmla="*/ 112384 w 179"/>
              <a:gd name="T49" fmla="*/ 44357 h 102"/>
              <a:gd name="T50" fmla="*/ 125652 w 179"/>
              <a:gd name="T51" fmla="*/ 44357 h 102"/>
              <a:gd name="T52" fmla="*/ 112384 w 179"/>
              <a:gd name="T53" fmla="*/ 44357 h 102"/>
              <a:gd name="T54" fmla="*/ 125652 w 179"/>
              <a:gd name="T55" fmla="*/ 59438 h 102"/>
              <a:gd name="T56" fmla="*/ 139700 w 179"/>
              <a:gd name="T57" fmla="*/ 74520 h 102"/>
              <a:gd name="T58" fmla="*/ 139700 w 179"/>
              <a:gd name="T59" fmla="*/ 90488 h 102"/>
              <a:gd name="T60" fmla="*/ 125652 w 179"/>
              <a:gd name="T61" fmla="*/ 90488 h 102"/>
              <a:gd name="T62" fmla="*/ 112384 w 179"/>
              <a:gd name="T63" fmla="*/ 90488 h 102"/>
              <a:gd name="T64" fmla="*/ 112384 w 179"/>
              <a:gd name="T65" fmla="*/ 74520 h 102"/>
              <a:gd name="T66" fmla="*/ 99117 w 179"/>
              <a:gd name="T67" fmla="*/ 74520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4" name="Freeform 37"/>
          <p:cNvSpPr>
            <a:spLocks noChangeAspect="1"/>
          </p:cNvSpPr>
          <p:nvPr>
            <p:custDataLst>
              <p:tags r:id="rId14"/>
            </p:custDataLst>
          </p:nvPr>
        </p:nvSpPr>
        <p:spPr bwMode="auto">
          <a:xfrm>
            <a:off x="2192338" y="1354138"/>
            <a:ext cx="374650" cy="119062"/>
          </a:xfrm>
          <a:custGeom>
            <a:avLst/>
            <a:gdLst>
              <a:gd name="T0" fmla="*/ 359695 w 476"/>
              <a:gd name="T1" fmla="*/ 91047 h 136"/>
              <a:gd name="T2" fmla="*/ 359695 w 476"/>
              <a:gd name="T3" fmla="*/ 104179 h 136"/>
              <a:gd name="T4" fmla="*/ 374650 w 476"/>
              <a:gd name="T5" fmla="*/ 104179 h 136"/>
              <a:gd name="T6" fmla="*/ 359695 w 476"/>
              <a:gd name="T7" fmla="*/ 119062 h 136"/>
              <a:gd name="T8" fmla="*/ 332148 w 476"/>
              <a:gd name="T9" fmla="*/ 119062 h 136"/>
              <a:gd name="T10" fmla="*/ 305387 w 476"/>
              <a:gd name="T11" fmla="*/ 119062 h 136"/>
              <a:gd name="T12" fmla="*/ 291220 w 476"/>
              <a:gd name="T13" fmla="*/ 119062 h 136"/>
              <a:gd name="T14" fmla="*/ 277839 w 476"/>
              <a:gd name="T15" fmla="*/ 119062 h 136"/>
              <a:gd name="T16" fmla="*/ 249504 w 476"/>
              <a:gd name="T17" fmla="*/ 119062 h 136"/>
              <a:gd name="T18" fmla="*/ 221957 w 476"/>
              <a:gd name="T19" fmla="*/ 119062 h 136"/>
              <a:gd name="T20" fmla="*/ 208576 w 476"/>
              <a:gd name="T21" fmla="*/ 119062 h 136"/>
              <a:gd name="T22" fmla="*/ 194409 w 476"/>
              <a:gd name="T23" fmla="*/ 119062 h 136"/>
              <a:gd name="T24" fmla="*/ 179454 w 476"/>
              <a:gd name="T25" fmla="*/ 119062 h 136"/>
              <a:gd name="T26" fmla="*/ 166074 w 476"/>
              <a:gd name="T27" fmla="*/ 119062 h 136"/>
              <a:gd name="T28" fmla="*/ 151119 w 476"/>
              <a:gd name="T29" fmla="*/ 119062 h 136"/>
              <a:gd name="T30" fmla="*/ 123572 w 476"/>
              <a:gd name="T31" fmla="*/ 119062 h 136"/>
              <a:gd name="T32" fmla="*/ 96811 w 476"/>
              <a:gd name="T33" fmla="*/ 104179 h 136"/>
              <a:gd name="T34" fmla="*/ 82643 w 476"/>
              <a:gd name="T35" fmla="*/ 91047 h 136"/>
              <a:gd name="T36" fmla="*/ 96811 w 476"/>
              <a:gd name="T37" fmla="*/ 91047 h 136"/>
              <a:gd name="T38" fmla="*/ 96811 w 476"/>
              <a:gd name="T39" fmla="*/ 76165 h 136"/>
              <a:gd name="T40" fmla="*/ 82643 w 476"/>
              <a:gd name="T41" fmla="*/ 76165 h 136"/>
              <a:gd name="T42" fmla="*/ 67689 w 476"/>
              <a:gd name="T43" fmla="*/ 45524 h 136"/>
              <a:gd name="T44" fmla="*/ 67689 w 476"/>
              <a:gd name="T45" fmla="*/ 30641 h 136"/>
              <a:gd name="T46" fmla="*/ 54309 w 476"/>
              <a:gd name="T47" fmla="*/ 45524 h 136"/>
              <a:gd name="T48" fmla="*/ 26761 w 476"/>
              <a:gd name="T49" fmla="*/ 30641 h 136"/>
              <a:gd name="T50" fmla="*/ 13380 w 476"/>
              <a:gd name="T51" fmla="*/ 14883 h 136"/>
              <a:gd name="T52" fmla="*/ 0 w 476"/>
              <a:gd name="T53" fmla="*/ 14883 h 136"/>
              <a:gd name="T54" fmla="*/ 13380 w 476"/>
              <a:gd name="T55" fmla="*/ 14883 h 136"/>
              <a:gd name="T56" fmla="*/ 13380 w 476"/>
              <a:gd name="T57" fmla="*/ 0 h 136"/>
              <a:gd name="T58" fmla="*/ 54309 w 476"/>
              <a:gd name="T59" fmla="*/ 14883 h 136"/>
              <a:gd name="T60" fmla="*/ 82643 w 476"/>
              <a:gd name="T61" fmla="*/ 30641 h 136"/>
              <a:gd name="T62" fmla="*/ 96811 w 476"/>
              <a:gd name="T63" fmla="*/ 30641 h 136"/>
              <a:gd name="T64" fmla="*/ 96811 w 476"/>
              <a:gd name="T65" fmla="*/ 14883 h 136"/>
              <a:gd name="T66" fmla="*/ 110191 w 476"/>
              <a:gd name="T67" fmla="*/ 14883 h 136"/>
              <a:gd name="T68" fmla="*/ 110191 w 476"/>
              <a:gd name="T69" fmla="*/ 30641 h 136"/>
              <a:gd name="T70" fmla="*/ 136952 w 476"/>
              <a:gd name="T71" fmla="*/ 45524 h 136"/>
              <a:gd name="T72" fmla="*/ 151119 w 476"/>
              <a:gd name="T73" fmla="*/ 45524 h 136"/>
              <a:gd name="T74" fmla="*/ 123572 w 476"/>
              <a:gd name="T75" fmla="*/ 45524 h 136"/>
              <a:gd name="T76" fmla="*/ 110191 w 476"/>
              <a:gd name="T77" fmla="*/ 45524 h 136"/>
              <a:gd name="T78" fmla="*/ 123572 w 476"/>
              <a:gd name="T79" fmla="*/ 76165 h 136"/>
              <a:gd name="T80" fmla="*/ 136952 w 476"/>
              <a:gd name="T81" fmla="*/ 76165 h 136"/>
              <a:gd name="T82" fmla="*/ 151119 w 476"/>
              <a:gd name="T83" fmla="*/ 76165 h 136"/>
              <a:gd name="T84" fmla="*/ 179454 w 476"/>
              <a:gd name="T85" fmla="*/ 76165 h 136"/>
              <a:gd name="T86" fmla="*/ 194409 w 476"/>
              <a:gd name="T87" fmla="*/ 91047 h 136"/>
              <a:gd name="T88" fmla="*/ 208576 w 476"/>
              <a:gd name="T89" fmla="*/ 91047 h 136"/>
              <a:gd name="T90" fmla="*/ 235337 w 476"/>
              <a:gd name="T91" fmla="*/ 76165 h 136"/>
              <a:gd name="T92" fmla="*/ 277839 w 476"/>
              <a:gd name="T93" fmla="*/ 76165 h 136"/>
              <a:gd name="T94" fmla="*/ 305387 w 476"/>
              <a:gd name="T95" fmla="*/ 76165 h 136"/>
              <a:gd name="T96" fmla="*/ 332148 w 476"/>
              <a:gd name="T97" fmla="*/ 76165 h 136"/>
              <a:gd name="T98" fmla="*/ 345528 w 476"/>
              <a:gd name="T99" fmla="*/ 76165 h 136"/>
              <a:gd name="T100" fmla="*/ 374650 w 476"/>
              <a:gd name="T101" fmla="*/ 91047 h 136"/>
              <a:gd name="T102" fmla="*/ 359695 w 476"/>
              <a:gd name="T103" fmla="*/ 910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5" name="Freeform 38"/>
          <p:cNvSpPr>
            <a:spLocks noChangeAspect="1"/>
          </p:cNvSpPr>
          <p:nvPr>
            <p:custDataLst>
              <p:tags r:id="rId15"/>
            </p:custDataLst>
          </p:nvPr>
        </p:nvSpPr>
        <p:spPr bwMode="auto">
          <a:xfrm>
            <a:off x="2192338" y="1428750"/>
            <a:ext cx="68262" cy="44450"/>
          </a:xfrm>
          <a:custGeom>
            <a:avLst/>
            <a:gdLst>
              <a:gd name="T0" fmla="*/ 13494 w 86"/>
              <a:gd name="T1" fmla="*/ 14817 h 51"/>
              <a:gd name="T2" fmla="*/ 13494 w 86"/>
              <a:gd name="T3" fmla="*/ 0 h 51"/>
              <a:gd name="T4" fmla="*/ 41275 w 86"/>
              <a:gd name="T5" fmla="*/ 0 h 51"/>
              <a:gd name="T6" fmla="*/ 54768 w 86"/>
              <a:gd name="T7" fmla="*/ 0 h 51"/>
              <a:gd name="T8" fmla="*/ 54768 w 86"/>
              <a:gd name="T9" fmla="*/ 14817 h 51"/>
              <a:gd name="T10" fmla="*/ 68262 w 86"/>
              <a:gd name="T11" fmla="*/ 29633 h 51"/>
              <a:gd name="T12" fmla="*/ 54768 w 86"/>
              <a:gd name="T13" fmla="*/ 44450 h 51"/>
              <a:gd name="T14" fmla="*/ 41275 w 86"/>
              <a:gd name="T15" fmla="*/ 44450 h 51"/>
              <a:gd name="T16" fmla="*/ 13494 w 86"/>
              <a:gd name="T17" fmla="*/ 29633 h 51"/>
              <a:gd name="T18" fmla="*/ 0 w 86"/>
              <a:gd name="T19" fmla="*/ 29633 h 51"/>
              <a:gd name="T20" fmla="*/ 13494 w 86"/>
              <a:gd name="T21" fmla="*/ 1481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6" name="Freeform 39"/>
          <p:cNvSpPr>
            <a:spLocks noChangeAspect="1"/>
          </p:cNvSpPr>
          <p:nvPr>
            <p:custDataLst>
              <p:tags r:id="rId16"/>
            </p:custDataLst>
          </p:nvPr>
        </p:nvSpPr>
        <p:spPr bwMode="auto">
          <a:xfrm>
            <a:off x="2205038" y="1322388"/>
            <a:ext cx="55562" cy="14287"/>
          </a:xfrm>
          <a:custGeom>
            <a:avLst/>
            <a:gdLst>
              <a:gd name="T0" fmla="*/ 42258 w 71"/>
              <a:gd name="T1" fmla="*/ 0 h 17"/>
              <a:gd name="T2" fmla="*/ 55562 w 71"/>
              <a:gd name="T3" fmla="*/ 0 h 17"/>
              <a:gd name="T4" fmla="*/ 55562 w 71"/>
              <a:gd name="T5" fmla="*/ 14287 h 17"/>
              <a:gd name="T6" fmla="*/ 42258 w 71"/>
              <a:gd name="T7" fmla="*/ 14287 h 17"/>
              <a:gd name="T8" fmla="*/ 28955 w 71"/>
              <a:gd name="T9" fmla="*/ 14287 h 17"/>
              <a:gd name="T10" fmla="*/ 0 w 71"/>
              <a:gd name="T11" fmla="*/ 0 h 17"/>
              <a:gd name="T12" fmla="*/ 28955 w 71"/>
              <a:gd name="T13" fmla="*/ 0 h 17"/>
              <a:gd name="T14" fmla="*/ 42258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7" name="Freeform 40"/>
          <p:cNvSpPr>
            <a:spLocks noChangeAspect="1"/>
          </p:cNvSpPr>
          <p:nvPr>
            <p:custDataLst>
              <p:tags r:id="rId17"/>
            </p:custDataLst>
          </p:nvPr>
        </p:nvSpPr>
        <p:spPr bwMode="auto">
          <a:xfrm>
            <a:off x="2155825" y="1260475"/>
            <a:ext cx="82550" cy="61913"/>
          </a:xfrm>
          <a:custGeom>
            <a:avLst/>
            <a:gdLst>
              <a:gd name="T0" fmla="*/ 26988 w 104"/>
              <a:gd name="T1" fmla="*/ 61913 h 69"/>
              <a:gd name="T2" fmla="*/ 26988 w 104"/>
              <a:gd name="T3" fmla="*/ 45762 h 69"/>
              <a:gd name="T4" fmla="*/ 13494 w 104"/>
              <a:gd name="T5" fmla="*/ 30508 h 69"/>
              <a:gd name="T6" fmla="*/ 0 w 104"/>
              <a:gd name="T7" fmla="*/ 15254 h 69"/>
              <a:gd name="T8" fmla="*/ 13494 w 104"/>
              <a:gd name="T9" fmla="*/ 0 h 69"/>
              <a:gd name="T10" fmla="*/ 26988 w 104"/>
              <a:gd name="T11" fmla="*/ 0 h 69"/>
              <a:gd name="T12" fmla="*/ 26988 w 104"/>
              <a:gd name="T13" fmla="*/ 15254 h 69"/>
              <a:gd name="T14" fmla="*/ 41275 w 104"/>
              <a:gd name="T15" fmla="*/ 15254 h 69"/>
              <a:gd name="T16" fmla="*/ 54769 w 104"/>
              <a:gd name="T17" fmla="*/ 15254 h 69"/>
              <a:gd name="T18" fmla="*/ 68263 w 104"/>
              <a:gd name="T19" fmla="*/ 15254 h 69"/>
              <a:gd name="T20" fmla="*/ 82550 w 104"/>
              <a:gd name="T21" fmla="*/ 30508 h 69"/>
              <a:gd name="T22" fmla="*/ 68263 w 104"/>
              <a:gd name="T23" fmla="*/ 30508 h 69"/>
              <a:gd name="T24" fmla="*/ 68263 w 104"/>
              <a:gd name="T25" fmla="*/ 45762 h 69"/>
              <a:gd name="T26" fmla="*/ 82550 w 104"/>
              <a:gd name="T27" fmla="*/ 61913 h 69"/>
              <a:gd name="T28" fmla="*/ 54769 w 104"/>
              <a:gd name="T29" fmla="*/ 61913 h 69"/>
              <a:gd name="T30" fmla="*/ 26988 w 104"/>
              <a:gd name="T31" fmla="*/ 61913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000080"/>
          </a:solidFill>
          <a:ln w="9525">
            <a:solidFill>
              <a:schemeClr val="bg2"/>
            </a:solidFill>
            <a:prstDash val="solid"/>
            <a:round/>
            <a:headEnd/>
            <a:tailEnd/>
          </a:ln>
        </p:spPr>
        <p:txBody>
          <a:bodyPr/>
          <a:lstStyle/>
          <a:p>
            <a:endParaRPr lang="en-US" dirty="0"/>
          </a:p>
        </p:txBody>
      </p:sp>
      <p:sp>
        <p:nvSpPr>
          <p:cNvPr id="19498" name="Freeform 41"/>
          <p:cNvSpPr>
            <a:spLocks noChangeAspect="1"/>
          </p:cNvSpPr>
          <p:nvPr>
            <p:custDataLst>
              <p:tags r:id="rId18"/>
            </p:custDataLst>
          </p:nvPr>
        </p:nvSpPr>
        <p:spPr bwMode="auto">
          <a:xfrm>
            <a:off x="2205038" y="1123950"/>
            <a:ext cx="222250" cy="185738"/>
          </a:xfrm>
          <a:custGeom>
            <a:avLst/>
            <a:gdLst>
              <a:gd name="T0" fmla="*/ 166687 w 284"/>
              <a:gd name="T1" fmla="*/ 78205 h 209"/>
              <a:gd name="T2" fmla="*/ 179991 w 284"/>
              <a:gd name="T3" fmla="*/ 63098 h 209"/>
              <a:gd name="T4" fmla="*/ 179991 w 284"/>
              <a:gd name="T5" fmla="*/ 94202 h 209"/>
              <a:gd name="T6" fmla="*/ 208946 w 284"/>
              <a:gd name="T7" fmla="*/ 94202 h 209"/>
              <a:gd name="T8" fmla="*/ 222250 w 284"/>
              <a:gd name="T9" fmla="*/ 122640 h 209"/>
              <a:gd name="T10" fmla="*/ 179991 w 284"/>
              <a:gd name="T11" fmla="*/ 153745 h 209"/>
              <a:gd name="T12" fmla="*/ 166687 w 284"/>
              <a:gd name="T13" fmla="*/ 138637 h 209"/>
              <a:gd name="T14" fmla="*/ 153384 w 284"/>
              <a:gd name="T15" fmla="*/ 153745 h 209"/>
              <a:gd name="T16" fmla="*/ 166687 w 284"/>
              <a:gd name="T17" fmla="*/ 168853 h 209"/>
              <a:gd name="T18" fmla="*/ 153384 w 284"/>
              <a:gd name="T19" fmla="*/ 185738 h 209"/>
              <a:gd name="T20" fmla="*/ 138515 w 284"/>
              <a:gd name="T21" fmla="*/ 153745 h 209"/>
              <a:gd name="T22" fmla="*/ 124429 w 284"/>
              <a:gd name="T23" fmla="*/ 185738 h 209"/>
              <a:gd name="T24" fmla="*/ 96256 w 284"/>
              <a:gd name="T25" fmla="*/ 185738 h 209"/>
              <a:gd name="T26" fmla="*/ 82952 w 284"/>
              <a:gd name="T27" fmla="*/ 153745 h 209"/>
              <a:gd name="T28" fmla="*/ 55563 w 284"/>
              <a:gd name="T29" fmla="*/ 138637 h 209"/>
              <a:gd name="T30" fmla="*/ 82952 w 284"/>
              <a:gd name="T31" fmla="*/ 122640 h 209"/>
              <a:gd name="T32" fmla="*/ 96256 w 284"/>
              <a:gd name="T33" fmla="*/ 122640 h 209"/>
              <a:gd name="T34" fmla="*/ 68866 w 284"/>
              <a:gd name="T35" fmla="*/ 109310 h 209"/>
              <a:gd name="T36" fmla="*/ 55563 w 284"/>
              <a:gd name="T37" fmla="*/ 122640 h 209"/>
              <a:gd name="T38" fmla="*/ 42259 w 284"/>
              <a:gd name="T39" fmla="*/ 122640 h 209"/>
              <a:gd name="T40" fmla="*/ 42259 w 284"/>
              <a:gd name="T41" fmla="*/ 109310 h 209"/>
              <a:gd name="T42" fmla="*/ 27390 w 284"/>
              <a:gd name="T43" fmla="*/ 94202 h 209"/>
              <a:gd name="T44" fmla="*/ 0 w 284"/>
              <a:gd name="T45" fmla="*/ 78205 h 209"/>
              <a:gd name="T46" fmla="*/ 27390 w 284"/>
              <a:gd name="T47" fmla="*/ 78205 h 209"/>
              <a:gd name="T48" fmla="*/ 27390 w 284"/>
              <a:gd name="T49" fmla="*/ 63098 h 209"/>
              <a:gd name="T50" fmla="*/ 0 w 284"/>
              <a:gd name="T51" fmla="*/ 47990 h 209"/>
              <a:gd name="T52" fmla="*/ 27390 w 284"/>
              <a:gd name="T53" fmla="*/ 47990 h 209"/>
              <a:gd name="T54" fmla="*/ 55563 w 284"/>
              <a:gd name="T55" fmla="*/ 47990 h 209"/>
              <a:gd name="T56" fmla="*/ 27390 w 284"/>
              <a:gd name="T57" fmla="*/ 47990 h 209"/>
              <a:gd name="T58" fmla="*/ 42259 w 284"/>
              <a:gd name="T59" fmla="*/ 15108 h 209"/>
              <a:gd name="T60" fmla="*/ 55563 w 284"/>
              <a:gd name="T61" fmla="*/ 31104 h 209"/>
              <a:gd name="T62" fmla="*/ 55563 w 284"/>
              <a:gd name="T63" fmla="*/ 15108 h 209"/>
              <a:gd name="T64" fmla="*/ 42259 w 284"/>
              <a:gd name="T65" fmla="*/ 0 h 209"/>
              <a:gd name="T66" fmla="*/ 82952 w 284"/>
              <a:gd name="T67" fmla="*/ 0 h 209"/>
              <a:gd name="T68" fmla="*/ 96256 w 284"/>
              <a:gd name="T69" fmla="*/ 31104 h 209"/>
              <a:gd name="T70" fmla="*/ 109560 w 284"/>
              <a:gd name="T71" fmla="*/ 47990 h 209"/>
              <a:gd name="T72" fmla="*/ 138515 w 284"/>
              <a:gd name="T73" fmla="*/ 47990 h 209"/>
              <a:gd name="T74" fmla="*/ 153384 w 284"/>
              <a:gd name="T75" fmla="*/ 78205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000080"/>
          </a:solidFill>
          <a:ln w="9525">
            <a:solidFill>
              <a:schemeClr val="bg2"/>
            </a:solidFill>
            <a:round/>
            <a:headEnd/>
            <a:tailEnd/>
          </a:ln>
        </p:spPr>
        <p:txBody>
          <a:bodyPr/>
          <a:lstStyle/>
          <a:p>
            <a:endParaRPr lang="en-US" dirty="0"/>
          </a:p>
        </p:txBody>
      </p:sp>
      <p:sp>
        <p:nvSpPr>
          <p:cNvPr id="19499" name="Freeform 42"/>
          <p:cNvSpPr>
            <a:spLocks noChangeAspect="1"/>
          </p:cNvSpPr>
          <p:nvPr>
            <p:custDataLst>
              <p:tags r:id="rId19"/>
            </p:custDataLst>
          </p:nvPr>
        </p:nvSpPr>
        <p:spPr bwMode="auto">
          <a:xfrm>
            <a:off x="2286000" y="1017588"/>
            <a:ext cx="669925" cy="381000"/>
          </a:xfrm>
          <a:custGeom>
            <a:avLst/>
            <a:gdLst>
              <a:gd name="T0" fmla="*/ 530884 w 848"/>
              <a:gd name="T1" fmla="*/ 31012 h 430"/>
              <a:gd name="T2" fmla="*/ 600405 w 848"/>
              <a:gd name="T3" fmla="*/ 15063 h 430"/>
              <a:gd name="T4" fmla="*/ 656495 w 848"/>
              <a:gd name="T5" fmla="*/ 46074 h 430"/>
              <a:gd name="T6" fmla="*/ 656495 w 848"/>
              <a:gd name="T7" fmla="*/ 61137 h 430"/>
              <a:gd name="T8" fmla="*/ 544314 w 848"/>
              <a:gd name="T9" fmla="*/ 107212 h 430"/>
              <a:gd name="T10" fmla="*/ 600405 w 848"/>
              <a:gd name="T11" fmla="*/ 107212 h 430"/>
              <a:gd name="T12" fmla="*/ 516664 w 848"/>
              <a:gd name="T13" fmla="*/ 153286 h 430"/>
              <a:gd name="T14" fmla="*/ 447143 w 848"/>
              <a:gd name="T15" fmla="*/ 199360 h 430"/>
              <a:gd name="T16" fmla="*/ 406063 w 848"/>
              <a:gd name="T17" fmla="*/ 199360 h 430"/>
              <a:gd name="T18" fmla="*/ 377623 w 848"/>
              <a:gd name="T19" fmla="*/ 227714 h 430"/>
              <a:gd name="T20" fmla="*/ 377623 w 848"/>
              <a:gd name="T21" fmla="*/ 258726 h 430"/>
              <a:gd name="T22" fmla="*/ 334963 w 848"/>
              <a:gd name="T23" fmla="*/ 304800 h 430"/>
              <a:gd name="T24" fmla="*/ 307312 w 848"/>
              <a:gd name="T25" fmla="*/ 319863 h 430"/>
              <a:gd name="T26" fmla="*/ 293882 w 848"/>
              <a:gd name="T27" fmla="*/ 350874 h 430"/>
              <a:gd name="T28" fmla="*/ 278872 w 848"/>
              <a:gd name="T29" fmla="*/ 381000 h 430"/>
              <a:gd name="T30" fmla="*/ 224362 w 848"/>
              <a:gd name="T31" fmla="*/ 365937 h 430"/>
              <a:gd name="T32" fmla="*/ 154841 w 848"/>
              <a:gd name="T33" fmla="*/ 365937 h 430"/>
              <a:gd name="T34" fmla="*/ 127191 w 848"/>
              <a:gd name="T35" fmla="*/ 381000 h 430"/>
              <a:gd name="T36" fmla="*/ 56090 w 848"/>
              <a:gd name="T37" fmla="*/ 365937 h 430"/>
              <a:gd name="T38" fmla="*/ 112181 w 848"/>
              <a:gd name="T39" fmla="*/ 334926 h 430"/>
              <a:gd name="T40" fmla="*/ 97961 w 848"/>
              <a:gd name="T41" fmla="*/ 304800 h 430"/>
              <a:gd name="T42" fmla="*/ 154841 w 848"/>
              <a:gd name="T43" fmla="*/ 319863 h 430"/>
              <a:gd name="T44" fmla="*/ 140621 w 848"/>
              <a:gd name="T45" fmla="*/ 304800 h 430"/>
              <a:gd name="T46" fmla="*/ 112181 w 848"/>
              <a:gd name="T47" fmla="*/ 288851 h 430"/>
              <a:gd name="T48" fmla="*/ 97961 w 848"/>
              <a:gd name="T49" fmla="*/ 258726 h 430"/>
              <a:gd name="T50" fmla="*/ 140621 w 848"/>
              <a:gd name="T51" fmla="*/ 258726 h 430"/>
              <a:gd name="T52" fmla="*/ 154841 w 848"/>
              <a:gd name="T53" fmla="*/ 199360 h 430"/>
              <a:gd name="T54" fmla="*/ 127191 w 848"/>
              <a:gd name="T55" fmla="*/ 183412 h 430"/>
              <a:gd name="T56" fmla="*/ 127191 w 848"/>
              <a:gd name="T57" fmla="*/ 168349 h 430"/>
              <a:gd name="T58" fmla="*/ 168271 w 848"/>
              <a:gd name="T59" fmla="*/ 168349 h 430"/>
              <a:gd name="T60" fmla="*/ 224362 w 848"/>
              <a:gd name="T61" fmla="*/ 199360 h 430"/>
              <a:gd name="T62" fmla="*/ 195131 w 848"/>
              <a:gd name="T63" fmla="*/ 168349 h 430"/>
              <a:gd name="T64" fmla="*/ 237792 w 848"/>
              <a:gd name="T65" fmla="*/ 168349 h 430"/>
              <a:gd name="T66" fmla="*/ 278872 w 848"/>
              <a:gd name="T67" fmla="*/ 153286 h 430"/>
              <a:gd name="T68" fmla="*/ 224362 w 848"/>
              <a:gd name="T69" fmla="*/ 153286 h 430"/>
              <a:gd name="T70" fmla="*/ 168271 w 848"/>
              <a:gd name="T71" fmla="*/ 153286 h 430"/>
              <a:gd name="T72" fmla="*/ 127191 w 848"/>
              <a:gd name="T73" fmla="*/ 153286 h 430"/>
              <a:gd name="T74" fmla="*/ 71101 w 848"/>
              <a:gd name="T75" fmla="*/ 153286 h 430"/>
              <a:gd name="T76" fmla="*/ 84531 w 848"/>
              <a:gd name="T77" fmla="*/ 122274 h 430"/>
              <a:gd name="T78" fmla="*/ 56090 w 848"/>
              <a:gd name="T79" fmla="*/ 107212 h 430"/>
              <a:gd name="T80" fmla="*/ 84531 w 848"/>
              <a:gd name="T81" fmla="*/ 107212 h 430"/>
              <a:gd name="T82" fmla="*/ 41870 w 848"/>
              <a:gd name="T83" fmla="*/ 107212 h 430"/>
              <a:gd name="T84" fmla="*/ 28440 w 848"/>
              <a:gd name="T85" fmla="*/ 107212 h 430"/>
              <a:gd name="T86" fmla="*/ 13430 w 848"/>
              <a:gd name="T87" fmla="*/ 92149 h 430"/>
              <a:gd name="T88" fmla="*/ 97961 w 848"/>
              <a:gd name="T89" fmla="*/ 61137 h 430"/>
              <a:gd name="T90" fmla="*/ 154841 w 848"/>
              <a:gd name="T91" fmla="*/ 46074 h 430"/>
              <a:gd name="T92" fmla="*/ 195131 w 848"/>
              <a:gd name="T93" fmla="*/ 46074 h 430"/>
              <a:gd name="T94" fmla="*/ 237792 w 848"/>
              <a:gd name="T95" fmla="*/ 31012 h 430"/>
              <a:gd name="T96" fmla="*/ 278872 w 848"/>
              <a:gd name="T97" fmla="*/ 15063 h 430"/>
              <a:gd name="T98" fmla="*/ 348393 w 848"/>
              <a:gd name="T99" fmla="*/ 0 h 430"/>
              <a:gd name="T100" fmla="*/ 391053 w 848"/>
              <a:gd name="T101" fmla="*/ 15063 h 430"/>
              <a:gd name="T102" fmla="*/ 419493 w 848"/>
              <a:gd name="T103" fmla="*/ 0 h 430"/>
              <a:gd name="T104" fmla="*/ 475584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000080"/>
          </a:solidFill>
          <a:ln w="9525">
            <a:solidFill>
              <a:schemeClr val="bg2"/>
            </a:solidFill>
            <a:round/>
            <a:headEnd/>
            <a:tailEnd/>
          </a:ln>
        </p:spPr>
        <p:txBody>
          <a:bodyPr/>
          <a:lstStyle/>
          <a:p>
            <a:endParaRPr lang="en-US" dirty="0"/>
          </a:p>
        </p:txBody>
      </p:sp>
      <p:sp>
        <p:nvSpPr>
          <p:cNvPr id="19500" name="Freeform 43"/>
          <p:cNvSpPr>
            <a:spLocks noChangeAspect="1"/>
          </p:cNvSpPr>
          <p:nvPr>
            <p:custDataLst>
              <p:tags r:id="rId20"/>
            </p:custDataLst>
          </p:nvPr>
        </p:nvSpPr>
        <p:spPr bwMode="auto">
          <a:xfrm>
            <a:off x="2066925" y="1520825"/>
            <a:ext cx="138113" cy="106363"/>
          </a:xfrm>
          <a:custGeom>
            <a:avLst/>
            <a:gdLst>
              <a:gd name="T0" fmla="*/ 111280 w 175"/>
              <a:gd name="T1" fmla="*/ 29496 h 119"/>
              <a:gd name="T2" fmla="*/ 111280 w 175"/>
              <a:gd name="T3" fmla="*/ 44690 h 119"/>
              <a:gd name="T4" fmla="*/ 111280 w 175"/>
              <a:gd name="T5" fmla="*/ 59885 h 119"/>
              <a:gd name="T6" fmla="*/ 124696 w 175"/>
              <a:gd name="T7" fmla="*/ 59885 h 119"/>
              <a:gd name="T8" fmla="*/ 138113 w 175"/>
              <a:gd name="T9" fmla="*/ 59885 h 119"/>
              <a:gd name="T10" fmla="*/ 124696 w 175"/>
              <a:gd name="T11" fmla="*/ 75974 h 119"/>
              <a:gd name="T12" fmla="*/ 124696 w 175"/>
              <a:gd name="T13" fmla="*/ 91168 h 119"/>
              <a:gd name="T14" fmla="*/ 97074 w 175"/>
              <a:gd name="T15" fmla="*/ 106363 h 119"/>
              <a:gd name="T16" fmla="*/ 83657 w 175"/>
              <a:gd name="T17" fmla="*/ 106363 h 119"/>
              <a:gd name="T18" fmla="*/ 70240 w 175"/>
              <a:gd name="T19" fmla="*/ 106363 h 119"/>
              <a:gd name="T20" fmla="*/ 70240 w 175"/>
              <a:gd name="T21" fmla="*/ 91168 h 119"/>
              <a:gd name="T22" fmla="*/ 42618 w 175"/>
              <a:gd name="T23" fmla="*/ 75974 h 119"/>
              <a:gd name="T24" fmla="*/ 27623 w 175"/>
              <a:gd name="T25" fmla="*/ 59885 h 119"/>
              <a:gd name="T26" fmla="*/ 0 w 175"/>
              <a:gd name="T27" fmla="*/ 59885 h 119"/>
              <a:gd name="T28" fmla="*/ 0 w 175"/>
              <a:gd name="T29" fmla="*/ 44690 h 119"/>
              <a:gd name="T30" fmla="*/ 0 w 175"/>
              <a:gd name="T31" fmla="*/ 29496 h 119"/>
              <a:gd name="T32" fmla="*/ 14206 w 175"/>
              <a:gd name="T33" fmla="*/ 44690 h 119"/>
              <a:gd name="T34" fmla="*/ 27623 w 175"/>
              <a:gd name="T35" fmla="*/ 44690 h 119"/>
              <a:gd name="T36" fmla="*/ 42618 w 175"/>
              <a:gd name="T37" fmla="*/ 44690 h 119"/>
              <a:gd name="T38" fmla="*/ 42618 w 175"/>
              <a:gd name="T39" fmla="*/ 29496 h 119"/>
              <a:gd name="T40" fmla="*/ 42618 w 175"/>
              <a:gd name="T41" fmla="*/ 13407 h 119"/>
              <a:gd name="T42" fmla="*/ 27623 w 175"/>
              <a:gd name="T43" fmla="*/ 13407 h 119"/>
              <a:gd name="T44" fmla="*/ 27623 w 175"/>
              <a:gd name="T45" fmla="*/ 0 h 119"/>
              <a:gd name="T46" fmla="*/ 42618 w 175"/>
              <a:gd name="T47" fmla="*/ 0 h 119"/>
              <a:gd name="T48" fmla="*/ 56034 w 175"/>
              <a:gd name="T49" fmla="*/ 0 h 119"/>
              <a:gd name="T50" fmla="*/ 83657 w 175"/>
              <a:gd name="T51" fmla="*/ 0 h 119"/>
              <a:gd name="T52" fmla="*/ 97074 w 175"/>
              <a:gd name="T53" fmla="*/ 0 h 119"/>
              <a:gd name="T54" fmla="*/ 111280 w 175"/>
              <a:gd name="T55" fmla="*/ 0 h 119"/>
              <a:gd name="T56" fmla="*/ 111280 w 175"/>
              <a:gd name="T57" fmla="*/ 13407 h 119"/>
              <a:gd name="T58" fmla="*/ 97074 w 175"/>
              <a:gd name="T59" fmla="*/ 29496 h 119"/>
              <a:gd name="T60" fmla="*/ 83657 w 175"/>
              <a:gd name="T61" fmla="*/ 29496 h 119"/>
              <a:gd name="T62" fmla="*/ 97074 w 175"/>
              <a:gd name="T63" fmla="*/ 29496 h 119"/>
              <a:gd name="T64" fmla="*/ 111280 w 175"/>
              <a:gd name="T65" fmla="*/ 29496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000080"/>
          </a:solidFill>
          <a:ln w="9525">
            <a:solidFill>
              <a:schemeClr val="bg2"/>
            </a:solidFill>
            <a:round/>
            <a:headEnd/>
            <a:tailEnd/>
          </a:ln>
        </p:spPr>
        <p:txBody>
          <a:bodyPr/>
          <a:lstStyle/>
          <a:p>
            <a:endParaRPr lang="en-US" dirty="0"/>
          </a:p>
        </p:txBody>
      </p:sp>
      <p:sp>
        <p:nvSpPr>
          <p:cNvPr id="19501" name="Freeform 44"/>
          <p:cNvSpPr>
            <a:spLocks noChangeAspect="1"/>
          </p:cNvSpPr>
          <p:nvPr>
            <p:custDataLst>
              <p:tags r:id="rId21"/>
            </p:custDataLst>
          </p:nvPr>
        </p:nvSpPr>
        <p:spPr bwMode="auto">
          <a:xfrm>
            <a:off x="2135188" y="1685925"/>
            <a:ext cx="80962" cy="65088"/>
          </a:xfrm>
          <a:custGeom>
            <a:avLst/>
            <a:gdLst>
              <a:gd name="T0" fmla="*/ 67599 w 103"/>
              <a:gd name="T1" fmla="*/ 65088 h 73"/>
              <a:gd name="T2" fmla="*/ 40874 w 103"/>
              <a:gd name="T3" fmla="*/ 49931 h 73"/>
              <a:gd name="T4" fmla="*/ 13363 w 103"/>
              <a:gd name="T5" fmla="*/ 32990 h 73"/>
              <a:gd name="T6" fmla="*/ 0 w 103"/>
              <a:gd name="T7" fmla="*/ 32990 h 73"/>
              <a:gd name="T8" fmla="*/ 13363 w 103"/>
              <a:gd name="T9" fmla="*/ 32990 h 73"/>
              <a:gd name="T10" fmla="*/ 13363 w 103"/>
              <a:gd name="T11" fmla="*/ 16941 h 73"/>
              <a:gd name="T12" fmla="*/ 26725 w 103"/>
              <a:gd name="T13" fmla="*/ 0 h 73"/>
              <a:gd name="T14" fmla="*/ 54237 w 103"/>
              <a:gd name="T15" fmla="*/ 16941 h 73"/>
              <a:gd name="T16" fmla="*/ 67599 w 103"/>
              <a:gd name="T17" fmla="*/ 32990 h 73"/>
              <a:gd name="T18" fmla="*/ 80962 w 103"/>
              <a:gd name="T19" fmla="*/ 49931 h 73"/>
              <a:gd name="T20" fmla="*/ 67599 w 103"/>
              <a:gd name="T21" fmla="*/ 49931 h 73"/>
              <a:gd name="T22" fmla="*/ 67599 w 103"/>
              <a:gd name="T23" fmla="*/ 650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2" name="Freeform 45"/>
          <p:cNvSpPr>
            <a:spLocks noChangeAspect="1"/>
          </p:cNvSpPr>
          <p:nvPr>
            <p:custDataLst>
              <p:tags r:id="rId22"/>
            </p:custDataLst>
          </p:nvPr>
        </p:nvSpPr>
        <p:spPr bwMode="auto">
          <a:xfrm>
            <a:off x="2205038" y="1489075"/>
            <a:ext cx="125412" cy="106363"/>
          </a:xfrm>
          <a:custGeom>
            <a:avLst/>
            <a:gdLst>
              <a:gd name="T0" fmla="*/ 125412 w 159"/>
              <a:gd name="T1" fmla="*/ 29887 h 121"/>
              <a:gd name="T2" fmla="*/ 112003 w 159"/>
              <a:gd name="T3" fmla="*/ 29887 h 121"/>
              <a:gd name="T4" fmla="*/ 98594 w 159"/>
              <a:gd name="T5" fmla="*/ 29887 h 121"/>
              <a:gd name="T6" fmla="*/ 85186 w 159"/>
              <a:gd name="T7" fmla="*/ 60653 h 121"/>
              <a:gd name="T8" fmla="*/ 85186 w 159"/>
              <a:gd name="T9" fmla="*/ 75597 h 121"/>
              <a:gd name="T10" fmla="*/ 56002 w 159"/>
              <a:gd name="T11" fmla="*/ 75597 h 121"/>
              <a:gd name="T12" fmla="*/ 42593 w 159"/>
              <a:gd name="T13" fmla="*/ 75597 h 121"/>
              <a:gd name="T14" fmla="*/ 42593 w 159"/>
              <a:gd name="T15" fmla="*/ 90540 h 121"/>
              <a:gd name="T16" fmla="*/ 42593 w 159"/>
              <a:gd name="T17" fmla="*/ 106363 h 121"/>
              <a:gd name="T18" fmla="*/ 27606 w 159"/>
              <a:gd name="T19" fmla="*/ 106363 h 121"/>
              <a:gd name="T20" fmla="*/ 13409 w 159"/>
              <a:gd name="T21" fmla="*/ 106363 h 121"/>
              <a:gd name="T22" fmla="*/ 13409 w 159"/>
              <a:gd name="T23" fmla="*/ 90540 h 121"/>
              <a:gd name="T24" fmla="*/ 13409 w 159"/>
              <a:gd name="T25" fmla="*/ 75597 h 121"/>
              <a:gd name="T26" fmla="*/ 13409 w 159"/>
              <a:gd name="T27" fmla="*/ 60653 h 121"/>
              <a:gd name="T28" fmla="*/ 0 w 159"/>
              <a:gd name="T29" fmla="*/ 29887 h 121"/>
              <a:gd name="T30" fmla="*/ 13409 w 159"/>
              <a:gd name="T31" fmla="*/ 29887 h 121"/>
              <a:gd name="T32" fmla="*/ 27606 w 159"/>
              <a:gd name="T33" fmla="*/ 29887 h 121"/>
              <a:gd name="T34" fmla="*/ 27606 w 159"/>
              <a:gd name="T35" fmla="*/ 14944 h 121"/>
              <a:gd name="T36" fmla="*/ 42593 w 159"/>
              <a:gd name="T37" fmla="*/ 14944 h 121"/>
              <a:gd name="T38" fmla="*/ 42593 w 159"/>
              <a:gd name="T39" fmla="*/ 0 h 121"/>
              <a:gd name="T40" fmla="*/ 69410 w 159"/>
              <a:gd name="T41" fmla="*/ 14944 h 121"/>
              <a:gd name="T42" fmla="*/ 85186 w 159"/>
              <a:gd name="T43" fmla="*/ 14944 h 121"/>
              <a:gd name="T44" fmla="*/ 125412 w 159"/>
              <a:gd name="T45" fmla="*/ 14944 h 121"/>
              <a:gd name="T46" fmla="*/ 125412 w 159"/>
              <a:gd name="T47" fmla="*/ 29887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3" name="Freeform 46"/>
          <p:cNvSpPr>
            <a:spLocks noChangeAspect="1"/>
          </p:cNvSpPr>
          <p:nvPr>
            <p:custDataLst>
              <p:tags r:id="rId23"/>
            </p:custDataLst>
          </p:nvPr>
        </p:nvSpPr>
        <p:spPr bwMode="auto">
          <a:xfrm>
            <a:off x="2620963" y="1765300"/>
            <a:ext cx="41275" cy="30163"/>
          </a:xfrm>
          <a:custGeom>
            <a:avLst/>
            <a:gdLst>
              <a:gd name="T0" fmla="*/ 41275 w 52"/>
              <a:gd name="T1" fmla="*/ 15919 h 36"/>
              <a:gd name="T2" fmla="*/ 13494 w 52"/>
              <a:gd name="T3" fmla="*/ 30163 h 36"/>
              <a:gd name="T4" fmla="*/ 0 w 52"/>
              <a:gd name="T5" fmla="*/ 30163 h 36"/>
              <a:gd name="T6" fmla="*/ 0 w 52"/>
              <a:gd name="T7" fmla="*/ 15919 h 36"/>
              <a:gd name="T8" fmla="*/ 0 w 52"/>
              <a:gd name="T9" fmla="*/ 0 h 36"/>
              <a:gd name="T10" fmla="*/ 27781 w 52"/>
              <a:gd name="T11" fmla="*/ 0 h 36"/>
              <a:gd name="T12" fmla="*/ 41275 w 52"/>
              <a:gd name="T13" fmla="*/ 1591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4" name="Freeform 47"/>
          <p:cNvSpPr>
            <a:spLocks noChangeAspect="1"/>
          </p:cNvSpPr>
          <p:nvPr>
            <p:custDataLst>
              <p:tags r:id="rId24"/>
            </p:custDataLst>
          </p:nvPr>
        </p:nvSpPr>
        <p:spPr bwMode="auto">
          <a:xfrm>
            <a:off x="2524125" y="1520825"/>
            <a:ext cx="111125" cy="46038"/>
          </a:xfrm>
          <a:custGeom>
            <a:avLst/>
            <a:gdLst>
              <a:gd name="T0" fmla="*/ 42259 w 142"/>
              <a:gd name="T1" fmla="*/ 46038 h 50"/>
              <a:gd name="T2" fmla="*/ 28955 w 142"/>
              <a:gd name="T3" fmla="*/ 46038 h 50"/>
              <a:gd name="T4" fmla="*/ 28955 w 142"/>
              <a:gd name="T5" fmla="*/ 30385 h 50"/>
              <a:gd name="T6" fmla="*/ 14869 w 142"/>
              <a:gd name="T7" fmla="*/ 13811 h 50"/>
              <a:gd name="T8" fmla="*/ 0 w 142"/>
              <a:gd name="T9" fmla="*/ 13811 h 50"/>
              <a:gd name="T10" fmla="*/ 0 w 142"/>
              <a:gd name="T11" fmla="*/ 0 h 50"/>
              <a:gd name="T12" fmla="*/ 14869 w 142"/>
              <a:gd name="T13" fmla="*/ 0 h 50"/>
              <a:gd name="T14" fmla="*/ 42259 w 142"/>
              <a:gd name="T15" fmla="*/ 0 h 50"/>
              <a:gd name="T16" fmla="*/ 55563 w 142"/>
              <a:gd name="T17" fmla="*/ 0 h 50"/>
              <a:gd name="T18" fmla="*/ 84518 w 142"/>
              <a:gd name="T19" fmla="*/ 0 h 50"/>
              <a:gd name="T20" fmla="*/ 97821 w 142"/>
              <a:gd name="T21" fmla="*/ 13811 h 50"/>
              <a:gd name="T22" fmla="*/ 111125 w 142"/>
              <a:gd name="T23" fmla="*/ 30385 h 50"/>
              <a:gd name="T24" fmla="*/ 97821 w 142"/>
              <a:gd name="T25" fmla="*/ 30385 h 50"/>
              <a:gd name="T26" fmla="*/ 97821 w 142"/>
              <a:gd name="T27" fmla="*/ 46038 h 50"/>
              <a:gd name="T28" fmla="*/ 84518 w 142"/>
              <a:gd name="T29" fmla="*/ 46038 h 50"/>
              <a:gd name="T30" fmla="*/ 70431 w 142"/>
              <a:gd name="T31" fmla="*/ 30385 h 50"/>
              <a:gd name="T32" fmla="*/ 70431 w 142"/>
              <a:gd name="T33" fmla="*/ 46038 h 50"/>
              <a:gd name="T34" fmla="*/ 55563 w 142"/>
              <a:gd name="T35" fmla="*/ 46038 h 50"/>
              <a:gd name="T36" fmla="*/ 42259 w 142"/>
              <a:gd name="T37" fmla="*/ 46038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5" name="Freeform 48"/>
          <p:cNvSpPr>
            <a:spLocks noChangeAspect="1"/>
          </p:cNvSpPr>
          <p:nvPr>
            <p:custDataLst>
              <p:tags r:id="rId25"/>
            </p:custDataLst>
          </p:nvPr>
        </p:nvSpPr>
        <p:spPr bwMode="auto">
          <a:xfrm>
            <a:off x="2566988" y="1717675"/>
            <a:ext cx="9525" cy="1588"/>
          </a:xfrm>
          <a:custGeom>
            <a:avLst/>
            <a:gdLst>
              <a:gd name="T0" fmla="*/ 0 w 13"/>
              <a:gd name="T1" fmla="*/ 0 h 1588"/>
              <a:gd name="T2" fmla="*/ 9525 w 13"/>
              <a:gd name="T3" fmla="*/ 0 h 1588"/>
              <a:gd name="T4" fmla="*/ 0 w 13"/>
              <a:gd name="T5" fmla="*/ 0 h 1588"/>
              <a:gd name="T6" fmla="*/ 0 60000 65536"/>
              <a:gd name="T7" fmla="*/ 0 60000 65536"/>
              <a:gd name="T8" fmla="*/ 0 60000 65536"/>
              <a:gd name="T9" fmla="*/ 0 w 13"/>
              <a:gd name="T10" fmla="*/ 0 h 1588"/>
              <a:gd name="T11" fmla="*/ 13 w 13"/>
              <a:gd name="T12" fmla="*/ 1588 h 1588"/>
            </a:gdLst>
            <a:ahLst/>
            <a:cxnLst>
              <a:cxn ang="T6">
                <a:pos x="T0" y="T1"/>
              </a:cxn>
              <a:cxn ang="T7">
                <a:pos x="T2" y="T3"/>
              </a:cxn>
              <a:cxn ang="T8">
                <a:pos x="T4" y="T5"/>
              </a:cxn>
            </a:cxnLst>
            <a:rect l="T9" t="T10" r="T11" b="T12"/>
            <a:pathLst>
              <a:path w="13" h="1588">
                <a:moveTo>
                  <a:pt x="0" y="0"/>
                </a:moveTo>
                <a:lnTo>
                  <a:pt x="13" y="0"/>
                </a:lnTo>
                <a:lnTo>
                  <a:pt x="0"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6" name="Freeform 49"/>
          <p:cNvSpPr>
            <a:spLocks noChangeAspect="1"/>
          </p:cNvSpPr>
          <p:nvPr>
            <p:custDataLst>
              <p:tags r:id="rId26"/>
            </p:custDataLst>
          </p:nvPr>
        </p:nvSpPr>
        <p:spPr bwMode="auto">
          <a:xfrm>
            <a:off x="2330450" y="1520825"/>
            <a:ext cx="625475" cy="473075"/>
          </a:xfrm>
          <a:custGeom>
            <a:avLst/>
            <a:gdLst>
              <a:gd name="T0" fmla="*/ 569615 w 795"/>
              <a:gd name="T1" fmla="*/ 349280 h 535"/>
              <a:gd name="T2" fmla="*/ 501954 w 795"/>
              <a:gd name="T3" fmla="*/ 305951 h 535"/>
              <a:gd name="T4" fmla="*/ 501954 w 795"/>
              <a:gd name="T5" fmla="*/ 319215 h 535"/>
              <a:gd name="T6" fmla="*/ 501954 w 795"/>
              <a:gd name="T7" fmla="*/ 334247 h 535"/>
              <a:gd name="T8" fmla="*/ 528703 w 795"/>
              <a:gd name="T9" fmla="*/ 349280 h 535"/>
              <a:gd name="T10" fmla="*/ 556240 w 795"/>
              <a:gd name="T11" fmla="*/ 365196 h 535"/>
              <a:gd name="T12" fmla="*/ 556240 w 795"/>
              <a:gd name="T13" fmla="*/ 412062 h 535"/>
              <a:gd name="T14" fmla="*/ 528703 w 795"/>
              <a:gd name="T15" fmla="*/ 427978 h 535"/>
              <a:gd name="T16" fmla="*/ 487005 w 795"/>
              <a:gd name="T17" fmla="*/ 427978 h 535"/>
              <a:gd name="T18" fmla="*/ 515328 w 795"/>
              <a:gd name="T19" fmla="*/ 473075 h 535"/>
              <a:gd name="T20" fmla="*/ 472843 w 795"/>
              <a:gd name="T21" fmla="*/ 443010 h 535"/>
              <a:gd name="T22" fmla="*/ 405182 w 795"/>
              <a:gd name="T23" fmla="*/ 427978 h 535"/>
              <a:gd name="T24" fmla="*/ 362697 w 795"/>
              <a:gd name="T25" fmla="*/ 380228 h 535"/>
              <a:gd name="T26" fmla="*/ 320212 w 795"/>
              <a:gd name="T27" fmla="*/ 365196 h 535"/>
              <a:gd name="T28" fmla="*/ 264352 w 795"/>
              <a:gd name="T29" fmla="*/ 365196 h 535"/>
              <a:gd name="T30" fmla="*/ 291888 w 795"/>
              <a:gd name="T31" fmla="*/ 349280 h 535"/>
              <a:gd name="T32" fmla="*/ 334373 w 795"/>
              <a:gd name="T33" fmla="*/ 349280 h 535"/>
              <a:gd name="T34" fmla="*/ 347748 w 795"/>
              <a:gd name="T35" fmla="*/ 334247 h 535"/>
              <a:gd name="T36" fmla="*/ 347748 w 795"/>
              <a:gd name="T37" fmla="*/ 305951 h 535"/>
              <a:gd name="T38" fmla="*/ 376072 w 795"/>
              <a:gd name="T39" fmla="*/ 290035 h 535"/>
              <a:gd name="T40" fmla="*/ 347748 w 795"/>
              <a:gd name="T41" fmla="*/ 213989 h 535"/>
              <a:gd name="T42" fmla="*/ 306837 w 795"/>
              <a:gd name="T43" fmla="*/ 213989 h 535"/>
              <a:gd name="T44" fmla="*/ 306837 w 795"/>
              <a:gd name="T45" fmla="*/ 198957 h 535"/>
              <a:gd name="T46" fmla="*/ 250977 w 795"/>
              <a:gd name="T47" fmla="*/ 151207 h 535"/>
              <a:gd name="T48" fmla="*/ 224227 w 795"/>
              <a:gd name="T49" fmla="*/ 181272 h 535"/>
              <a:gd name="T50" fmla="*/ 181742 w 795"/>
              <a:gd name="T51" fmla="*/ 151207 h 535"/>
              <a:gd name="T52" fmla="*/ 98345 w 795"/>
              <a:gd name="T53" fmla="*/ 151207 h 535"/>
              <a:gd name="T54" fmla="*/ 57434 w 795"/>
              <a:gd name="T55" fmla="*/ 151207 h 535"/>
              <a:gd name="T56" fmla="*/ 15735 w 795"/>
              <a:gd name="T57" fmla="*/ 120258 h 535"/>
              <a:gd name="T58" fmla="*/ 57434 w 795"/>
              <a:gd name="T59" fmla="*/ 120258 h 535"/>
              <a:gd name="T60" fmla="*/ 15735 w 795"/>
              <a:gd name="T61" fmla="*/ 105226 h 535"/>
              <a:gd name="T62" fmla="*/ 15735 w 795"/>
              <a:gd name="T63" fmla="*/ 59245 h 535"/>
              <a:gd name="T64" fmla="*/ 44059 w 795"/>
              <a:gd name="T65" fmla="*/ 0 h 535"/>
              <a:gd name="T66" fmla="*/ 98345 w 795"/>
              <a:gd name="T67" fmla="*/ 0 h 535"/>
              <a:gd name="T68" fmla="*/ 71595 w 795"/>
              <a:gd name="T69" fmla="*/ 44213 h 535"/>
              <a:gd name="T70" fmla="*/ 84970 w 795"/>
              <a:gd name="T71" fmla="*/ 75161 h 535"/>
              <a:gd name="T72" fmla="*/ 98345 w 795"/>
              <a:gd name="T73" fmla="*/ 44213 h 535"/>
              <a:gd name="T74" fmla="*/ 181742 w 795"/>
              <a:gd name="T75" fmla="*/ 0 h 535"/>
              <a:gd name="T76" fmla="*/ 210065 w 795"/>
              <a:gd name="T77" fmla="*/ 59245 h 535"/>
              <a:gd name="T78" fmla="*/ 250977 w 795"/>
              <a:gd name="T79" fmla="*/ 59245 h 535"/>
              <a:gd name="T80" fmla="*/ 291888 w 795"/>
              <a:gd name="T81" fmla="*/ 44213 h 535"/>
              <a:gd name="T82" fmla="*/ 334373 w 795"/>
              <a:gd name="T83" fmla="*/ 75161 h 535"/>
              <a:gd name="T84" fmla="*/ 390233 w 795"/>
              <a:gd name="T85" fmla="*/ 105226 h 535"/>
              <a:gd name="T86" fmla="*/ 431932 w 795"/>
              <a:gd name="T87" fmla="*/ 120258 h 535"/>
              <a:gd name="T88" fmla="*/ 472843 w 795"/>
              <a:gd name="T89" fmla="*/ 151207 h 535"/>
              <a:gd name="T90" fmla="*/ 515328 w 795"/>
              <a:gd name="T91" fmla="*/ 166239 h 535"/>
              <a:gd name="T92" fmla="*/ 472843 w 795"/>
              <a:gd name="T93" fmla="*/ 181272 h 535"/>
              <a:gd name="T94" fmla="*/ 515328 w 795"/>
              <a:gd name="T95" fmla="*/ 181272 h 535"/>
              <a:gd name="T96" fmla="*/ 487005 w 795"/>
              <a:gd name="T97" fmla="*/ 213989 h 535"/>
              <a:gd name="T98" fmla="*/ 515328 w 795"/>
              <a:gd name="T99" fmla="*/ 229021 h 535"/>
              <a:gd name="T100" fmla="*/ 556240 w 795"/>
              <a:gd name="T101" fmla="*/ 259970 h 535"/>
              <a:gd name="T102" fmla="*/ 582990 w 795"/>
              <a:gd name="T103" fmla="*/ 275002 h 535"/>
              <a:gd name="T104" fmla="*/ 612100 w 795"/>
              <a:gd name="T105" fmla="*/ 305951 h 535"/>
              <a:gd name="T106" fmla="*/ 612100 w 795"/>
              <a:gd name="T107" fmla="*/ 319215 h 535"/>
              <a:gd name="T108" fmla="*/ 582990 w 795"/>
              <a:gd name="T109" fmla="*/ 3342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07" name="Freeform 50"/>
          <p:cNvSpPr>
            <a:spLocks noChangeAspect="1"/>
          </p:cNvSpPr>
          <p:nvPr>
            <p:custDataLst>
              <p:tags r:id="rId27"/>
            </p:custDataLst>
          </p:nvPr>
        </p:nvSpPr>
        <p:spPr bwMode="auto">
          <a:xfrm>
            <a:off x="2705100" y="987425"/>
            <a:ext cx="1274763" cy="1066800"/>
          </a:xfrm>
          <a:custGeom>
            <a:avLst/>
            <a:gdLst>
              <a:gd name="T0" fmla="*/ 471930 w 1618"/>
              <a:gd name="T1" fmla="*/ 685611 h 1209"/>
              <a:gd name="T2" fmla="*/ 415204 w 1618"/>
              <a:gd name="T3" fmla="*/ 670610 h 1209"/>
              <a:gd name="T4" fmla="*/ 415204 w 1618"/>
              <a:gd name="T5" fmla="*/ 624727 h 1209"/>
              <a:gd name="T6" fmla="*/ 360841 w 1618"/>
              <a:gd name="T7" fmla="*/ 624727 h 1209"/>
              <a:gd name="T8" fmla="*/ 360841 w 1618"/>
              <a:gd name="T9" fmla="*/ 563842 h 1209"/>
              <a:gd name="T10" fmla="*/ 276540 w 1618"/>
              <a:gd name="T11" fmla="*/ 442073 h 1209"/>
              <a:gd name="T12" fmla="*/ 166239 w 1618"/>
              <a:gd name="T13" fmla="*/ 426191 h 1209"/>
              <a:gd name="T14" fmla="*/ 123695 w 1618"/>
              <a:gd name="T15" fmla="*/ 426191 h 1209"/>
              <a:gd name="T16" fmla="*/ 96119 w 1618"/>
              <a:gd name="T17" fmla="*/ 396190 h 1209"/>
              <a:gd name="T18" fmla="*/ 41757 w 1618"/>
              <a:gd name="T19" fmla="*/ 381189 h 1209"/>
              <a:gd name="T20" fmla="*/ 96119 w 1618"/>
              <a:gd name="T21" fmla="*/ 365306 h 1209"/>
              <a:gd name="T22" fmla="*/ 123695 w 1618"/>
              <a:gd name="T23" fmla="*/ 335305 h 1209"/>
              <a:gd name="T24" fmla="*/ 28363 w 1618"/>
              <a:gd name="T25" fmla="*/ 335305 h 1209"/>
              <a:gd name="T26" fmla="*/ 55938 w 1618"/>
              <a:gd name="T27" fmla="*/ 289421 h 1209"/>
              <a:gd name="T28" fmla="*/ 138664 w 1618"/>
              <a:gd name="T29" fmla="*/ 258538 h 1209"/>
              <a:gd name="T30" fmla="*/ 110301 w 1618"/>
              <a:gd name="T31" fmla="*/ 199418 h 1209"/>
              <a:gd name="T32" fmla="*/ 207208 w 1618"/>
              <a:gd name="T33" fmla="*/ 136769 h 1209"/>
              <a:gd name="T34" fmla="*/ 276540 w 1618"/>
              <a:gd name="T35" fmla="*/ 106768 h 1209"/>
              <a:gd name="T36" fmla="*/ 375023 w 1618"/>
              <a:gd name="T37" fmla="*/ 75885 h 1209"/>
              <a:gd name="T38" fmla="*/ 415204 w 1618"/>
              <a:gd name="T39" fmla="*/ 90885 h 1209"/>
              <a:gd name="T40" fmla="*/ 512111 w 1618"/>
              <a:gd name="T41" fmla="*/ 75885 h 1209"/>
              <a:gd name="T42" fmla="*/ 526293 w 1618"/>
              <a:gd name="T43" fmla="*/ 75885 h 1209"/>
              <a:gd name="T44" fmla="*/ 553080 w 1618"/>
              <a:gd name="T45" fmla="*/ 30001 h 1209"/>
              <a:gd name="T46" fmla="*/ 651563 w 1618"/>
              <a:gd name="T47" fmla="*/ 30001 h 1209"/>
              <a:gd name="T48" fmla="*/ 761864 w 1618"/>
              <a:gd name="T49" fmla="*/ 0 h 1209"/>
              <a:gd name="T50" fmla="*/ 942285 w 1618"/>
              <a:gd name="T51" fmla="*/ 15000 h 1209"/>
              <a:gd name="T52" fmla="*/ 1080949 w 1618"/>
              <a:gd name="T53" fmla="*/ 60884 h 1209"/>
              <a:gd name="T54" fmla="*/ 928103 w 1618"/>
              <a:gd name="T55" fmla="*/ 90885 h 1209"/>
              <a:gd name="T56" fmla="*/ 955678 w 1618"/>
              <a:gd name="T57" fmla="*/ 90885 h 1209"/>
              <a:gd name="T58" fmla="*/ 998223 w 1618"/>
              <a:gd name="T59" fmla="*/ 136769 h 1209"/>
              <a:gd name="T60" fmla="*/ 1080949 w 1618"/>
              <a:gd name="T61" fmla="*/ 121769 h 1209"/>
              <a:gd name="T62" fmla="*/ 1080949 w 1618"/>
              <a:gd name="T63" fmla="*/ 136769 h 1209"/>
              <a:gd name="T64" fmla="*/ 1164462 w 1618"/>
              <a:gd name="T65" fmla="*/ 121769 h 1209"/>
              <a:gd name="T66" fmla="*/ 1233794 w 1618"/>
              <a:gd name="T67" fmla="*/ 106768 h 1209"/>
              <a:gd name="T68" fmla="*/ 1274763 w 1618"/>
              <a:gd name="T69" fmla="*/ 136769 h 1209"/>
              <a:gd name="T70" fmla="*/ 1191250 w 1618"/>
              <a:gd name="T71" fmla="*/ 199418 h 1209"/>
              <a:gd name="T72" fmla="*/ 1136887 w 1618"/>
              <a:gd name="T73" fmla="*/ 230302 h 1209"/>
              <a:gd name="T74" fmla="*/ 1094342 w 1618"/>
              <a:gd name="T75" fmla="*/ 289421 h 1209"/>
              <a:gd name="T76" fmla="*/ 1136887 w 1618"/>
              <a:gd name="T77" fmla="*/ 319422 h 1209"/>
              <a:gd name="T78" fmla="*/ 1164462 w 1618"/>
              <a:gd name="T79" fmla="*/ 365306 h 1209"/>
              <a:gd name="T80" fmla="*/ 1094342 w 1618"/>
              <a:gd name="T81" fmla="*/ 396190 h 1209"/>
              <a:gd name="T82" fmla="*/ 1136887 w 1618"/>
              <a:gd name="T83" fmla="*/ 457074 h 1209"/>
              <a:gd name="T84" fmla="*/ 1136887 w 1618"/>
              <a:gd name="T85" fmla="*/ 487075 h 1209"/>
              <a:gd name="T86" fmla="*/ 1080949 w 1618"/>
              <a:gd name="T87" fmla="*/ 547959 h 1209"/>
              <a:gd name="T88" fmla="*/ 1067555 w 1618"/>
              <a:gd name="T89" fmla="*/ 547959 h 1209"/>
              <a:gd name="T90" fmla="*/ 1039980 w 1618"/>
              <a:gd name="T91" fmla="*/ 578843 h 1209"/>
              <a:gd name="T92" fmla="*/ 1080949 w 1618"/>
              <a:gd name="T93" fmla="*/ 624727 h 1209"/>
              <a:gd name="T94" fmla="*/ 1039980 w 1618"/>
              <a:gd name="T95" fmla="*/ 639727 h 1209"/>
              <a:gd name="T96" fmla="*/ 1013192 w 1618"/>
              <a:gd name="T97" fmla="*/ 685611 h 1209"/>
              <a:gd name="T98" fmla="*/ 1026586 w 1618"/>
              <a:gd name="T99" fmla="*/ 715612 h 1209"/>
              <a:gd name="T100" fmla="*/ 886346 w 1618"/>
              <a:gd name="T101" fmla="*/ 761496 h 1209"/>
              <a:gd name="T102" fmla="*/ 845378 w 1618"/>
              <a:gd name="T103" fmla="*/ 792379 h 1209"/>
              <a:gd name="T104" fmla="*/ 775258 w 1618"/>
              <a:gd name="T105" fmla="*/ 853263 h 1209"/>
              <a:gd name="T106" fmla="*/ 735077 w 1618"/>
              <a:gd name="T107" fmla="*/ 853263 h 1209"/>
              <a:gd name="T108" fmla="*/ 679138 w 1618"/>
              <a:gd name="T109" fmla="*/ 914148 h 1209"/>
              <a:gd name="T110" fmla="*/ 636594 w 1618"/>
              <a:gd name="T111" fmla="*/ 975032 h 1209"/>
              <a:gd name="T112" fmla="*/ 622412 w 1618"/>
              <a:gd name="T113" fmla="*/ 1066800 h 1209"/>
              <a:gd name="T114" fmla="*/ 582231 w 1618"/>
              <a:gd name="T115" fmla="*/ 1050917 h 1209"/>
              <a:gd name="T116" fmla="*/ 512111 w 1618"/>
              <a:gd name="T117" fmla="*/ 1020916 h 1209"/>
              <a:gd name="T118" fmla="*/ 456173 w 1618"/>
              <a:gd name="T119" fmla="*/ 944149 h 1209"/>
              <a:gd name="T120" fmla="*/ 442779 w 1618"/>
              <a:gd name="T121" fmla="*/ 899147 h 1209"/>
              <a:gd name="T122" fmla="*/ 401810 w 1618"/>
              <a:gd name="T123" fmla="*/ 840028 h 1209"/>
              <a:gd name="T124" fmla="*/ 429386 w 1618"/>
              <a:gd name="T125" fmla="*/ 761496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chemeClr val="bg1"/>
          </a:solidFill>
          <a:ln w="9525">
            <a:solidFill>
              <a:schemeClr val="bg2"/>
            </a:solidFill>
            <a:round/>
            <a:headEnd/>
            <a:tailEnd/>
          </a:ln>
        </p:spPr>
        <p:txBody>
          <a:bodyPr/>
          <a:lstStyle/>
          <a:p>
            <a:endParaRPr lang="en-US" dirty="0"/>
          </a:p>
        </p:txBody>
      </p:sp>
      <p:sp>
        <p:nvSpPr>
          <p:cNvPr id="19508" name="Freeform 51"/>
          <p:cNvSpPr>
            <a:spLocks noChangeAspect="1"/>
          </p:cNvSpPr>
          <p:nvPr>
            <p:custDataLst>
              <p:tags r:id="rId28"/>
            </p:custDataLst>
          </p:nvPr>
        </p:nvSpPr>
        <p:spPr bwMode="auto">
          <a:xfrm>
            <a:off x="3079750" y="1671638"/>
            <a:ext cx="69850" cy="46037"/>
          </a:xfrm>
          <a:custGeom>
            <a:avLst/>
            <a:gdLst>
              <a:gd name="T0" fmla="*/ 13808 w 86"/>
              <a:gd name="T1" fmla="*/ 46037 h 52"/>
              <a:gd name="T2" fmla="*/ 13808 w 86"/>
              <a:gd name="T3" fmla="*/ 30101 h 52"/>
              <a:gd name="T4" fmla="*/ 0 w 86"/>
              <a:gd name="T5" fmla="*/ 15051 h 52"/>
              <a:gd name="T6" fmla="*/ 0 w 86"/>
              <a:gd name="T7" fmla="*/ 0 h 52"/>
              <a:gd name="T8" fmla="*/ 13808 w 86"/>
              <a:gd name="T9" fmla="*/ 0 h 52"/>
              <a:gd name="T10" fmla="*/ 27615 w 86"/>
              <a:gd name="T11" fmla="*/ 0 h 52"/>
              <a:gd name="T12" fmla="*/ 41423 w 86"/>
              <a:gd name="T13" fmla="*/ 0 h 52"/>
              <a:gd name="T14" fmla="*/ 69850 w 86"/>
              <a:gd name="T15" fmla="*/ 15051 h 52"/>
              <a:gd name="T16" fmla="*/ 56042 w 86"/>
              <a:gd name="T17" fmla="*/ 30101 h 52"/>
              <a:gd name="T18" fmla="*/ 41423 w 86"/>
              <a:gd name="T19" fmla="*/ 46037 h 52"/>
              <a:gd name="T20" fmla="*/ 27615 w 86"/>
              <a:gd name="T21" fmla="*/ 46037 h 52"/>
              <a:gd name="T22" fmla="*/ 13808 w 86"/>
              <a:gd name="T23" fmla="*/ 4603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chemeClr val="bg1"/>
          </a:solidFill>
          <a:ln w="9525">
            <a:solidFill>
              <a:schemeClr val="bg2"/>
            </a:solidFill>
            <a:prstDash val="solid"/>
            <a:round/>
            <a:headEnd/>
            <a:tailEnd/>
          </a:ln>
        </p:spPr>
        <p:txBody>
          <a:bodyPr/>
          <a:lstStyle/>
          <a:p>
            <a:endParaRPr lang="en-US" dirty="0"/>
          </a:p>
        </p:txBody>
      </p:sp>
      <p:sp>
        <p:nvSpPr>
          <p:cNvPr id="19509" name="Freeform 52"/>
          <p:cNvSpPr>
            <a:spLocks noChangeAspect="1"/>
          </p:cNvSpPr>
          <p:nvPr>
            <p:custDataLst>
              <p:tags r:id="rId29"/>
            </p:custDataLst>
          </p:nvPr>
        </p:nvSpPr>
        <p:spPr bwMode="auto">
          <a:xfrm>
            <a:off x="2566988" y="1717675"/>
            <a:ext cx="9525" cy="1588"/>
          </a:xfrm>
          <a:custGeom>
            <a:avLst/>
            <a:gdLst>
              <a:gd name="T0" fmla="*/ 0 w 13"/>
              <a:gd name="T1" fmla="*/ 0 h 1588"/>
              <a:gd name="T2" fmla="*/ 9525 w 13"/>
              <a:gd name="T3" fmla="*/ 0 h 1588"/>
              <a:gd name="T4" fmla="*/ 0 w 13"/>
              <a:gd name="T5" fmla="*/ 0 h 1588"/>
              <a:gd name="T6" fmla="*/ 0 60000 65536"/>
              <a:gd name="T7" fmla="*/ 0 60000 65536"/>
              <a:gd name="T8" fmla="*/ 0 60000 65536"/>
              <a:gd name="T9" fmla="*/ 0 w 13"/>
              <a:gd name="T10" fmla="*/ 0 h 1588"/>
              <a:gd name="T11" fmla="*/ 13 w 13"/>
              <a:gd name="T12" fmla="*/ 1588 h 1588"/>
            </a:gdLst>
            <a:ahLst/>
            <a:cxnLst>
              <a:cxn ang="T6">
                <a:pos x="T0" y="T1"/>
              </a:cxn>
              <a:cxn ang="T7">
                <a:pos x="T2" y="T3"/>
              </a:cxn>
              <a:cxn ang="T8">
                <a:pos x="T4" y="T5"/>
              </a:cxn>
            </a:cxnLst>
            <a:rect l="T9" t="T10" r="T11" b="T12"/>
            <a:pathLst>
              <a:path w="13" h="1588">
                <a:moveTo>
                  <a:pt x="0" y="0"/>
                </a:moveTo>
                <a:lnTo>
                  <a:pt x="13" y="0"/>
                </a:lnTo>
                <a:lnTo>
                  <a:pt x="0"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10" name="Freeform 53"/>
          <p:cNvSpPr>
            <a:spLocks noChangeAspect="1"/>
          </p:cNvSpPr>
          <p:nvPr>
            <p:custDataLst>
              <p:tags r:id="rId30"/>
            </p:custDataLst>
          </p:nvPr>
        </p:nvSpPr>
        <p:spPr bwMode="auto">
          <a:xfrm>
            <a:off x="3759200" y="1825625"/>
            <a:ext cx="209550" cy="92075"/>
          </a:xfrm>
          <a:custGeom>
            <a:avLst/>
            <a:gdLst>
              <a:gd name="T0" fmla="*/ 209550 w 265"/>
              <a:gd name="T1" fmla="*/ 43803 h 103"/>
              <a:gd name="T2" fmla="*/ 193735 w 265"/>
              <a:gd name="T3" fmla="*/ 43803 h 103"/>
              <a:gd name="T4" fmla="*/ 180292 w 265"/>
              <a:gd name="T5" fmla="*/ 61681 h 103"/>
              <a:gd name="T6" fmla="*/ 180292 w 265"/>
              <a:gd name="T7" fmla="*/ 76878 h 103"/>
              <a:gd name="T8" fmla="*/ 153406 w 265"/>
              <a:gd name="T9" fmla="*/ 76878 h 103"/>
              <a:gd name="T10" fmla="*/ 139173 w 265"/>
              <a:gd name="T11" fmla="*/ 92075 h 103"/>
              <a:gd name="T12" fmla="*/ 110706 w 265"/>
              <a:gd name="T13" fmla="*/ 92075 h 103"/>
              <a:gd name="T14" fmla="*/ 83029 w 265"/>
              <a:gd name="T15" fmla="*/ 92075 h 103"/>
              <a:gd name="T16" fmla="*/ 69586 w 265"/>
              <a:gd name="T17" fmla="*/ 92075 h 103"/>
              <a:gd name="T18" fmla="*/ 41910 w 265"/>
              <a:gd name="T19" fmla="*/ 76878 h 103"/>
              <a:gd name="T20" fmla="*/ 26886 w 265"/>
              <a:gd name="T21" fmla="*/ 61681 h 103"/>
              <a:gd name="T22" fmla="*/ 13443 w 265"/>
              <a:gd name="T23" fmla="*/ 61681 h 103"/>
              <a:gd name="T24" fmla="*/ 26886 w 265"/>
              <a:gd name="T25" fmla="*/ 61681 h 103"/>
              <a:gd name="T26" fmla="*/ 26886 w 265"/>
              <a:gd name="T27" fmla="*/ 43803 h 103"/>
              <a:gd name="T28" fmla="*/ 13443 w 265"/>
              <a:gd name="T29" fmla="*/ 43803 h 103"/>
              <a:gd name="T30" fmla="*/ 0 w 265"/>
              <a:gd name="T31" fmla="*/ 43803 h 103"/>
              <a:gd name="T32" fmla="*/ 26886 w 265"/>
              <a:gd name="T33" fmla="*/ 43803 h 103"/>
              <a:gd name="T34" fmla="*/ 41910 w 265"/>
              <a:gd name="T35" fmla="*/ 28606 h 103"/>
              <a:gd name="T36" fmla="*/ 26886 w 265"/>
              <a:gd name="T37" fmla="*/ 28606 h 103"/>
              <a:gd name="T38" fmla="*/ 13443 w 265"/>
              <a:gd name="T39" fmla="*/ 28606 h 103"/>
              <a:gd name="T40" fmla="*/ 0 w 265"/>
              <a:gd name="T41" fmla="*/ 13409 h 103"/>
              <a:gd name="T42" fmla="*/ 0 w 265"/>
              <a:gd name="T43" fmla="*/ 0 h 103"/>
              <a:gd name="T44" fmla="*/ 0 w 265"/>
              <a:gd name="T45" fmla="*/ 13409 h 103"/>
              <a:gd name="T46" fmla="*/ 0 w 265"/>
              <a:gd name="T47" fmla="*/ 0 h 103"/>
              <a:gd name="T48" fmla="*/ 13443 w 265"/>
              <a:gd name="T49" fmla="*/ 0 h 103"/>
              <a:gd name="T50" fmla="*/ 26886 w 265"/>
              <a:gd name="T51" fmla="*/ 0 h 103"/>
              <a:gd name="T52" fmla="*/ 41910 w 265"/>
              <a:gd name="T53" fmla="*/ 13409 h 103"/>
              <a:gd name="T54" fmla="*/ 41910 w 265"/>
              <a:gd name="T55" fmla="*/ 28606 h 103"/>
              <a:gd name="T56" fmla="*/ 41910 w 265"/>
              <a:gd name="T57" fmla="*/ 13409 h 103"/>
              <a:gd name="T58" fmla="*/ 56144 w 265"/>
              <a:gd name="T59" fmla="*/ 13409 h 103"/>
              <a:gd name="T60" fmla="*/ 56144 w 265"/>
              <a:gd name="T61" fmla="*/ 0 h 103"/>
              <a:gd name="T62" fmla="*/ 56144 w 265"/>
              <a:gd name="T63" fmla="*/ 13409 h 103"/>
              <a:gd name="T64" fmla="*/ 69586 w 265"/>
              <a:gd name="T65" fmla="*/ 13409 h 103"/>
              <a:gd name="T66" fmla="*/ 83029 w 265"/>
              <a:gd name="T67" fmla="*/ 13409 h 103"/>
              <a:gd name="T68" fmla="*/ 83029 w 265"/>
              <a:gd name="T69" fmla="*/ 0 h 103"/>
              <a:gd name="T70" fmla="*/ 97263 w 265"/>
              <a:gd name="T71" fmla="*/ 0 h 103"/>
              <a:gd name="T72" fmla="*/ 110706 w 265"/>
              <a:gd name="T73" fmla="*/ 0 h 103"/>
              <a:gd name="T74" fmla="*/ 125730 w 265"/>
              <a:gd name="T75" fmla="*/ 13409 h 103"/>
              <a:gd name="T76" fmla="*/ 125730 w 265"/>
              <a:gd name="T77" fmla="*/ 0 h 103"/>
              <a:gd name="T78" fmla="*/ 139173 w 265"/>
              <a:gd name="T79" fmla="*/ 0 h 103"/>
              <a:gd name="T80" fmla="*/ 153406 w 265"/>
              <a:gd name="T81" fmla="*/ 0 h 103"/>
              <a:gd name="T82" fmla="*/ 166849 w 265"/>
              <a:gd name="T83" fmla="*/ 0 h 103"/>
              <a:gd name="T84" fmla="*/ 180292 w 265"/>
              <a:gd name="T85" fmla="*/ 0 h 103"/>
              <a:gd name="T86" fmla="*/ 180292 w 265"/>
              <a:gd name="T87" fmla="*/ 28606 h 103"/>
              <a:gd name="T88" fmla="*/ 209550 w 265"/>
              <a:gd name="T89" fmla="*/ 43803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chemeClr val="bg1"/>
          </a:solidFill>
          <a:ln w="9525">
            <a:solidFill>
              <a:schemeClr val="bg2"/>
            </a:solidFill>
            <a:round/>
            <a:headEnd/>
            <a:tailEnd/>
          </a:ln>
        </p:spPr>
        <p:txBody>
          <a:bodyPr/>
          <a:lstStyle/>
          <a:p>
            <a:endParaRPr lang="en-US" dirty="0"/>
          </a:p>
        </p:txBody>
      </p:sp>
      <p:sp>
        <p:nvSpPr>
          <p:cNvPr id="19511" name="Freeform 54"/>
          <p:cNvSpPr>
            <a:spLocks noChangeAspect="1"/>
          </p:cNvSpPr>
          <p:nvPr>
            <p:custDataLst>
              <p:tags r:id="rId31"/>
            </p:custDataLst>
          </p:nvPr>
        </p:nvSpPr>
        <p:spPr bwMode="auto">
          <a:xfrm>
            <a:off x="2662238" y="1765300"/>
            <a:ext cx="28575" cy="15875"/>
          </a:xfrm>
          <a:custGeom>
            <a:avLst/>
            <a:gdLst>
              <a:gd name="T0" fmla="*/ 13494 w 36"/>
              <a:gd name="T1" fmla="*/ 15875 h 17"/>
              <a:gd name="T2" fmla="*/ 0 w 36"/>
              <a:gd name="T3" fmla="*/ 15875 h 17"/>
              <a:gd name="T4" fmla="*/ 0 w 36"/>
              <a:gd name="T5" fmla="*/ 0 h 17"/>
              <a:gd name="T6" fmla="*/ 13494 w 36"/>
              <a:gd name="T7" fmla="*/ 0 h 17"/>
              <a:gd name="T8" fmla="*/ 28575 w 36"/>
              <a:gd name="T9" fmla="*/ 15875 h 17"/>
              <a:gd name="T10" fmla="*/ 13494 w 36"/>
              <a:gd name="T11" fmla="*/ 15875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9512" name="Freeform 55"/>
          <p:cNvSpPr>
            <a:spLocks noChangeAspect="1"/>
          </p:cNvSpPr>
          <p:nvPr>
            <p:custDataLst>
              <p:tags r:id="rId32"/>
            </p:custDataLst>
          </p:nvPr>
        </p:nvSpPr>
        <p:spPr bwMode="auto">
          <a:xfrm>
            <a:off x="3841750" y="1428750"/>
            <a:ext cx="57150" cy="33338"/>
          </a:xfrm>
          <a:custGeom>
            <a:avLst/>
            <a:gdLst>
              <a:gd name="T0" fmla="*/ 14080 w 69"/>
              <a:gd name="T1" fmla="*/ 33338 h 36"/>
              <a:gd name="T2" fmla="*/ 14080 w 69"/>
              <a:gd name="T3" fmla="*/ 17595 h 36"/>
              <a:gd name="T4" fmla="*/ 0 w 69"/>
              <a:gd name="T5" fmla="*/ 17595 h 36"/>
              <a:gd name="T6" fmla="*/ 14080 w 69"/>
              <a:gd name="T7" fmla="*/ 17595 h 36"/>
              <a:gd name="T8" fmla="*/ 14080 w 69"/>
              <a:gd name="T9" fmla="*/ 0 h 36"/>
              <a:gd name="T10" fmla="*/ 28989 w 69"/>
              <a:gd name="T11" fmla="*/ 0 h 36"/>
              <a:gd name="T12" fmla="*/ 28989 w 69"/>
              <a:gd name="T13" fmla="*/ 17595 h 36"/>
              <a:gd name="T14" fmla="*/ 43070 w 69"/>
              <a:gd name="T15" fmla="*/ 17595 h 36"/>
              <a:gd name="T16" fmla="*/ 57150 w 69"/>
              <a:gd name="T17" fmla="*/ 17595 h 36"/>
              <a:gd name="T18" fmla="*/ 43070 w 69"/>
              <a:gd name="T19" fmla="*/ 17595 h 36"/>
              <a:gd name="T20" fmla="*/ 28989 w 69"/>
              <a:gd name="T21" fmla="*/ 33338 h 36"/>
              <a:gd name="T22" fmla="*/ 14080 w 69"/>
              <a:gd name="T23" fmla="*/ 33338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chemeClr val="bg1"/>
          </a:solidFill>
          <a:ln w="9525">
            <a:solidFill>
              <a:schemeClr val="bg2"/>
            </a:solidFill>
            <a:prstDash val="solid"/>
            <a:round/>
            <a:headEnd/>
            <a:tailEnd/>
          </a:ln>
        </p:spPr>
        <p:txBody>
          <a:bodyPr/>
          <a:lstStyle/>
          <a:p>
            <a:endParaRPr lang="en-US" dirty="0"/>
          </a:p>
        </p:txBody>
      </p:sp>
      <p:sp>
        <p:nvSpPr>
          <p:cNvPr id="19513" name="Freeform 56"/>
          <p:cNvSpPr>
            <a:spLocks noChangeAspect="1"/>
          </p:cNvSpPr>
          <p:nvPr>
            <p:custDataLst>
              <p:tags r:id="rId33"/>
            </p:custDataLst>
          </p:nvPr>
        </p:nvSpPr>
        <p:spPr bwMode="auto">
          <a:xfrm>
            <a:off x="663575" y="1620838"/>
            <a:ext cx="808038" cy="860425"/>
          </a:xfrm>
          <a:custGeom>
            <a:avLst/>
            <a:gdLst>
              <a:gd name="T0" fmla="*/ 808038 w 1023"/>
              <a:gd name="T1" fmla="*/ 833950 h 975"/>
              <a:gd name="T2" fmla="*/ 766965 w 1023"/>
              <a:gd name="T3" fmla="*/ 762469 h 975"/>
              <a:gd name="T4" fmla="*/ 710884 w 1023"/>
              <a:gd name="T5" fmla="*/ 677750 h 975"/>
              <a:gd name="T6" fmla="*/ 669811 w 1023"/>
              <a:gd name="T7" fmla="*/ 648628 h 975"/>
              <a:gd name="T8" fmla="*/ 615310 w 1023"/>
              <a:gd name="T9" fmla="*/ 622154 h 975"/>
              <a:gd name="T10" fmla="*/ 574236 w 1023"/>
              <a:gd name="T11" fmla="*/ 622154 h 975"/>
              <a:gd name="T12" fmla="*/ 574236 w 1023"/>
              <a:gd name="T13" fmla="*/ 113841 h 975"/>
              <a:gd name="T14" fmla="*/ 492880 w 1023"/>
              <a:gd name="T15" fmla="*/ 98839 h 975"/>
              <a:gd name="T16" fmla="*/ 438378 w 1023"/>
              <a:gd name="T17" fmla="*/ 84719 h 975"/>
              <a:gd name="T18" fmla="*/ 342804 w 1023"/>
              <a:gd name="T19" fmla="*/ 56479 h 975"/>
              <a:gd name="T20" fmla="*/ 287513 w 1023"/>
              <a:gd name="T21" fmla="*/ 29122 h 975"/>
              <a:gd name="T22" fmla="*/ 247230 w 1023"/>
              <a:gd name="T23" fmla="*/ 0 h 975"/>
              <a:gd name="T24" fmla="*/ 192729 w 1023"/>
              <a:gd name="T25" fmla="*/ 42359 h 975"/>
              <a:gd name="T26" fmla="*/ 137438 w 1023"/>
              <a:gd name="T27" fmla="*/ 71481 h 975"/>
              <a:gd name="T28" fmla="*/ 97154 w 1023"/>
              <a:gd name="T29" fmla="*/ 156200 h 975"/>
              <a:gd name="T30" fmla="*/ 26856 w 1023"/>
              <a:gd name="T31" fmla="*/ 198560 h 975"/>
              <a:gd name="T32" fmla="*/ 97154 w 1023"/>
              <a:gd name="T33" fmla="*/ 268276 h 975"/>
              <a:gd name="T34" fmla="*/ 124010 w 1023"/>
              <a:gd name="T35" fmla="*/ 325638 h 975"/>
              <a:gd name="T36" fmla="*/ 81357 w 1023"/>
              <a:gd name="T37" fmla="*/ 296516 h 975"/>
              <a:gd name="T38" fmla="*/ 13428 w 1023"/>
              <a:gd name="T39" fmla="*/ 325638 h 975"/>
              <a:gd name="T40" fmla="*/ 26856 w 1023"/>
              <a:gd name="T41" fmla="*/ 367997 h 975"/>
              <a:gd name="T42" fmla="*/ 26856 w 1023"/>
              <a:gd name="T43" fmla="*/ 395354 h 975"/>
              <a:gd name="T44" fmla="*/ 81357 w 1023"/>
              <a:gd name="T45" fmla="*/ 410357 h 975"/>
              <a:gd name="T46" fmla="*/ 137438 w 1023"/>
              <a:gd name="T47" fmla="*/ 395354 h 975"/>
              <a:gd name="T48" fmla="*/ 151655 w 1023"/>
              <a:gd name="T49" fmla="*/ 436831 h 975"/>
              <a:gd name="T50" fmla="*/ 110582 w 1023"/>
              <a:gd name="T51" fmla="*/ 465953 h 975"/>
              <a:gd name="T52" fmla="*/ 81357 w 1023"/>
              <a:gd name="T53" fmla="*/ 479191 h 975"/>
              <a:gd name="T54" fmla="*/ 41073 w 1023"/>
              <a:gd name="T55" fmla="*/ 550672 h 975"/>
              <a:gd name="T56" fmla="*/ 97154 w 1023"/>
              <a:gd name="T57" fmla="*/ 635391 h 975"/>
              <a:gd name="T58" fmla="*/ 124010 w 1023"/>
              <a:gd name="T59" fmla="*/ 648628 h 975"/>
              <a:gd name="T60" fmla="*/ 137438 w 1023"/>
              <a:gd name="T61" fmla="*/ 677750 h 975"/>
              <a:gd name="T62" fmla="*/ 192729 w 1023"/>
              <a:gd name="T63" fmla="*/ 690988 h 975"/>
              <a:gd name="T64" fmla="*/ 219584 w 1023"/>
              <a:gd name="T65" fmla="*/ 677750 h 975"/>
              <a:gd name="T66" fmla="*/ 219584 w 1023"/>
              <a:gd name="T67" fmla="*/ 733347 h 975"/>
              <a:gd name="T68" fmla="*/ 110582 w 1023"/>
              <a:gd name="T69" fmla="*/ 804828 h 975"/>
              <a:gd name="T70" fmla="*/ 54501 w 1023"/>
              <a:gd name="T71" fmla="*/ 847188 h 975"/>
              <a:gd name="T72" fmla="*/ 137438 w 1023"/>
              <a:gd name="T73" fmla="*/ 818066 h 975"/>
              <a:gd name="T74" fmla="*/ 206156 w 1023"/>
              <a:gd name="T75" fmla="*/ 775706 h 975"/>
              <a:gd name="T76" fmla="*/ 301731 w 1023"/>
              <a:gd name="T77" fmla="*/ 690988 h 975"/>
              <a:gd name="T78" fmla="*/ 287513 w 1023"/>
              <a:gd name="T79" fmla="*/ 664513 h 975"/>
              <a:gd name="T80" fmla="*/ 328586 w 1023"/>
              <a:gd name="T81" fmla="*/ 622154 h 975"/>
              <a:gd name="T82" fmla="*/ 369660 w 1023"/>
              <a:gd name="T83" fmla="*/ 563909 h 975"/>
              <a:gd name="T84" fmla="*/ 369660 w 1023"/>
              <a:gd name="T85" fmla="*/ 579794 h 975"/>
              <a:gd name="T86" fmla="*/ 342804 w 1023"/>
              <a:gd name="T87" fmla="*/ 635391 h 975"/>
              <a:gd name="T88" fmla="*/ 342804 w 1023"/>
              <a:gd name="T89" fmla="*/ 664513 h 975"/>
              <a:gd name="T90" fmla="*/ 397305 w 1023"/>
              <a:gd name="T91" fmla="*/ 635391 h 975"/>
              <a:gd name="T92" fmla="*/ 424161 w 1023"/>
              <a:gd name="T93" fmla="*/ 606269 h 975"/>
              <a:gd name="T94" fmla="*/ 451806 w 1023"/>
              <a:gd name="T95" fmla="*/ 593031 h 975"/>
              <a:gd name="T96" fmla="*/ 547381 w 1023"/>
              <a:gd name="T97" fmla="*/ 622154 h 975"/>
              <a:gd name="T98" fmla="*/ 601882 w 1023"/>
              <a:gd name="T99" fmla="*/ 635391 h 975"/>
              <a:gd name="T100" fmla="*/ 669811 w 1023"/>
              <a:gd name="T101" fmla="*/ 706872 h 975"/>
              <a:gd name="T102" fmla="*/ 697456 w 1023"/>
              <a:gd name="T103" fmla="*/ 720110 h 975"/>
              <a:gd name="T104" fmla="*/ 697456 w 1023"/>
              <a:gd name="T105" fmla="*/ 706872 h 975"/>
              <a:gd name="T106" fmla="*/ 710884 w 1023"/>
              <a:gd name="T107" fmla="*/ 749232 h 975"/>
              <a:gd name="T108" fmla="*/ 751957 w 1023"/>
              <a:gd name="T109" fmla="*/ 762469 h 975"/>
              <a:gd name="T110" fmla="*/ 724312 w 1023"/>
              <a:gd name="T111" fmla="*/ 762469 h 975"/>
              <a:gd name="T112" fmla="*/ 738529 w 1023"/>
              <a:gd name="T113" fmla="*/ 775706 h 975"/>
              <a:gd name="T114" fmla="*/ 766965 w 1023"/>
              <a:gd name="T115" fmla="*/ 847188 h 975"/>
              <a:gd name="T116" fmla="*/ 751957 w 1023"/>
              <a:gd name="T117" fmla="*/ 791591 h 975"/>
              <a:gd name="T118" fmla="*/ 766965 w 1023"/>
              <a:gd name="T119" fmla="*/ 804828 h 975"/>
              <a:gd name="T120" fmla="*/ 794610 w 1023"/>
              <a:gd name="T121" fmla="*/ 847188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noFill/>
          <a:ln w="9525">
            <a:solidFill>
              <a:schemeClr val="bg2"/>
            </a:solidFill>
            <a:prstDash val="solid"/>
            <a:round/>
            <a:headEnd/>
            <a:tailEnd/>
          </a:ln>
        </p:spPr>
        <p:txBody>
          <a:bodyPr/>
          <a:lstStyle/>
          <a:p>
            <a:endParaRPr lang="en-US" dirty="0"/>
          </a:p>
        </p:txBody>
      </p:sp>
      <p:sp>
        <p:nvSpPr>
          <p:cNvPr id="19514" name="Freeform 57"/>
          <p:cNvSpPr>
            <a:spLocks noChangeAspect="1"/>
          </p:cNvSpPr>
          <p:nvPr>
            <p:custDataLst>
              <p:tags r:id="rId34"/>
            </p:custDataLst>
          </p:nvPr>
        </p:nvSpPr>
        <p:spPr bwMode="auto">
          <a:xfrm>
            <a:off x="2549525" y="2397125"/>
            <a:ext cx="26988" cy="26988"/>
          </a:xfrm>
          <a:custGeom>
            <a:avLst/>
            <a:gdLst>
              <a:gd name="T0" fmla="*/ 0 w 34"/>
              <a:gd name="T1" fmla="*/ 14721 h 33"/>
              <a:gd name="T2" fmla="*/ 0 w 34"/>
              <a:gd name="T3" fmla="*/ 14721 h 33"/>
              <a:gd name="T4" fmla="*/ 26988 w 34"/>
              <a:gd name="T5" fmla="*/ 26988 h 33"/>
              <a:gd name="T6" fmla="*/ 26988 w 34"/>
              <a:gd name="T7" fmla="*/ 0 h 33"/>
              <a:gd name="T8" fmla="*/ 0 w 34"/>
              <a:gd name="T9" fmla="*/ 14721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000080"/>
          </a:solidFill>
          <a:ln w="9525">
            <a:solidFill>
              <a:schemeClr val="bg2"/>
            </a:solidFill>
            <a:prstDash val="solid"/>
            <a:round/>
            <a:headEnd/>
            <a:tailEnd/>
          </a:ln>
        </p:spPr>
        <p:txBody>
          <a:bodyPr/>
          <a:lstStyle/>
          <a:p>
            <a:endParaRPr lang="en-US" dirty="0"/>
          </a:p>
        </p:txBody>
      </p:sp>
      <p:sp>
        <p:nvSpPr>
          <p:cNvPr id="19515" name="Freeform 58"/>
          <p:cNvSpPr>
            <a:spLocks noChangeAspect="1"/>
          </p:cNvSpPr>
          <p:nvPr>
            <p:custDataLst>
              <p:tags r:id="rId35"/>
            </p:custDataLst>
          </p:nvPr>
        </p:nvSpPr>
        <p:spPr bwMode="auto">
          <a:xfrm>
            <a:off x="2511425" y="2522538"/>
            <a:ext cx="26988" cy="15875"/>
          </a:xfrm>
          <a:custGeom>
            <a:avLst/>
            <a:gdLst>
              <a:gd name="T0" fmla="*/ 0 w 34"/>
              <a:gd name="T1" fmla="*/ 0 h 17"/>
              <a:gd name="T2" fmla="*/ 0 w 34"/>
              <a:gd name="T3" fmla="*/ 0 h 17"/>
              <a:gd name="T4" fmla="*/ 26988 w 34"/>
              <a:gd name="T5" fmla="*/ 15875 h 17"/>
              <a:gd name="T6" fmla="*/ 26988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516" name="Freeform 59"/>
          <p:cNvSpPr>
            <a:spLocks noChangeAspect="1"/>
          </p:cNvSpPr>
          <p:nvPr>
            <p:custDataLst>
              <p:tags r:id="rId36"/>
            </p:custDataLst>
          </p:nvPr>
        </p:nvSpPr>
        <p:spPr bwMode="auto">
          <a:xfrm>
            <a:off x="663575" y="2225675"/>
            <a:ext cx="41275" cy="30163"/>
          </a:xfrm>
          <a:custGeom>
            <a:avLst/>
            <a:gdLst>
              <a:gd name="T0" fmla="*/ 0 w 52"/>
              <a:gd name="T1" fmla="*/ 16453 h 33"/>
              <a:gd name="T2" fmla="*/ 0 w 52"/>
              <a:gd name="T3" fmla="*/ 16453 h 33"/>
              <a:gd name="T4" fmla="*/ 26988 w 52"/>
              <a:gd name="T5" fmla="*/ 30163 h 33"/>
              <a:gd name="T6" fmla="*/ 41275 w 52"/>
              <a:gd name="T7" fmla="*/ 16453 h 33"/>
              <a:gd name="T8" fmla="*/ 26988 w 52"/>
              <a:gd name="T9" fmla="*/ 0 h 33"/>
              <a:gd name="T10" fmla="*/ 0 w 52"/>
              <a:gd name="T11" fmla="*/ 16453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rgbClr val="000080"/>
          </a:solidFill>
          <a:ln w="9525">
            <a:solidFill>
              <a:schemeClr val="bg2"/>
            </a:solidFill>
            <a:prstDash val="solid"/>
            <a:round/>
            <a:headEnd/>
            <a:tailEnd/>
          </a:ln>
        </p:spPr>
        <p:txBody>
          <a:bodyPr/>
          <a:lstStyle/>
          <a:p>
            <a:endParaRPr lang="en-US" dirty="0"/>
          </a:p>
        </p:txBody>
      </p:sp>
      <p:sp>
        <p:nvSpPr>
          <p:cNvPr id="19517" name="Freeform 60"/>
          <p:cNvSpPr>
            <a:spLocks noChangeAspect="1"/>
          </p:cNvSpPr>
          <p:nvPr>
            <p:custDataLst>
              <p:tags r:id="rId37"/>
            </p:custDataLst>
          </p:nvPr>
        </p:nvSpPr>
        <p:spPr bwMode="auto">
          <a:xfrm>
            <a:off x="938213" y="2311400"/>
            <a:ext cx="68262" cy="69850"/>
          </a:xfrm>
          <a:custGeom>
            <a:avLst/>
            <a:gdLst>
              <a:gd name="T0" fmla="*/ 0 w 87"/>
              <a:gd name="T1" fmla="*/ 56915 h 81"/>
              <a:gd name="T2" fmla="*/ 0 w 87"/>
              <a:gd name="T3" fmla="*/ 56915 h 81"/>
              <a:gd name="T4" fmla="*/ 13339 w 87"/>
              <a:gd name="T5" fmla="*/ 69850 h 81"/>
              <a:gd name="T6" fmla="*/ 40800 w 87"/>
              <a:gd name="T7" fmla="*/ 41393 h 81"/>
              <a:gd name="T8" fmla="*/ 54139 w 87"/>
              <a:gd name="T9" fmla="*/ 41393 h 81"/>
              <a:gd name="T10" fmla="*/ 54139 w 87"/>
              <a:gd name="T11" fmla="*/ 28457 h 81"/>
              <a:gd name="T12" fmla="*/ 40800 w 87"/>
              <a:gd name="T13" fmla="*/ 28457 h 81"/>
              <a:gd name="T14" fmla="*/ 68262 w 87"/>
              <a:gd name="T15" fmla="*/ 15522 h 81"/>
              <a:gd name="T16" fmla="*/ 54139 w 87"/>
              <a:gd name="T17" fmla="*/ 0 h 81"/>
              <a:gd name="T18" fmla="*/ 0 w 87"/>
              <a:gd name="T19" fmla="*/ 56915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000080"/>
          </a:solidFill>
          <a:ln w="9525">
            <a:solidFill>
              <a:schemeClr val="bg2"/>
            </a:solidFill>
            <a:prstDash val="solid"/>
            <a:round/>
            <a:headEnd/>
            <a:tailEnd/>
          </a:ln>
        </p:spPr>
        <p:txBody>
          <a:bodyPr/>
          <a:lstStyle/>
          <a:p>
            <a:endParaRPr lang="en-US" dirty="0"/>
          </a:p>
        </p:txBody>
      </p:sp>
      <p:sp>
        <p:nvSpPr>
          <p:cNvPr id="19518" name="Freeform 61"/>
          <p:cNvSpPr>
            <a:spLocks noChangeAspect="1"/>
          </p:cNvSpPr>
          <p:nvPr>
            <p:custDataLst>
              <p:tags r:id="rId38"/>
            </p:custDataLst>
          </p:nvPr>
        </p:nvSpPr>
        <p:spPr bwMode="auto">
          <a:xfrm>
            <a:off x="1414463" y="2481263"/>
            <a:ext cx="42862" cy="84137"/>
          </a:xfrm>
          <a:custGeom>
            <a:avLst/>
            <a:gdLst>
              <a:gd name="T0" fmla="*/ 0 w 54"/>
              <a:gd name="T1" fmla="*/ 0 h 96"/>
              <a:gd name="T2" fmla="*/ 0 w 54"/>
              <a:gd name="T3" fmla="*/ 0 h 96"/>
              <a:gd name="T4" fmla="*/ 0 w 54"/>
              <a:gd name="T5" fmla="*/ 28922 h 96"/>
              <a:gd name="T6" fmla="*/ 15081 w 54"/>
              <a:gd name="T7" fmla="*/ 70991 h 96"/>
              <a:gd name="T8" fmla="*/ 42862 w 54"/>
              <a:gd name="T9" fmla="*/ 84137 h 96"/>
              <a:gd name="T10" fmla="*/ 15081 w 54"/>
              <a:gd name="T11" fmla="*/ 56968 h 96"/>
              <a:gd name="T12" fmla="*/ 28575 w 54"/>
              <a:gd name="T13" fmla="*/ 42069 h 96"/>
              <a:gd name="T14" fmla="*/ 15081 w 54"/>
              <a:gd name="T15" fmla="*/ 28922 h 96"/>
              <a:gd name="T16" fmla="*/ 28575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519" name="Freeform 62"/>
          <p:cNvSpPr>
            <a:spLocks noChangeAspect="1"/>
          </p:cNvSpPr>
          <p:nvPr>
            <p:custDataLst>
              <p:tags r:id="rId39"/>
            </p:custDataLst>
          </p:nvPr>
        </p:nvSpPr>
        <p:spPr bwMode="auto">
          <a:xfrm>
            <a:off x="1512888" y="2606675"/>
            <a:ext cx="109537" cy="87313"/>
          </a:xfrm>
          <a:custGeom>
            <a:avLst/>
            <a:gdLst>
              <a:gd name="T0" fmla="*/ 0 w 140"/>
              <a:gd name="T1" fmla="*/ 0 h 96"/>
              <a:gd name="T2" fmla="*/ 0 w 140"/>
              <a:gd name="T3" fmla="*/ 0 h 96"/>
              <a:gd name="T4" fmla="*/ 13301 w 140"/>
              <a:gd name="T5" fmla="*/ 30014 h 96"/>
              <a:gd name="T6" fmla="*/ 40685 w 140"/>
              <a:gd name="T7" fmla="*/ 43657 h 96"/>
              <a:gd name="T8" fmla="*/ 67287 w 140"/>
              <a:gd name="T9" fmla="*/ 59118 h 96"/>
              <a:gd name="T10" fmla="*/ 67287 w 140"/>
              <a:gd name="T11" fmla="*/ 73670 h 96"/>
              <a:gd name="T12" fmla="*/ 94671 w 140"/>
              <a:gd name="T13" fmla="*/ 87313 h 96"/>
              <a:gd name="T14" fmla="*/ 109537 w 140"/>
              <a:gd name="T15" fmla="*/ 87313 h 96"/>
              <a:gd name="T16" fmla="*/ 53986 w 140"/>
              <a:gd name="T17" fmla="*/ 15462 h 96"/>
              <a:gd name="T18" fmla="*/ 13301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520" name="Line 63"/>
          <p:cNvSpPr>
            <a:spLocks noChangeAspect="1" noChangeShapeType="1"/>
          </p:cNvSpPr>
          <p:nvPr>
            <p:custDataLst>
              <p:tags r:id="rId40"/>
            </p:custDataLst>
          </p:nvPr>
        </p:nvSpPr>
        <p:spPr bwMode="auto">
          <a:xfrm flipV="1">
            <a:off x="644525" y="2517775"/>
            <a:ext cx="14288" cy="53975"/>
          </a:xfrm>
          <a:prstGeom prst="line">
            <a:avLst/>
          </a:prstGeom>
          <a:noFill/>
          <a:ln w="9525">
            <a:solidFill>
              <a:schemeClr val="bg2"/>
            </a:solidFill>
            <a:round/>
            <a:headEnd/>
            <a:tailEnd/>
          </a:ln>
        </p:spPr>
        <p:txBody>
          <a:bodyPr/>
          <a:lstStyle/>
          <a:p>
            <a:endParaRPr lang="en-US" dirty="0"/>
          </a:p>
        </p:txBody>
      </p:sp>
      <p:sp>
        <p:nvSpPr>
          <p:cNvPr id="19521" name="Freeform 64"/>
          <p:cNvSpPr>
            <a:spLocks noChangeAspect="1"/>
          </p:cNvSpPr>
          <p:nvPr>
            <p:custDataLst>
              <p:tags r:id="rId41"/>
            </p:custDataLst>
          </p:nvPr>
        </p:nvSpPr>
        <p:spPr bwMode="auto">
          <a:xfrm>
            <a:off x="663575" y="2497138"/>
            <a:ext cx="26988" cy="12700"/>
          </a:xfrm>
          <a:custGeom>
            <a:avLst/>
            <a:gdLst>
              <a:gd name="T0" fmla="*/ 0 w 34"/>
              <a:gd name="T1" fmla="*/ 12700 h 16"/>
              <a:gd name="T2" fmla="*/ 0 w 34"/>
              <a:gd name="T3" fmla="*/ 12700 h 16"/>
              <a:gd name="T4" fmla="*/ 26988 w 34"/>
              <a:gd name="T5" fmla="*/ 12700 h 16"/>
              <a:gd name="T6" fmla="*/ 26988 w 34"/>
              <a:gd name="T7" fmla="*/ 0 h 16"/>
              <a:gd name="T8" fmla="*/ 13494 w 34"/>
              <a:gd name="T9" fmla="*/ 0 h 16"/>
              <a:gd name="T10" fmla="*/ 13494 w 34"/>
              <a:gd name="T11" fmla="*/ 12700 h 16"/>
              <a:gd name="T12" fmla="*/ 0 w 34"/>
              <a:gd name="T13" fmla="*/ 12700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9522" name="Freeform 65"/>
          <p:cNvSpPr>
            <a:spLocks noChangeAspect="1"/>
          </p:cNvSpPr>
          <p:nvPr>
            <p:custDataLst>
              <p:tags r:id="rId42"/>
            </p:custDataLst>
          </p:nvPr>
        </p:nvSpPr>
        <p:spPr bwMode="auto">
          <a:xfrm>
            <a:off x="1239838" y="1600200"/>
            <a:ext cx="1843087" cy="1306513"/>
          </a:xfrm>
          <a:custGeom>
            <a:avLst/>
            <a:gdLst>
              <a:gd name="T0" fmla="*/ 1337775 w 2338"/>
              <a:gd name="T1" fmla="*/ 1264082 h 1478"/>
              <a:gd name="T2" fmla="*/ 1269980 w 2338"/>
              <a:gd name="T3" fmla="*/ 1264082 h 1478"/>
              <a:gd name="T4" fmla="*/ 1310972 w 2338"/>
              <a:gd name="T5" fmla="*/ 1221652 h 1478"/>
              <a:gd name="T6" fmla="*/ 1215586 w 2338"/>
              <a:gd name="T7" fmla="*/ 1151818 h 1478"/>
              <a:gd name="T8" fmla="*/ 1147002 w 2338"/>
              <a:gd name="T9" fmla="*/ 1066956 h 1478"/>
              <a:gd name="T10" fmla="*/ 1009835 w 2338"/>
              <a:gd name="T11" fmla="*/ 1081100 h 1478"/>
              <a:gd name="T12" fmla="*/ 383122 w 2338"/>
              <a:gd name="T13" fmla="*/ 1066956 h 1478"/>
              <a:gd name="T14" fmla="*/ 286159 w 2338"/>
              <a:gd name="T15" fmla="*/ 996238 h 1478"/>
              <a:gd name="T16" fmla="*/ 231765 w 2338"/>
              <a:gd name="T17" fmla="*/ 882206 h 1478"/>
              <a:gd name="T18" fmla="*/ 148204 w 2338"/>
              <a:gd name="T19" fmla="*/ 699223 h 1478"/>
              <a:gd name="T20" fmla="*/ 81985 w 2338"/>
              <a:gd name="T21" fmla="*/ 685964 h 1478"/>
              <a:gd name="T22" fmla="*/ 0 w 2338"/>
              <a:gd name="T23" fmla="*/ 627621 h 1478"/>
              <a:gd name="T24" fmla="*/ 108000 w 2338"/>
              <a:gd name="T25" fmla="*/ 161767 h 1478"/>
              <a:gd name="T26" fmla="*/ 245167 w 2338"/>
              <a:gd name="T27" fmla="*/ 91933 h 1478"/>
              <a:gd name="T28" fmla="*/ 313750 w 2338"/>
              <a:gd name="T29" fmla="*/ 105193 h 1478"/>
              <a:gd name="T30" fmla="*/ 353955 w 2338"/>
              <a:gd name="T31" fmla="*/ 147624 h 1478"/>
              <a:gd name="T32" fmla="*/ 449341 w 2338"/>
              <a:gd name="T33" fmla="*/ 147624 h 1478"/>
              <a:gd name="T34" fmla="*/ 573895 w 2338"/>
              <a:gd name="T35" fmla="*/ 190054 h 1478"/>
              <a:gd name="T36" fmla="*/ 599121 w 2338"/>
              <a:gd name="T37" fmla="*/ 261656 h 1478"/>
              <a:gd name="T38" fmla="*/ 696085 w 2338"/>
              <a:gd name="T39" fmla="*/ 219225 h 1478"/>
              <a:gd name="T40" fmla="*/ 845865 w 2338"/>
              <a:gd name="T41" fmla="*/ 246629 h 1478"/>
              <a:gd name="T42" fmla="*/ 927850 w 2338"/>
              <a:gd name="T43" fmla="*/ 204198 h 1478"/>
              <a:gd name="T44" fmla="*/ 957018 w 2338"/>
              <a:gd name="T45" fmla="*/ 161767 h 1478"/>
              <a:gd name="T46" fmla="*/ 968843 w 2338"/>
              <a:gd name="T47" fmla="*/ 261656 h 1478"/>
              <a:gd name="T48" fmla="*/ 1009835 w 2338"/>
              <a:gd name="T49" fmla="*/ 147624 h 1478"/>
              <a:gd name="T50" fmla="*/ 1011412 w 2338"/>
              <a:gd name="T51" fmla="*/ 0 h 1478"/>
              <a:gd name="T52" fmla="*/ 1106798 w 2338"/>
              <a:gd name="T53" fmla="*/ 204198 h 1478"/>
              <a:gd name="T54" fmla="*/ 1161192 w 2338"/>
              <a:gd name="T55" fmla="*/ 274916 h 1478"/>
              <a:gd name="T56" fmla="*/ 1202185 w 2338"/>
              <a:gd name="T57" fmla="*/ 119336 h 1478"/>
              <a:gd name="T58" fmla="*/ 1283381 w 2338"/>
              <a:gd name="T59" fmla="*/ 161767 h 1478"/>
              <a:gd name="T60" fmla="*/ 1283381 w 2338"/>
              <a:gd name="T61" fmla="*/ 261656 h 1478"/>
              <a:gd name="T62" fmla="*/ 1202185 w 2338"/>
              <a:gd name="T63" fmla="*/ 317347 h 1478"/>
              <a:gd name="T64" fmla="*/ 1161192 w 2338"/>
              <a:gd name="T65" fmla="*/ 402208 h 1478"/>
              <a:gd name="T66" fmla="*/ 1091032 w 2338"/>
              <a:gd name="T67" fmla="*/ 516241 h 1478"/>
              <a:gd name="T68" fmla="*/ 1024813 w 2338"/>
              <a:gd name="T69" fmla="*/ 571931 h 1478"/>
              <a:gd name="T70" fmla="*/ 1038214 w 2338"/>
              <a:gd name="T71" fmla="*/ 699223 h 1478"/>
              <a:gd name="T72" fmla="*/ 1147002 w 2338"/>
              <a:gd name="T73" fmla="*/ 813256 h 1478"/>
              <a:gd name="T74" fmla="*/ 1269980 w 2338"/>
              <a:gd name="T75" fmla="*/ 939664 h 1478"/>
              <a:gd name="T76" fmla="*/ 1351965 w 2338"/>
              <a:gd name="T77" fmla="*/ 855686 h 1478"/>
              <a:gd name="T78" fmla="*/ 1351965 w 2338"/>
              <a:gd name="T79" fmla="*/ 685964 h 1478"/>
              <a:gd name="T80" fmla="*/ 1351965 w 2338"/>
              <a:gd name="T81" fmla="*/ 614362 h 1478"/>
              <a:gd name="T82" fmla="*/ 1366943 w 2338"/>
              <a:gd name="T83" fmla="*/ 529500 h 1478"/>
              <a:gd name="T84" fmla="*/ 1489132 w 2338"/>
              <a:gd name="T85" fmla="*/ 585191 h 1478"/>
              <a:gd name="T86" fmla="*/ 1582942 w 2338"/>
              <a:gd name="T87" fmla="*/ 728394 h 1478"/>
              <a:gd name="T88" fmla="*/ 1623935 w 2338"/>
              <a:gd name="T89" fmla="*/ 656792 h 1478"/>
              <a:gd name="T90" fmla="*/ 1707496 w 2338"/>
              <a:gd name="T91" fmla="*/ 813256 h 1478"/>
              <a:gd name="T92" fmla="*/ 1775292 w 2338"/>
              <a:gd name="T93" fmla="*/ 855686 h 1478"/>
              <a:gd name="T94" fmla="*/ 1802883 w 2338"/>
              <a:gd name="T95" fmla="*/ 911377 h 1478"/>
              <a:gd name="T96" fmla="*/ 1843087 w 2338"/>
              <a:gd name="T97" fmla="*/ 967067 h 1478"/>
              <a:gd name="T98" fmla="*/ 1707496 w 2338"/>
              <a:gd name="T99" fmla="*/ 1038669 h 1478"/>
              <a:gd name="T100" fmla="*/ 1571117 w 2338"/>
              <a:gd name="T101" fmla="*/ 1066956 h 1478"/>
              <a:gd name="T102" fmla="*/ 1557716 w 2338"/>
              <a:gd name="T103" fmla="*/ 1094359 h 1478"/>
              <a:gd name="T104" fmla="*/ 1653102 w 2338"/>
              <a:gd name="T105" fmla="*/ 1094359 h 1478"/>
              <a:gd name="T106" fmla="*/ 1638913 w 2338"/>
              <a:gd name="T107" fmla="*/ 1109387 h 1478"/>
              <a:gd name="T108" fmla="*/ 1707496 w 2338"/>
              <a:gd name="T109" fmla="*/ 1179221 h 1478"/>
              <a:gd name="T110" fmla="*/ 1748489 w 2338"/>
              <a:gd name="T111" fmla="*/ 1165961 h 1478"/>
              <a:gd name="T112" fmla="*/ 1623935 w 2338"/>
              <a:gd name="T113" fmla="*/ 1250823 h 1478"/>
              <a:gd name="T114" fmla="*/ 1638913 w 2338"/>
              <a:gd name="T115" fmla="*/ 1179221 h 1478"/>
              <a:gd name="T116" fmla="*/ 1571117 w 2338"/>
              <a:gd name="T117" fmla="*/ 1136790 h 1478"/>
              <a:gd name="T118" fmla="*/ 1516723 w 2338"/>
              <a:gd name="T119" fmla="*/ 1194248 h 1478"/>
              <a:gd name="T120" fmla="*/ 1378768 w 2338"/>
              <a:gd name="T121" fmla="*/ 1236679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000080"/>
          </a:solidFill>
          <a:ln w="9525">
            <a:solidFill>
              <a:schemeClr val="bg2"/>
            </a:solidFill>
            <a:prstDash val="solid"/>
            <a:round/>
            <a:headEnd/>
            <a:tailEnd/>
          </a:ln>
        </p:spPr>
        <p:txBody>
          <a:bodyPr/>
          <a:lstStyle/>
          <a:p>
            <a:endParaRPr lang="en-US" dirty="0"/>
          </a:p>
        </p:txBody>
      </p:sp>
      <p:sp>
        <p:nvSpPr>
          <p:cNvPr id="19523" name="Freeform 66"/>
          <p:cNvSpPr>
            <a:spLocks noChangeAspect="1"/>
          </p:cNvSpPr>
          <p:nvPr>
            <p:custDataLst>
              <p:tags r:id="rId43"/>
            </p:custDataLst>
          </p:nvPr>
        </p:nvSpPr>
        <p:spPr bwMode="auto">
          <a:xfrm>
            <a:off x="2727325" y="3470275"/>
            <a:ext cx="80963" cy="57150"/>
          </a:xfrm>
          <a:custGeom>
            <a:avLst/>
            <a:gdLst>
              <a:gd name="T0" fmla="*/ 0 w 104"/>
              <a:gd name="T1" fmla="*/ 43543 h 63"/>
              <a:gd name="T2" fmla="*/ 0 w 104"/>
              <a:gd name="T3" fmla="*/ 43543 h 63"/>
              <a:gd name="T4" fmla="*/ 0 w 104"/>
              <a:gd name="T5" fmla="*/ 0 h 63"/>
              <a:gd name="T6" fmla="*/ 40482 w 104"/>
              <a:gd name="T7" fmla="*/ 0 h 63"/>
              <a:gd name="T8" fmla="*/ 40482 w 104"/>
              <a:gd name="T9" fmla="*/ 13607 h 63"/>
              <a:gd name="T10" fmla="*/ 53716 w 104"/>
              <a:gd name="T11" fmla="*/ 13607 h 63"/>
              <a:gd name="T12" fmla="*/ 80963 w 104"/>
              <a:gd name="T13" fmla="*/ 28121 h 63"/>
              <a:gd name="T14" fmla="*/ 67729 w 104"/>
              <a:gd name="T15" fmla="*/ 43543 h 63"/>
              <a:gd name="T16" fmla="*/ 67729 w 104"/>
              <a:gd name="T17" fmla="*/ 28121 h 63"/>
              <a:gd name="T18" fmla="*/ 27247 w 104"/>
              <a:gd name="T19" fmla="*/ 43543 h 63"/>
              <a:gd name="T20" fmla="*/ 27247 w 104"/>
              <a:gd name="T21" fmla="*/ 28121 h 63"/>
              <a:gd name="T22" fmla="*/ 14013 w 104"/>
              <a:gd name="T23" fmla="*/ 43543 h 63"/>
              <a:gd name="T24" fmla="*/ 14013 w 104"/>
              <a:gd name="T25" fmla="*/ 57150 h 63"/>
              <a:gd name="T26" fmla="*/ 0 w 104"/>
              <a:gd name="T27" fmla="*/ 43543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524" name="Freeform 67"/>
          <p:cNvSpPr>
            <a:spLocks noChangeAspect="1"/>
          </p:cNvSpPr>
          <p:nvPr>
            <p:custDataLst>
              <p:tags r:id="rId44"/>
            </p:custDataLst>
          </p:nvPr>
        </p:nvSpPr>
        <p:spPr bwMode="auto">
          <a:xfrm>
            <a:off x="2674938" y="3470275"/>
            <a:ext cx="52387" cy="42863"/>
          </a:xfrm>
          <a:custGeom>
            <a:avLst/>
            <a:gdLst>
              <a:gd name="T0" fmla="*/ 52387 w 69"/>
              <a:gd name="T1" fmla="*/ 42863 h 48"/>
              <a:gd name="T2" fmla="*/ 52387 w 69"/>
              <a:gd name="T3" fmla="*/ 42863 h 48"/>
              <a:gd name="T4" fmla="*/ 52387 w 69"/>
              <a:gd name="T5" fmla="*/ 0 h 48"/>
              <a:gd name="T6" fmla="*/ 26573 w 69"/>
              <a:gd name="T7" fmla="*/ 0 h 48"/>
              <a:gd name="T8" fmla="*/ 39480 w 69"/>
              <a:gd name="T9" fmla="*/ 27682 h 48"/>
              <a:gd name="T10" fmla="*/ 0 w 69"/>
              <a:gd name="T11" fmla="*/ 42863 h 48"/>
              <a:gd name="T12" fmla="*/ 13666 w 69"/>
              <a:gd name="T13" fmla="*/ 42863 h 48"/>
              <a:gd name="T14" fmla="*/ 52387 w 69"/>
              <a:gd name="T15" fmla="*/ 42863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chemeClr val="bg1"/>
          </a:solidFill>
          <a:ln w="9525">
            <a:solidFill>
              <a:schemeClr val="bg2"/>
            </a:solidFill>
            <a:prstDash val="solid"/>
            <a:round/>
            <a:headEnd/>
            <a:tailEnd/>
          </a:ln>
        </p:spPr>
        <p:txBody>
          <a:bodyPr/>
          <a:lstStyle/>
          <a:p>
            <a:endParaRPr lang="en-US" dirty="0"/>
          </a:p>
        </p:txBody>
      </p:sp>
      <p:sp>
        <p:nvSpPr>
          <p:cNvPr id="19525" name="Freeform 68"/>
          <p:cNvSpPr>
            <a:spLocks noChangeAspect="1"/>
          </p:cNvSpPr>
          <p:nvPr>
            <p:custDataLst>
              <p:tags r:id="rId45"/>
            </p:custDataLst>
          </p:nvPr>
        </p:nvSpPr>
        <p:spPr bwMode="auto">
          <a:xfrm>
            <a:off x="2946400" y="3681413"/>
            <a:ext cx="14288" cy="14287"/>
          </a:xfrm>
          <a:custGeom>
            <a:avLst/>
            <a:gdLst>
              <a:gd name="T0" fmla="*/ 0 w 17"/>
              <a:gd name="T1" fmla="*/ 14287 h 15"/>
              <a:gd name="T2" fmla="*/ 0 w 17"/>
              <a:gd name="T3" fmla="*/ 14287 h 15"/>
              <a:gd name="T4" fmla="*/ 14288 w 17"/>
              <a:gd name="T5" fmla="*/ 14287 h 15"/>
              <a:gd name="T6" fmla="*/ 14288 w 17"/>
              <a:gd name="T7" fmla="*/ 0 h 15"/>
              <a:gd name="T8" fmla="*/ 0 w 17"/>
              <a:gd name="T9" fmla="*/ 0 h 15"/>
              <a:gd name="T10" fmla="*/ 0 w 17"/>
              <a:gd name="T11" fmla="*/ 142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526" name="Freeform 69"/>
          <p:cNvSpPr>
            <a:spLocks noChangeAspect="1"/>
          </p:cNvSpPr>
          <p:nvPr>
            <p:custDataLst>
              <p:tags r:id="rId46"/>
            </p:custDataLst>
          </p:nvPr>
        </p:nvSpPr>
        <p:spPr bwMode="auto">
          <a:xfrm>
            <a:off x="2592388" y="3498850"/>
            <a:ext cx="39687" cy="28575"/>
          </a:xfrm>
          <a:custGeom>
            <a:avLst/>
            <a:gdLst>
              <a:gd name="T0" fmla="*/ 0 w 51"/>
              <a:gd name="T1" fmla="*/ 15180 h 32"/>
              <a:gd name="T2" fmla="*/ 0 w 51"/>
              <a:gd name="T3" fmla="*/ 15180 h 32"/>
              <a:gd name="T4" fmla="*/ 26458 w 51"/>
              <a:gd name="T5" fmla="*/ 28575 h 32"/>
              <a:gd name="T6" fmla="*/ 39687 w 51"/>
              <a:gd name="T7" fmla="*/ 15180 h 32"/>
              <a:gd name="T8" fmla="*/ 13229 w 51"/>
              <a:gd name="T9" fmla="*/ 0 h 32"/>
              <a:gd name="T10" fmla="*/ 0 w 51"/>
              <a:gd name="T11" fmla="*/ 15180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527" name="Freeform 70"/>
          <p:cNvSpPr>
            <a:spLocks noChangeAspect="1"/>
          </p:cNvSpPr>
          <p:nvPr>
            <p:custDataLst>
              <p:tags r:id="rId47"/>
            </p:custDataLst>
          </p:nvPr>
        </p:nvSpPr>
        <p:spPr bwMode="auto">
          <a:xfrm>
            <a:off x="2455863" y="3386138"/>
            <a:ext cx="219075" cy="84137"/>
          </a:xfrm>
          <a:custGeom>
            <a:avLst/>
            <a:gdLst>
              <a:gd name="T0" fmla="*/ 0 w 276"/>
              <a:gd name="T1" fmla="*/ 42069 h 96"/>
              <a:gd name="T2" fmla="*/ 0 w 276"/>
              <a:gd name="T3" fmla="*/ 42069 h 96"/>
              <a:gd name="T4" fmla="*/ 13494 w 276"/>
              <a:gd name="T5" fmla="*/ 42069 h 96"/>
              <a:gd name="T6" fmla="*/ 41275 w 276"/>
              <a:gd name="T7" fmla="*/ 13146 h 96"/>
              <a:gd name="T8" fmla="*/ 68262 w 276"/>
              <a:gd name="T9" fmla="*/ 27169 h 96"/>
              <a:gd name="T10" fmla="*/ 54769 w 276"/>
              <a:gd name="T11" fmla="*/ 27169 h 96"/>
              <a:gd name="T12" fmla="*/ 68262 w 276"/>
              <a:gd name="T13" fmla="*/ 27169 h 96"/>
              <a:gd name="T14" fmla="*/ 123031 w 276"/>
              <a:gd name="T15" fmla="*/ 42069 h 96"/>
              <a:gd name="T16" fmla="*/ 137319 w 276"/>
              <a:gd name="T17" fmla="*/ 69238 h 96"/>
              <a:gd name="T18" fmla="*/ 164306 w 276"/>
              <a:gd name="T19" fmla="*/ 69238 h 96"/>
              <a:gd name="T20" fmla="*/ 150812 w 276"/>
              <a:gd name="T21" fmla="*/ 84137 h 96"/>
              <a:gd name="T22" fmla="*/ 219075 w 276"/>
              <a:gd name="T23" fmla="*/ 84137 h 96"/>
              <a:gd name="T24" fmla="*/ 205581 w 276"/>
              <a:gd name="T25" fmla="*/ 69238 h 96"/>
              <a:gd name="T26" fmla="*/ 192087 w 276"/>
              <a:gd name="T27" fmla="*/ 69238 h 96"/>
              <a:gd name="T28" fmla="*/ 192087 w 276"/>
              <a:gd name="T29" fmla="*/ 55215 h 96"/>
              <a:gd name="T30" fmla="*/ 137319 w 276"/>
              <a:gd name="T31" fmla="*/ 27169 h 96"/>
              <a:gd name="T32" fmla="*/ 68262 w 276"/>
              <a:gd name="T33" fmla="*/ 0 h 96"/>
              <a:gd name="T34" fmla="*/ 26988 w 276"/>
              <a:gd name="T35" fmla="*/ 13146 h 96"/>
              <a:gd name="T36" fmla="*/ 0 w 276"/>
              <a:gd name="T37" fmla="*/ 42069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528" name="Freeform 71"/>
          <p:cNvSpPr>
            <a:spLocks noChangeAspect="1"/>
          </p:cNvSpPr>
          <p:nvPr>
            <p:custDataLst>
              <p:tags r:id="rId48"/>
            </p:custDataLst>
          </p:nvPr>
        </p:nvSpPr>
        <p:spPr bwMode="auto">
          <a:xfrm>
            <a:off x="2838450" y="3498850"/>
            <a:ext cx="25400" cy="14288"/>
          </a:xfrm>
          <a:custGeom>
            <a:avLst/>
            <a:gdLst>
              <a:gd name="T0" fmla="*/ 0 w 33"/>
              <a:gd name="T1" fmla="*/ 14288 h 17"/>
              <a:gd name="T2" fmla="*/ 0 w 33"/>
              <a:gd name="T3" fmla="*/ 14288 h 17"/>
              <a:gd name="T4" fmla="*/ 25400 w 33"/>
              <a:gd name="T5" fmla="*/ 14288 h 17"/>
              <a:gd name="T6" fmla="*/ 0 w 33"/>
              <a:gd name="T7" fmla="*/ 0 h 17"/>
              <a:gd name="T8" fmla="*/ 0 w 33"/>
              <a:gd name="T9" fmla="*/ 142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529" name="Freeform 72"/>
          <p:cNvSpPr>
            <a:spLocks noChangeAspect="1"/>
          </p:cNvSpPr>
          <p:nvPr>
            <p:custDataLst>
              <p:tags r:id="rId49"/>
            </p:custDataLst>
          </p:nvPr>
        </p:nvSpPr>
        <p:spPr bwMode="auto">
          <a:xfrm>
            <a:off x="2946400" y="3554413"/>
            <a:ext cx="14288" cy="15875"/>
          </a:xfrm>
          <a:custGeom>
            <a:avLst/>
            <a:gdLst>
              <a:gd name="T0" fmla="*/ 0 w 17"/>
              <a:gd name="T1" fmla="*/ 0 h 15"/>
              <a:gd name="T2" fmla="*/ 0 w 17"/>
              <a:gd name="T3" fmla="*/ 0 h 15"/>
              <a:gd name="T4" fmla="*/ 0 w 17"/>
              <a:gd name="T5" fmla="*/ 15875 h 15"/>
              <a:gd name="T6" fmla="*/ 142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30" name="Freeform 73"/>
          <p:cNvSpPr>
            <a:spLocks noChangeAspect="1"/>
          </p:cNvSpPr>
          <p:nvPr>
            <p:custDataLst>
              <p:tags r:id="rId50"/>
            </p:custDataLst>
          </p:nvPr>
        </p:nvSpPr>
        <p:spPr bwMode="auto">
          <a:xfrm>
            <a:off x="2592388" y="3344863"/>
            <a:ext cx="14287" cy="41275"/>
          </a:xfrm>
          <a:custGeom>
            <a:avLst/>
            <a:gdLst>
              <a:gd name="T0" fmla="*/ 0 w 17"/>
              <a:gd name="T1" fmla="*/ 0 h 48"/>
              <a:gd name="T2" fmla="*/ 0 w 17"/>
              <a:gd name="T3" fmla="*/ 0 h 48"/>
              <a:gd name="T4" fmla="*/ 0 w 17"/>
              <a:gd name="T5" fmla="*/ 12898 h 48"/>
              <a:gd name="T6" fmla="*/ 14287 w 17"/>
              <a:gd name="T7" fmla="*/ 41275 h 48"/>
              <a:gd name="T8" fmla="*/ 14287 w 17"/>
              <a:gd name="T9" fmla="*/ 12898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chemeClr val="accent1"/>
          </a:solidFill>
          <a:ln w="9525">
            <a:solidFill>
              <a:schemeClr val="bg2"/>
            </a:solidFill>
            <a:prstDash val="solid"/>
            <a:round/>
            <a:headEnd/>
            <a:tailEnd/>
          </a:ln>
        </p:spPr>
        <p:txBody>
          <a:bodyPr/>
          <a:lstStyle/>
          <a:p>
            <a:endParaRPr lang="en-US" dirty="0"/>
          </a:p>
        </p:txBody>
      </p:sp>
      <p:sp>
        <p:nvSpPr>
          <p:cNvPr id="19531" name="Freeform 74"/>
          <p:cNvSpPr>
            <a:spLocks noChangeAspect="1"/>
          </p:cNvSpPr>
          <p:nvPr>
            <p:custDataLst>
              <p:tags r:id="rId51"/>
            </p:custDataLst>
          </p:nvPr>
        </p:nvSpPr>
        <p:spPr bwMode="auto">
          <a:xfrm>
            <a:off x="3000375" y="2581275"/>
            <a:ext cx="138113" cy="169863"/>
          </a:xfrm>
          <a:custGeom>
            <a:avLst/>
            <a:gdLst>
              <a:gd name="T0" fmla="*/ 0 w 175"/>
              <a:gd name="T1" fmla="*/ 127397 h 192"/>
              <a:gd name="T2" fmla="*/ 0 w 175"/>
              <a:gd name="T3" fmla="*/ 127397 h 192"/>
              <a:gd name="T4" fmla="*/ 0 w 175"/>
              <a:gd name="T5" fmla="*/ 141553 h 192"/>
              <a:gd name="T6" fmla="*/ 13417 w 175"/>
              <a:gd name="T7" fmla="*/ 141553 h 192"/>
              <a:gd name="T8" fmla="*/ 82079 w 175"/>
              <a:gd name="T9" fmla="*/ 141553 h 192"/>
              <a:gd name="T10" fmla="*/ 82079 w 175"/>
              <a:gd name="T11" fmla="*/ 154823 h 192"/>
              <a:gd name="T12" fmla="*/ 67873 w 175"/>
              <a:gd name="T13" fmla="*/ 154823 h 192"/>
              <a:gd name="T14" fmla="*/ 82079 w 175"/>
              <a:gd name="T15" fmla="*/ 154823 h 192"/>
              <a:gd name="T16" fmla="*/ 95495 w 175"/>
              <a:gd name="T17" fmla="*/ 141553 h 192"/>
              <a:gd name="T18" fmla="*/ 110490 w 175"/>
              <a:gd name="T19" fmla="*/ 141553 h 192"/>
              <a:gd name="T20" fmla="*/ 110490 w 175"/>
              <a:gd name="T21" fmla="*/ 154823 h 192"/>
              <a:gd name="T22" fmla="*/ 123907 w 175"/>
              <a:gd name="T23" fmla="*/ 154823 h 192"/>
              <a:gd name="T24" fmla="*/ 123907 w 175"/>
              <a:gd name="T25" fmla="*/ 169863 h 192"/>
              <a:gd name="T26" fmla="*/ 138113 w 175"/>
              <a:gd name="T27" fmla="*/ 169863 h 192"/>
              <a:gd name="T28" fmla="*/ 138113 w 175"/>
              <a:gd name="T29" fmla="*/ 141553 h 192"/>
              <a:gd name="T30" fmla="*/ 123907 w 175"/>
              <a:gd name="T31" fmla="*/ 141553 h 192"/>
              <a:gd name="T32" fmla="*/ 138113 w 175"/>
              <a:gd name="T33" fmla="*/ 127397 h 192"/>
              <a:gd name="T34" fmla="*/ 123907 w 175"/>
              <a:gd name="T35" fmla="*/ 141553 h 192"/>
              <a:gd name="T36" fmla="*/ 110490 w 175"/>
              <a:gd name="T37" fmla="*/ 127397 h 192"/>
              <a:gd name="T38" fmla="*/ 138113 w 175"/>
              <a:gd name="T39" fmla="*/ 99087 h 192"/>
              <a:gd name="T40" fmla="*/ 123907 w 175"/>
              <a:gd name="T41" fmla="*/ 112357 h 192"/>
              <a:gd name="T42" fmla="*/ 110490 w 175"/>
              <a:gd name="T43" fmla="*/ 99087 h 192"/>
              <a:gd name="T44" fmla="*/ 123907 w 175"/>
              <a:gd name="T45" fmla="*/ 84932 h 192"/>
              <a:gd name="T46" fmla="*/ 82079 w 175"/>
              <a:gd name="T47" fmla="*/ 84932 h 192"/>
              <a:gd name="T48" fmla="*/ 67873 w 175"/>
              <a:gd name="T49" fmla="*/ 69892 h 192"/>
              <a:gd name="T50" fmla="*/ 82079 w 175"/>
              <a:gd name="T51" fmla="*/ 56621 h 192"/>
              <a:gd name="T52" fmla="*/ 67873 w 175"/>
              <a:gd name="T53" fmla="*/ 56621 h 192"/>
              <a:gd name="T54" fmla="*/ 54456 w 175"/>
              <a:gd name="T55" fmla="*/ 69892 h 192"/>
              <a:gd name="T56" fmla="*/ 82079 w 175"/>
              <a:gd name="T57" fmla="*/ 0 h 192"/>
              <a:gd name="T58" fmla="*/ 54456 w 175"/>
              <a:gd name="T59" fmla="*/ 14155 h 192"/>
              <a:gd name="T60" fmla="*/ 13417 w 175"/>
              <a:gd name="T61" fmla="*/ 99087 h 192"/>
              <a:gd name="T62" fmla="*/ 13417 w 175"/>
              <a:gd name="T63" fmla="*/ 112357 h 192"/>
              <a:gd name="T64" fmla="*/ 0 w 175"/>
              <a:gd name="T65" fmla="*/ 12739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000080"/>
          </a:solidFill>
          <a:ln w="9525">
            <a:noFill/>
            <a:prstDash val="solid"/>
            <a:round/>
            <a:headEnd/>
            <a:tailEnd/>
          </a:ln>
        </p:spPr>
        <p:txBody>
          <a:bodyPr/>
          <a:lstStyle/>
          <a:p>
            <a:endParaRPr lang="en-US" dirty="0"/>
          </a:p>
        </p:txBody>
      </p:sp>
      <p:sp>
        <p:nvSpPr>
          <p:cNvPr id="19532" name="Line 75"/>
          <p:cNvSpPr>
            <a:spLocks noChangeAspect="1" noChangeShapeType="1"/>
          </p:cNvSpPr>
          <p:nvPr>
            <p:custDataLst>
              <p:tags r:id="rId52"/>
            </p:custDataLst>
          </p:nvPr>
        </p:nvSpPr>
        <p:spPr bwMode="auto">
          <a:xfrm>
            <a:off x="2967038" y="3605213"/>
            <a:ext cx="12700" cy="14287"/>
          </a:xfrm>
          <a:prstGeom prst="line">
            <a:avLst/>
          </a:prstGeom>
          <a:noFill/>
          <a:ln w="9525">
            <a:solidFill>
              <a:schemeClr val="bg2"/>
            </a:solidFill>
            <a:round/>
            <a:headEnd/>
            <a:tailEnd/>
          </a:ln>
        </p:spPr>
        <p:txBody>
          <a:bodyPr/>
          <a:lstStyle/>
          <a:p>
            <a:endParaRPr lang="en-US" dirty="0"/>
          </a:p>
        </p:txBody>
      </p:sp>
      <p:sp>
        <p:nvSpPr>
          <p:cNvPr id="19533" name="Line 76"/>
          <p:cNvSpPr>
            <a:spLocks noChangeAspect="1" noChangeShapeType="1"/>
          </p:cNvSpPr>
          <p:nvPr>
            <p:custDataLst>
              <p:tags r:id="rId53"/>
            </p:custDataLst>
          </p:nvPr>
        </p:nvSpPr>
        <p:spPr bwMode="auto">
          <a:xfrm>
            <a:off x="2582863" y="3322638"/>
            <a:ext cx="28575" cy="14287"/>
          </a:xfrm>
          <a:prstGeom prst="line">
            <a:avLst/>
          </a:prstGeom>
          <a:noFill/>
          <a:ln w="9525">
            <a:solidFill>
              <a:schemeClr val="bg2"/>
            </a:solidFill>
            <a:round/>
            <a:headEnd/>
            <a:tailEnd/>
          </a:ln>
        </p:spPr>
        <p:txBody>
          <a:bodyPr/>
          <a:lstStyle/>
          <a:p>
            <a:endParaRPr lang="en-US" dirty="0"/>
          </a:p>
        </p:txBody>
      </p:sp>
      <p:sp>
        <p:nvSpPr>
          <p:cNvPr id="19534" name="Freeform 77"/>
          <p:cNvSpPr>
            <a:spLocks noChangeAspect="1"/>
          </p:cNvSpPr>
          <p:nvPr>
            <p:custDataLst>
              <p:tags r:id="rId54"/>
            </p:custDataLst>
          </p:nvPr>
        </p:nvSpPr>
        <p:spPr bwMode="auto">
          <a:xfrm>
            <a:off x="2606675" y="3300413"/>
            <a:ext cx="12700" cy="28575"/>
          </a:xfrm>
          <a:custGeom>
            <a:avLst/>
            <a:gdLst>
              <a:gd name="T0" fmla="*/ 0 w 17"/>
              <a:gd name="T1" fmla="*/ 0 h 31"/>
              <a:gd name="T2" fmla="*/ 0 w 17"/>
              <a:gd name="T3" fmla="*/ 0 h 31"/>
              <a:gd name="T4" fmla="*/ 12700 w 17"/>
              <a:gd name="T5" fmla="*/ 13827 h 31"/>
              <a:gd name="T6" fmla="*/ 12700 w 17"/>
              <a:gd name="T7" fmla="*/ 2857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chemeClr val="accent1"/>
          </a:solidFill>
          <a:ln w="9525">
            <a:solidFill>
              <a:schemeClr val="bg2"/>
            </a:solidFill>
            <a:prstDash val="solid"/>
            <a:round/>
            <a:headEnd/>
            <a:tailEnd/>
          </a:ln>
        </p:spPr>
        <p:txBody>
          <a:bodyPr/>
          <a:lstStyle/>
          <a:p>
            <a:endParaRPr lang="en-US" dirty="0"/>
          </a:p>
        </p:txBody>
      </p:sp>
      <p:sp>
        <p:nvSpPr>
          <p:cNvPr id="19535" name="Freeform 78"/>
          <p:cNvSpPr>
            <a:spLocks noChangeAspect="1"/>
          </p:cNvSpPr>
          <p:nvPr>
            <p:custDataLst>
              <p:tags r:id="rId55"/>
            </p:custDataLst>
          </p:nvPr>
        </p:nvSpPr>
        <p:spPr bwMode="auto">
          <a:xfrm>
            <a:off x="2619375" y="3328988"/>
            <a:ext cx="12700" cy="28575"/>
          </a:xfrm>
          <a:custGeom>
            <a:avLst/>
            <a:gdLst>
              <a:gd name="T0" fmla="*/ 0 w 17"/>
              <a:gd name="T1" fmla="*/ 0 h 32"/>
              <a:gd name="T2" fmla="*/ 0 w 17"/>
              <a:gd name="T3" fmla="*/ 0 h 32"/>
              <a:gd name="T4" fmla="*/ 12700 w 17"/>
              <a:gd name="T5" fmla="*/ 15180 h 32"/>
              <a:gd name="T6" fmla="*/ 12700 w 17"/>
              <a:gd name="T7" fmla="*/ 28575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chemeClr val="accent1"/>
          </a:solidFill>
          <a:ln w="9525">
            <a:solidFill>
              <a:schemeClr val="bg2"/>
            </a:solidFill>
            <a:prstDash val="solid"/>
            <a:round/>
            <a:headEnd/>
            <a:tailEnd/>
          </a:ln>
        </p:spPr>
        <p:txBody>
          <a:bodyPr/>
          <a:lstStyle/>
          <a:p>
            <a:endParaRPr lang="en-US" dirty="0"/>
          </a:p>
        </p:txBody>
      </p:sp>
      <p:sp>
        <p:nvSpPr>
          <p:cNvPr id="19536" name="Freeform 79"/>
          <p:cNvSpPr>
            <a:spLocks noChangeAspect="1"/>
          </p:cNvSpPr>
          <p:nvPr>
            <p:custDataLst>
              <p:tags r:id="rId56"/>
            </p:custDataLst>
          </p:nvPr>
        </p:nvSpPr>
        <p:spPr bwMode="auto">
          <a:xfrm>
            <a:off x="2674938" y="3398838"/>
            <a:ext cx="12700" cy="15875"/>
          </a:xfrm>
          <a:custGeom>
            <a:avLst/>
            <a:gdLst>
              <a:gd name="T0" fmla="*/ 0 w 18"/>
              <a:gd name="T1" fmla="*/ 0 h 16"/>
              <a:gd name="T2" fmla="*/ 0 w 18"/>
              <a:gd name="T3" fmla="*/ 0 h 16"/>
              <a:gd name="T4" fmla="*/ 12700 w 18"/>
              <a:gd name="T5" fmla="*/ 15875 h 16"/>
              <a:gd name="T6" fmla="*/ 0 w 18"/>
              <a:gd name="T7" fmla="*/ 158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9537" name="Freeform 80"/>
          <p:cNvSpPr>
            <a:spLocks noChangeAspect="1"/>
          </p:cNvSpPr>
          <p:nvPr>
            <p:custDataLst>
              <p:tags r:id="rId57"/>
            </p:custDataLst>
          </p:nvPr>
        </p:nvSpPr>
        <p:spPr bwMode="auto">
          <a:xfrm>
            <a:off x="2714625" y="3429000"/>
            <a:ext cx="26988" cy="1588"/>
          </a:xfrm>
          <a:custGeom>
            <a:avLst/>
            <a:gdLst>
              <a:gd name="T0" fmla="*/ 0 w 33"/>
              <a:gd name="T1" fmla="*/ 0 h 1588"/>
              <a:gd name="T2" fmla="*/ 0 w 33"/>
              <a:gd name="T3" fmla="*/ 0 h 1588"/>
              <a:gd name="T4" fmla="*/ 12267 w 33"/>
              <a:gd name="T5" fmla="*/ 0 h 1588"/>
              <a:gd name="T6" fmla="*/ 26988 w 33"/>
              <a:gd name="T7" fmla="*/ 0 h 1588"/>
              <a:gd name="T8" fmla="*/ 0 60000 65536"/>
              <a:gd name="T9" fmla="*/ 0 60000 65536"/>
              <a:gd name="T10" fmla="*/ 0 60000 65536"/>
              <a:gd name="T11" fmla="*/ 0 60000 65536"/>
              <a:gd name="T12" fmla="*/ 0 w 33"/>
              <a:gd name="T13" fmla="*/ 0 h 1588"/>
              <a:gd name="T14" fmla="*/ 33 w 33"/>
              <a:gd name="T15" fmla="*/ 1588 h 1588"/>
            </a:gdLst>
            <a:ahLst/>
            <a:cxnLst>
              <a:cxn ang="T8">
                <a:pos x="T0" y="T1"/>
              </a:cxn>
              <a:cxn ang="T9">
                <a:pos x="T2" y="T3"/>
              </a:cxn>
              <a:cxn ang="T10">
                <a:pos x="T4" y="T5"/>
              </a:cxn>
              <a:cxn ang="T11">
                <a:pos x="T6" y="T7"/>
              </a:cxn>
            </a:cxnLst>
            <a:rect l="T12" t="T13" r="T14" b="T15"/>
            <a:pathLst>
              <a:path w="33" h="1588">
                <a:moveTo>
                  <a:pt x="0" y="0"/>
                </a:moveTo>
                <a:lnTo>
                  <a:pt x="0" y="0"/>
                </a:lnTo>
                <a:lnTo>
                  <a:pt x="15" y="0"/>
                </a:lnTo>
                <a:lnTo>
                  <a:pt x="33" y="0"/>
                </a:lnTo>
              </a:path>
            </a:pathLst>
          </a:custGeom>
          <a:solidFill>
            <a:schemeClr val="accent1"/>
          </a:solidFill>
          <a:ln w="9525">
            <a:solidFill>
              <a:schemeClr val="bg2"/>
            </a:solidFill>
            <a:prstDash val="solid"/>
            <a:round/>
            <a:headEnd/>
            <a:tailEnd/>
          </a:ln>
        </p:spPr>
        <p:txBody>
          <a:bodyPr/>
          <a:lstStyle/>
          <a:p>
            <a:endParaRPr lang="en-US" dirty="0"/>
          </a:p>
        </p:txBody>
      </p:sp>
      <p:sp>
        <p:nvSpPr>
          <p:cNvPr id="19538" name="Line 81"/>
          <p:cNvSpPr>
            <a:spLocks noChangeAspect="1" noChangeShapeType="1"/>
          </p:cNvSpPr>
          <p:nvPr>
            <p:custDataLst>
              <p:tags r:id="rId58"/>
            </p:custDataLst>
          </p:nvPr>
        </p:nvSpPr>
        <p:spPr bwMode="auto">
          <a:xfrm>
            <a:off x="2654300" y="3379788"/>
            <a:ext cx="11113" cy="12700"/>
          </a:xfrm>
          <a:prstGeom prst="line">
            <a:avLst/>
          </a:prstGeom>
          <a:noFill/>
          <a:ln w="9525">
            <a:solidFill>
              <a:schemeClr val="bg2"/>
            </a:solidFill>
            <a:round/>
            <a:headEnd/>
            <a:tailEnd/>
          </a:ln>
        </p:spPr>
        <p:txBody>
          <a:bodyPr/>
          <a:lstStyle/>
          <a:p>
            <a:endParaRPr lang="en-US" dirty="0"/>
          </a:p>
        </p:txBody>
      </p:sp>
      <p:sp>
        <p:nvSpPr>
          <p:cNvPr id="19539" name="Freeform 82"/>
          <p:cNvSpPr>
            <a:spLocks noChangeAspect="1"/>
          </p:cNvSpPr>
          <p:nvPr>
            <p:custDataLst>
              <p:tags r:id="rId59"/>
            </p:custDataLst>
          </p:nvPr>
        </p:nvSpPr>
        <p:spPr bwMode="auto">
          <a:xfrm>
            <a:off x="1593850" y="2651125"/>
            <a:ext cx="1244600" cy="693738"/>
          </a:xfrm>
          <a:custGeom>
            <a:avLst/>
            <a:gdLst>
              <a:gd name="T0" fmla="*/ 628610 w 1578"/>
              <a:gd name="T1" fmla="*/ 15024 h 785"/>
              <a:gd name="T2" fmla="*/ 683031 w 1578"/>
              <a:gd name="T3" fmla="*/ 29164 h 785"/>
              <a:gd name="T4" fmla="*/ 697228 w 1578"/>
              <a:gd name="T5" fmla="*/ 99863 h 785"/>
              <a:gd name="T6" fmla="*/ 780044 w 1578"/>
              <a:gd name="T7" fmla="*/ 84839 h 785"/>
              <a:gd name="T8" fmla="*/ 807649 w 1578"/>
              <a:gd name="T9" fmla="*/ 99863 h 785"/>
              <a:gd name="T10" fmla="*/ 875479 w 1578"/>
              <a:gd name="T11" fmla="*/ 114003 h 785"/>
              <a:gd name="T12" fmla="*/ 793452 w 1578"/>
              <a:gd name="T13" fmla="*/ 169679 h 785"/>
              <a:gd name="T14" fmla="*/ 793452 w 1578"/>
              <a:gd name="T15" fmla="*/ 241262 h 785"/>
              <a:gd name="T16" fmla="*/ 821058 w 1578"/>
              <a:gd name="T17" fmla="*/ 241262 h 785"/>
              <a:gd name="T18" fmla="*/ 848663 w 1578"/>
              <a:gd name="T19" fmla="*/ 142283 h 785"/>
              <a:gd name="T20" fmla="*/ 888887 w 1578"/>
              <a:gd name="T21" fmla="*/ 169679 h 785"/>
              <a:gd name="T22" fmla="*/ 903084 w 1578"/>
              <a:gd name="T23" fmla="*/ 212098 h 785"/>
              <a:gd name="T24" fmla="*/ 903084 w 1578"/>
              <a:gd name="T25" fmla="*/ 254518 h 785"/>
              <a:gd name="T26" fmla="*/ 984323 w 1578"/>
              <a:gd name="T27" fmla="*/ 198842 h 785"/>
              <a:gd name="T28" fmla="*/ 1066349 w 1578"/>
              <a:gd name="T29" fmla="*/ 156422 h 785"/>
              <a:gd name="T30" fmla="*/ 1190178 w 1578"/>
              <a:gd name="T31" fmla="*/ 71583 h 785"/>
              <a:gd name="T32" fmla="*/ 1217784 w 1578"/>
              <a:gd name="T33" fmla="*/ 84839 h 785"/>
              <a:gd name="T34" fmla="*/ 1244600 w 1578"/>
              <a:gd name="T35" fmla="*/ 156422 h 785"/>
              <a:gd name="T36" fmla="*/ 1190178 w 1578"/>
              <a:gd name="T37" fmla="*/ 184702 h 785"/>
              <a:gd name="T38" fmla="*/ 1163362 w 1578"/>
              <a:gd name="T39" fmla="*/ 254518 h 785"/>
              <a:gd name="T40" fmla="*/ 1176770 w 1578"/>
              <a:gd name="T41" fmla="*/ 254518 h 785"/>
              <a:gd name="T42" fmla="*/ 1093955 w 1578"/>
              <a:gd name="T43" fmla="*/ 283681 h 785"/>
              <a:gd name="T44" fmla="*/ 1052941 w 1578"/>
              <a:gd name="T45" fmla="*/ 311961 h 785"/>
              <a:gd name="T46" fmla="*/ 1052941 w 1578"/>
              <a:gd name="T47" fmla="*/ 354381 h 785"/>
              <a:gd name="T48" fmla="*/ 1038744 w 1578"/>
              <a:gd name="T49" fmla="*/ 326101 h 785"/>
              <a:gd name="T50" fmla="*/ 1038744 w 1578"/>
              <a:gd name="T51" fmla="*/ 354381 h 785"/>
              <a:gd name="T52" fmla="*/ 1038744 w 1578"/>
              <a:gd name="T53" fmla="*/ 452476 h 785"/>
              <a:gd name="T54" fmla="*/ 929901 w 1578"/>
              <a:gd name="T55" fmla="*/ 551455 h 785"/>
              <a:gd name="T56" fmla="*/ 943309 w 1578"/>
              <a:gd name="T57" fmla="*/ 693738 h 785"/>
              <a:gd name="T58" fmla="*/ 903084 w 1578"/>
              <a:gd name="T59" fmla="*/ 593875 h 785"/>
              <a:gd name="T60" fmla="*/ 848663 w 1578"/>
              <a:gd name="T61" fmla="*/ 566479 h 785"/>
              <a:gd name="T62" fmla="*/ 793452 w 1578"/>
              <a:gd name="T63" fmla="*/ 551455 h 785"/>
              <a:gd name="T64" fmla="*/ 766636 w 1578"/>
              <a:gd name="T65" fmla="*/ 566479 h 785"/>
              <a:gd name="T66" fmla="*/ 753227 w 1578"/>
              <a:gd name="T67" fmla="*/ 593875 h 785"/>
              <a:gd name="T68" fmla="*/ 697228 w 1578"/>
              <a:gd name="T69" fmla="*/ 579735 h 785"/>
              <a:gd name="T70" fmla="*/ 642018 w 1578"/>
              <a:gd name="T71" fmla="*/ 579735 h 785"/>
              <a:gd name="T72" fmla="*/ 587596 w 1578"/>
              <a:gd name="T73" fmla="*/ 636295 h 785"/>
              <a:gd name="T74" fmla="*/ 492161 w 1578"/>
              <a:gd name="T75" fmla="*/ 579735 h 785"/>
              <a:gd name="T76" fmla="*/ 451937 w 1578"/>
              <a:gd name="T77" fmla="*/ 593875 h 785"/>
              <a:gd name="T78" fmla="*/ 396726 w 1578"/>
              <a:gd name="T79" fmla="*/ 524059 h 785"/>
              <a:gd name="T80" fmla="*/ 164054 w 1578"/>
              <a:gd name="T81" fmla="*/ 509036 h 785"/>
              <a:gd name="T82" fmla="*/ 136449 w 1578"/>
              <a:gd name="T83" fmla="*/ 466616 h 785"/>
              <a:gd name="T84" fmla="*/ 55210 w 1578"/>
              <a:gd name="T85" fmla="*/ 410057 h 785"/>
              <a:gd name="T86" fmla="*/ 41013 w 1578"/>
              <a:gd name="T87" fmla="*/ 367637 h 785"/>
              <a:gd name="T88" fmla="*/ 27605 w 1578"/>
              <a:gd name="T89" fmla="*/ 354381 h 785"/>
              <a:gd name="T90" fmla="*/ 14197 w 1578"/>
              <a:gd name="T91" fmla="*/ 311961 h 785"/>
              <a:gd name="T92" fmla="*/ 0 w 1578"/>
              <a:gd name="T93" fmla="*/ 212098 h 785"/>
              <a:gd name="T94" fmla="*/ 14197 w 1578"/>
              <a:gd name="T95" fmla="*/ 114003 h 785"/>
              <a:gd name="T96" fmla="*/ 41013 w 1578"/>
              <a:gd name="T97" fmla="*/ 57443 h 785"/>
              <a:gd name="T98" fmla="*/ 41013 w 1578"/>
              <a:gd name="T99" fmla="*/ 29164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noFill/>
          <a:ln w="9525">
            <a:solidFill>
              <a:schemeClr val="bg2"/>
            </a:solidFill>
            <a:round/>
            <a:headEnd/>
            <a:tailEnd/>
          </a:ln>
        </p:spPr>
        <p:txBody>
          <a:bodyPr/>
          <a:lstStyle/>
          <a:p>
            <a:endParaRPr lang="en-US" dirty="0"/>
          </a:p>
        </p:txBody>
      </p:sp>
      <p:sp>
        <p:nvSpPr>
          <p:cNvPr id="19540" name="Freeform 83"/>
          <p:cNvSpPr>
            <a:spLocks noChangeAspect="1"/>
          </p:cNvSpPr>
          <p:nvPr>
            <p:custDataLst>
              <p:tags r:id="rId60"/>
            </p:custDataLst>
          </p:nvPr>
        </p:nvSpPr>
        <p:spPr bwMode="auto">
          <a:xfrm>
            <a:off x="2687638" y="5292725"/>
            <a:ext cx="109537" cy="112713"/>
          </a:xfrm>
          <a:custGeom>
            <a:avLst/>
            <a:gdLst>
              <a:gd name="T0" fmla="*/ 109537 w 140"/>
              <a:gd name="T1" fmla="*/ 85877 h 126"/>
              <a:gd name="T2" fmla="*/ 109537 w 140"/>
              <a:gd name="T3" fmla="*/ 85877 h 126"/>
              <a:gd name="T4" fmla="*/ 109537 w 140"/>
              <a:gd name="T5" fmla="*/ 0 h 126"/>
              <a:gd name="T6" fmla="*/ 80588 w 140"/>
              <a:gd name="T7" fmla="*/ 13418 h 126"/>
              <a:gd name="T8" fmla="*/ 67287 w 140"/>
              <a:gd name="T9" fmla="*/ 26836 h 126"/>
              <a:gd name="T10" fmla="*/ 80588 w 140"/>
              <a:gd name="T11" fmla="*/ 42938 h 126"/>
              <a:gd name="T12" fmla="*/ 95454 w 140"/>
              <a:gd name="T13" fmla="*/ 26836 h 126"/>
              <a:gd name="T14" fmla="*/ 95454 w 140"/>
              <a:gd name="T15" fmla="*/ 42938 h 126"/>
              <a:gd name="T16" fmla="*/ 80588 w 140"/>
              <a:gd name="T17" fmla="*/ 42938 h 126"/>
              <a:gd name="T18" fmla="*/ 80588 w 140"/>
              <a:gd name="T19" fmla="*/ 69775 h 126"/>
              <a:gd name="T20" fmla="*/ 80588 w 140"/>
              <a:gd name="T21" fmla="*/ 56357 h 126"/>
              <a:gd name="T22" fmla="*/ 67287 w 140"/>
              <a:gd name="T23" fmla="*/ 56357 h 126"/>
              <a:gd name="T24" fmla="*/ 53986 w 140"/>
              <a:gd name="T25" fmla="*/ 56357 h 126"/>
              <a:gd name="T26" fmla="*/ 13301 w 140"/>
              <a:gd name="T27" fmla="*/ 26836 h 126"/>
              <a:gd name="T28" fmla="*/ 0 w 140"/>
              <a:gd name="T29" fmla="*/ 42938 h 126"/>
              <a:gd name="T30" fmla="*/ 13301 w 140"/>
              <a:gd name="T31" fmla="*/ 56357 h 126"/>
              <a:gd name="T32" fmla="*/ 26602 w 140"/>
              <a:gd name="T33" fmla="*/ 56357 h 126"/>
              <a:gd name="T34" fmla="*/ 26602 w 140"/>
              <a:gd name="T35" fmla="*/ 69775 h 126"/>
              <a:gd name="T36" fmla="*/ 39903 w 140"/>
              <a:gd name="T37" fmla="*/ 69775 h 126"/>
              <a:gd name="T38" fmla="*/ 39903 w 140"/>
              <a:gd name="T39" fmla="*/ 85877 h 126"/>
              <a:gd name="T40" fmla="*/ 67287 w 140"/>
              <a:gd name="T41" fmla="*/ 99295 h 126"/>
              <a:gd name="T42" fmla="*/ 80588 w 140"/>
              <a:gd name="T43" fmla="*/ 99295 h 126"/>
              <a:gd name="T44" fmla="*/ 95454 w 140"/>
              <a:gd name="T45" fmla="*/ 112713 h 126"/>
              <a:gd name="T46" fmla="*/ 109537 w 140"/>
              <a:gd name="T47" fmla="*/ 85877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chemeClr val="accent2"/>
          </a:solidFill>
          <a:ln w="9525">
            <a:solidFill>
              <a:schemeClr val="bg2"/>
            </a:solidFill>
            <a:prstDash val="solid"/>
            <a:round/>
            <a:headEnd/>
            <a:tailEnd/>
          </a:ln>
        </p:spPr>
        <p:txBody>
          <a:bodyPr/>
          <a:lstStyle/>
          <a:p>
            <a:endParaRPr lang="en-US" dirty="0"/>
          </a:p>
        </p:txBody>
      </p:sp>
      <p:sp>
        <p:nvSpPr>
          <p:cNvPr id="19541" name="Freeform 84"/>
          <p:cNvSpPr>
            <a:spLocks noChangeAspect="1"/>
          </p:cNvSpPr>
          <p:nvPr>
            <p:custDataLst>
              <p:tags r:id="rId61"/>
            </p:custDataLst>
          </p:nvPr>
        </p:nvSpPr>
        <p:spPr bwMode="auto">
          <a:xfrm>
            <a:off x="2819400" y="5257800"/>
            <a:ext cx="82550" cy="128588"/>
          </a:xfrm>
          <a:custGeom>
            <a:avLst/>
            <a:gdLst>
              <a:gd name="T0" fmla="*/ 0 w 103"/>
              <a:gd name="T1" fmla="*/ 85725 h 144"/>
              <a:gd name="T2" fmla="*/ 0 w 103"/>
              <a:gd name="T3" fmla="*/ 85725 h 144"/>
              <a:gd name="T4" fmla="*/ 0 w 103"/>
              <a:gd name="T5" fmla="*/ 0 h 144"/>
              <a:gd name="T6" fmla="*/ 13625 w 103"/>
              <a:gd name="T7" fmla="*/ 42863 h 144"/>
              <a:gd name="T8" fmla="*/ 55300 w 103"/>
              <a:gd name="T9" fmla="*/ 69652 h 144"/>
              <a:gd name="T10" fmla="*/ 82550 w 103"/>
              <a:gd name="T11" fmla="*/ 85725 h 144"/>
              <a:gd name="T12" fmla="*/ 68925 w 103"/>
              <a:gd name="T13" fmla="*/ 99120 h 144"/>
              <a:gd name="T14" fmla="*/ 27250 w 103"/>
              <a:gd name="T15" fmla="*/ 112514 h 144"/>
              <a:gd name="T16" fmla="*/ 13625 w 103"/>
              <a:gd name="T17" fmla="*/ 128588 h 144"/>
              <a:gd name="T18" fmla="*/ 0 w 103"/>
              <a:gd name="T19" fmla="*/ 85725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chemeClr val="accent2"/>
          </a:solidFill>
          <a:ln w="9525">
            <a:solidFill>
              <a:schemeClr val="bg2"/>
            </a:solidFill>
            <a:round/>
            <a:headEnd/>
            <a:tailEnd/>
          </a:ln>
        </p:spPr>
        <p:txBody>
          <a:bodyPr/>
          <a:lstStyle/>
          <a:p>
            <a:endParaRPr lang="en-US" dirty="0"/>
          </a:p>
        </p:txBody>
      </p:sp>
      <p:sp>
        <p:nvSpPr>
          <p:cNvPr id="19542" name="Freeform 85"/>
          <p:cNvSpPr>
            <a:spLocks noChangeAspect="1"/>
          </p:cNvSpPr>
          <p:nvPr>
            <p:custDataLst>
              <p:tags r:id="rId62"/>
            </p:custDataLst>
          </p:nvPr>
        </p:nvSpPr>
        <p:spPr bwMode="auto">
          <a:xfrm>
            <a:off x="2306638" y="3921125"/>
            <a:ext cx="11112" cy="30163"/>
          </a:xfrm>
          <a:custGeom>
            <a:avLst/>
            <a:gdLst>
              <a:gd name="T0" fmla="*/ 0 w 15"/>
              <a:gd name="T1" fmla="*/ 0 h 33"/>
              <a:gd name="T2" fmla="*/ 0 w 15"/>
              <a:gd name="T3" fmla="*/ 0 h 33"/>
              <a:gd name="T4" fmla="*/ 11112 w 15"/>
              <a:gd name="T5" fmla="*/ 16453 h 33"/>
              <a:gd name="T6" fmla="*/ 0 w 15"/>
              <a:gd name="T7" fmla="*/ 16453 h 33"/>
              <a:gd name="T8" fmla="*/ 11112 w 15"/>
              <a:gd name="T9" fmla="*/ 30163 h 33"/>
              <a:gd name="T10" fmla="*/ 11112 w 15"/>
              <a:gd name="T11" fmla="*/ 16453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chemeClr val="accent1"/>
          </a:solidFill>
          <a:ln w="9525">
            <a:solidFill>
              <a:schemeClr val="bg2"/>
            </a:solidFill>
            <a:prstDash val="solid"/>
            <a:round/>
            <a:headEnd/>
            <a:tailEnd/>
          </a:ln>
        </p:spPr>
        <p:txBody>
          <a:bodyPr/>
          <a:lstStyle/>
          <a:p>
            <a:endParaRPr lang="en-US" dirty="0"/>
          </a:p>
        </p:txBody>
      </p:sp>
      <p:sp>
        <p:nvSpPr>
          <p:cNvPr id="19543" name="Freeform 86"/>
          <p:cNvSpPr>
            <a:spLocks noChangeAspect="1"/>
          </p:cNvSpPr>
          <p:nvPr>
            <p:custDataLst>
              <p:tags r:id="rId63"/>
            </p:custDataLst>
          </p:nvPr>
        </p:nvSpPr>
        <p:spPr bwMode="auto">
          <a:xfrm>
            <a:off x="2674938" y="4938713"/>
            <a:ext cx="25400" cy="57150"/>
          </a:xfrm>
          <a:custGeom>
            <a:avLst/>
            <a:gdLst>
              <a:gd name="T0" fmla="*/ 13063 w 35"/>
              <a:gd name="T1" fmla="*/ 0 h 65"/>
              <a:gd name="T2" fmla="*/ 13063 w 35"/>
              <a:gd name="T3" fmla="*/ 0 h 65"/>
              <a:gd name="T4" fmla="*/ 0 w 35"/>
              <a:gd name="T5" fmla="*/ 42203 h 65"/>
              <a:gd name="T6" fmla="*/ 13063 w 35"/>
              <a:gd name="T7" fmla="*/ 57150 h 65"/>
              <a:gd name="T8" fmla="*/ 25400 w 35"/>
              <a:gd name="T9" fmla="*/ 14947 h 65"/>
              <a:gd name="T10" fmla="*/ 13063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chemeClr val="bg1"/>
          </a:solidFill>
          <a:ln w="9525">
            <a:solidFill>
              <a:schemeClr val="bg2"/>
            </a:solidFill>
            <a:prstDash val="solid"/>
            <a:round/>
            <a:headEnd/>
            <a:tailEnd/>
          </a:ln>
        </p:spPr>
        <p:txBody>
          <a:bodyPr/>
          <a:lstStyle/>
          <a:p>
            <a:endParaRPr lang="en-US" dirty="0"/>
          </a:p>
        </p:txBody>
      </p:sp>
      <p:sp>
        <p:nvSpPr>
          <p:cNvPr id="19544" name="Freeform 87"/>
          <p:cNvSpPr>
            <a:spLocks noChangeAspect="1"/>
          </p:cNvSpPr>
          <p:nvPr>
            <p:custDataLst>
              <p:tags r:id="rId64"/>
            </p:custDataLst>
          </p:nvPr>
        </p:nvSpPr>
        <p:spPr bwMode="auto">
          <a:xfrm>
            <a:off x="2960688" y="5251450"/>
            <a:ext cx="69850" cy="41275"/>
          </a:xfrm>
          <a:custGeom>
            <a:avLst/>
            <a:gdLst>
              <a:gd name="T0" fmla="*/ 0 w 88"/>
              <a:gd name="T1" fmla="*/ 12898 h 48"/>
              <a:gd name="T2" fmla="*/ 0 w 88"/>
              <a:gd name="T3" fmla="*/ 12898 h 48"/>
              <a:gd name="T4" fmla="*/ 13494 w 88"/>
              <a:gd name="T5" fmla="*/ 25797 h 48"/>
              <a:gd name="T6" fmla="*/ 27781 w 88"/>
              <a:gd name="T7" fmla="*/ 25797 h 48"/>
              <a:gd name="T8" fmla="*/ 41275 w 88"/>
              <a:gd name="T9" fmla="*/ 41275 h 48"/>
              <a:gd name="T10" fmla="*/ 69850 w 88"/>
              <a:gd name="T11" fmla="*/ 12898 h 48"/>
              <a:gd name="T12" fmla="*/ 69850 w 88"/>
              <a:gd name="T13" fmla="*/ 0 h 48"/>
              <a:gd name="T14" fmla="*/ 27781 w 88"/>
              <a:gd name="T15" fmla="*/ 0 h 48"/>
              <a:gd name="T16" fmla="*/ 13494 w 88"/>
              <a:gd name="T17" fmla="*/ 0 h 48"/>
              <a:gd name="T18" fmla="*/ 27781 w 88"/>
              <a:gd name="T19" fmla="*/ 12898 h 48"/>
              <a:gd name="T20" fmla="*/ 13494 w 88"/>
              <a:gd name="T21" fmla="*/ 25797 h 48"/>
              <a:gd name="T22" fmla="*/ 0 w 88"/>
              <a:gd name="T23" fmla="*/ 12898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545" name="Freeform 88"/>
          <p:cNvSpPr>
            <a:spLocks noChangeAspect="1"/>
          </p:cNvSpPr>
          <p:nvPr>
            <p:custDataLst>
              <p:tags r:id="rId65"/>
            </p:custDataLst>
          </p:nvPr>
        </p:nvSpPr>
        <p:spPr bwMode="auto">
          <a:xfrm>
            <a:off x="2644775" y="4324350"/>
            <a:ext cx="177800" cy="1028700"/>
          </a:xfrm>
          <a:custGeom>
            <a:avLst/>
            <a:gdLst>
              <a:gd name="T0" fmla="*/ 109538 w 224"/>
              <a:gd name="T1" fmla="*/ 14104 h 1167"/>
              <a:gd name="T2" fmla="*/ 150813 w 224"/>
              <a:gd name="T3" fmla="*/ 42312 h 1167"/>
              <a:gd name="T4" fmla="*/ 164306 w 224"/>
              <a:gd name="T5" fmla="*/ 126935 h 1167"/>
              <a:gd name="T6" fmla="*/ 177800 w 224"/>
              <a:gd name="T7" fmla="*/ 154261 h 1167"/>
              <a:gd name="T8" fmla="*/ 164306 w 224"/>
              <a:gd name="T9" fmla="*/ 211558 h 1167"/>
              <a:gd name="T10" fmla="*/ 109538 w 224"/>
              <a:gd name="T11" fmla="*/ 338493 h 1167"/>
              <a:gd name="T12" fmla="*/ 109538 w 224"/>
              <a:gd name="T13" fmla="*/ 436338 h 1167"/>
              <a:gd name="T14" fmla="*/ 96044 w 224"/>
              <a:gd name="T15" fmla="*/ 478650 h 1167"/>
              <a:gd name="T16" fmla="*/ 81756 w 224"/>
              <a:gd name="T17" fmla="*/ 563273 h 1167"/>
              <a:gd name="T18" fmla="*/ 81756 w 224"/>
              <a:gd name="T19" fmla="*/ 647896 h 1167"/>
              <a:gd name="T20" fmla="*/ 96044 w 224"/>
              <a:gd name="T21" fmla="*/ 704311 h 1167"/>
              <a:gd name="T22" fmla="*/ 81756 w 224"/>
              <a:gd name="T23" fmla="*/ 719297 h 1167"/>
              <a:gd name="T24" fmla="*/ 81756 w 224"/>
              <a:gd name="T25" fmla="*/ 774830 h 1167"/>
              <a:gd name="T26" fmla="*/ 68263 w 224"/>
              <a:gd name="T27" fmla="*/ 830364 h 1167"/>
              <a:gd name="T28" fmla="*/ 54769 w 224"/>
              <a:gd name="T29" fmla="*/ 901765 h 1167"/>
              <a:gd name="T30" fmla="*/ 68263 w 224"/>
              <a:gd name="T31" fmla="*/ 901765 h 1167"/>
              <a:gd name="T32" fmla="*/ 81756 w 224"/>
              <a:gd name="T33" fmla="*/ 957299 h 1167"/>
              <a:gd name="T34" fmla="*/ 150813 w 224"/>
              <a:gd name="T35" fmla="*/ 957299 h 1167"/>
              <a:gd name="T36" fmla="*/ 136525 w 224"/>
              <a:gd name="T37" fmla="*/ 957299 h 1167"/>
              <a:gd name="T38" fmla="*/ 109538 w 224"/>
              <a:gd name="T39" fmla="*/ 986388 h 1167"/>
              <a:gd name="T40" fmla="*/ 96044 w 224"/>
              <a:gd name="T41" fmla="*/ 1028700 h 1167"/>
              <a:gd name="T42" fmla="*/ 96044 w 224"/>
              <a:gd name="T43" fmla="*/ 999611 h 1167"/>
              <a:gd name="T44" fmla="*/ 68263 w 224"/>
              <a:gd name="T45" fmla="*/ 999611 h 1167"/>
              <a:gd name="T46" fmla="*/ 54769 w 224"/>
              <a:gd name="T47" fmla="*/ 973166 h 1167"/>
              <a:gd name="T48" fmla="*/ 26988 w 224"/>
              <a:gd name="T49" fmla="*/ 957299 h 1167"/>
              <a:gd name="T50" fmla="*/ 13494 w 224"/>
              <a:gd name="T51" fmla="*/ 957299 h 1167"/>
              <a:gd name="T52" fmla="*/ 26988 w 224"/>
              <a:gd name="T53" fmla="*/ 944077 h 1167"/>
              <a:gd name="T54" fmla="*/ 26988 w 224"/>
              <a:gd name="T55" fmla="*/ 914988 h 1167"/>
              <a:gd name="T56" fmla="*/ 13494 w 224"/>
              <a:gd name="T57" fmla="*/ 944077 h 1167"/>
              <a:gd name="T58" fmla="*/ 26988 w 224"/>
              <a:gd name="T59" fmla="*/ 914988 h 1167"/>
              <a:gd name="T60" fmla="*/ 13494 w 224"/>
              <a:gd name="T61" fmla="*/ 914988 h 1167"/>
              <a:gd name="T62" fmla="*/ 0 w 224"/>
              <a:gd name="T63" fmla="*/ 872676 h 1167"/>
              <a:gd name="T64" fmla="*/ 13494 w 224"/>
              <a:gd name="T65" fmla="*/ 817142 h 1167"/>
              <a:gd name="T66" fmla="*/ 26988 w 224"/>
              <a:gd name="T67" fmla="*/ 830364 h 1167"/>
              <a:gd name="T68" fmla="*/ 13494 w 224"/>
              <a:gd name="T69" fmla="*/ 774830 h 1167"/>
              <a:gd name="T70" fmla="*/ 26988 w 224"/>
              <a:gd name="T71" fmla="*/ 761608 h 1167"/>
              <a:gd name="T72" fmla="*/ 26988 w 224"/>
              <a:gd name="T73" fmla="*/ 745741 h 1167"/>
              <a:gd name="T74" fmla="*/ 41275 w 224"/>
              <a:gd name="T75" fmla="*/ 690207 h 1167"/>
              <a:gd name="T76" fmla="*/ 41275 w 224"/>
              <a:gd name="T77" fmla="*/ 719297 h 1167"/>
              <a:gd name="T78" fmla="*/ 68263 w 224"/>
              <a:gd name="T79" fmla="*/ 634673 h 1167"/>
              <a:gd name="T80" fmla="*/ 54769 w 224"/>
              <a:gd name="T81" fmla="*/ 619688 h 1167"/>
              <a:gd name="T82" fmla="*/ 41275 w 224"/>
              <a:gd name="T83" fmla="*/ 563273 h 1167"/>
              <a:gd name="T84" fmla="*/ 41275 w 224"/>
              <a:gd name="T85" fmla="*/ 507739 h 1167"/>
              <a:gd name="T86" fmla="*/ 96044 w 224"/>
              <a:gd name="T87" fmla="*/ 365819 h 1167"/>
              <a:gd name="T88" fmla="*/ 96044 w 224"/>
              <a:gd name="T89" fmla="*/ 296181 h 1167"/>
              <a:gd name="T90" fmla="*/ 109538 w 224"/>
              <a:gd name="T91" fmla="*/ 211558 h 1167"/>
              <a:gd name="T92" fmla="*/ 123031 w 224"/>
              <a:gd name="T93" fmla="*/ 84623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chemeClr val="accent2"/>
          </a:solidFill>
          <a:ln w="9525">
            <a:solidFill>
              <a:schemeClr val="bg2"/>
            </a:solidFill>
            <a:prstDash val="solid"/>
            <a:round/>
            <a:headEnd/>
            <a:tailEnd/>
          </a:ln>
        </p:spPr>
        <p:txBody>
          <a:bodyPr/>
          <a:lstStyle/>
          <a:p>
            <a:endParaRPr lang="en-US" dirty="0"/>
          </a:p>
        </p:txBody>
      </p:sp>
      <p:sp>
        <p:nvSpPr>
          <p:cNvPr id="19546" name="Freeform 89"/>
          <p:cNvSpPr>
            <a:spLocks noChangeAspect="1"/>
          </p:cNvSpPr>
          <p:nvPr>
            <p:custDataLst>
              <p:tags r:id="rId66"/>
            </p:custDataLst>
          </p:nvPr>
        </p:nvSpPr>
        <p:spPr bwMode="auto">
          <a:xfrm>
            <a:off x="2576513" y="3644900"/>
            <a:ext cx="246062" cy="366713"/>
          </a:xfrm>
          <a:custGeom>
            <a:avLst/>
            <a:gdLst>
              <a:gd name="T0" fmla="*/ 191469 w 311"/>
              <a:gd name="T1" fmla="*/ 366713 h 414"/>
              <a:gd name="T2" fmla="*/ 191469 w 311"/>
              <a:gd name="T3" fmla="*/ 366713 h 414"/>
              <a:gd name="T4" fmla="*/ 204920 w 311"/>
              <a:gd name="T5" fmla="*/ 310909 h 414"/>
              <a:gd name="T6" fmla="*/ 191469 w 311"/>
              <a:gd name="T7" fmla="*/ 268391 h 414"/>
              <a:gd name="T8" fmla="*/ 204920 w 311"/>
              <a:gd name="T9" fmla="*/ 268391 h 414"/>
              <a:gd name="T10" fmla="*/ 191469 w 311"/>
              <a:gd name="T11" fmla="*/ 255105 h 414"/>
              <a:gd name="T12" fmla="*/ 191469 w 311"/>
              <a:gd name="T13" fmla="*/ 239161 h 414"/>
              <a:gd name="T14" fmla="*/ 246062 w 311"/>
              <a:gd name="T15" fmla="*/ 239161 h 414"/>
              <a:gd name="T16" fmla="*/ 246062 w 311"/>
              <a:gd name="T17" fmla="*/ 212587 h 414"/>
              <a:gd name="T18" fmla="*/ 232612 w 311"/>
              <a:gd name="T19" fmla="*/ 183357 h 414"/>
              <a:gd name="T20" fmla="*/ 246062 w 311"/>
              <a:gd name="T21" fmla="*/ 140839 h 414"/>
              <a:gd name="T22" fmla="*/ 204920 w 311"/>
              <a:gd name="T23" fmla="*/ 140839 h 414"/>
              <a:gd name="T24" fmla="*/ 191469 w 311"/>
              <a:gd name="T25" fmla="*/ 127552 h 414"/>
              <a:gd name="T26" fmla="*/ 150327 w 311"/>
              <a:gd name="T27" fmla="*/ 127552 h 414"/>
              <a:gd name="T28" fmla="*/ 136877 w 311"/>
              <a:gd name="T29" fmla="*/ 111608 h 414"/>
              <a:gd name="T30" fmla="*/ 136877 w 311"/>
              <a:gd name="T31" fmla="*/ 98322 h 414"/>
              <a:gd name="T32" fmla="*/ 123427 w 311"/>
              <a:gd name="T33" fmla="*/ 69091 h 414"/>
              <a:gd name="T34" fmla="*/ 136877 w 311"/>
              <a:gd name="T35" fmla="*/ 42517 h 414"/>
              <a:gd name="T36" fmla="*/ 150327 w 311"/>
              <a:gd name="T37" fmla="*/ 26573 h 414"/>
              <a:gd name="T38" fmla="*/ 164569 w 311"/>
              <a:gd name="T39" fmla="*/ 13287 h 414"/>
              <a:gd name="T40" fmla="*/ 150327 w 311"/>
              <a:gd name="T41" fmla="*/ 0 h 414"/>
              <a:gd name="T42" fmla="*/ 123427 w 311"/>
              <a:gd name="T43" fmla="*/ 26573 h 414"/>
              <a:gd name="T44" fmla="*/ 82284 w 311"/>
              <a:gd name="T45" fmla="*/ 42517 h 414"/>
              <a:gd name="T46" fmla="*/ 68834 w 311"/>
              <a:gd name="T47" fmla="*/ 69091 h 414"/>
              <a:gd name="T48" fmla="*/ 41142 w 311"/>
              <a:gd name="T49" fmla="*/ 85035 h 414"/>
              <a:gd name="T50" fmla="*/ 41142 w 311"/>
              <a:gd name="T51" fmla="*/ 111608 h 414"/>
              <a:gd name="T52" fmla="*/ 27692 w 311"/>
              <a:gd name="T53" fmla="*/ 85035 h 414"/>
              <a:gd name="T54" fmla="*/ 41142 w 311"/>
              <a:gd name="T55" fmla="*/ 98322 h 414"/>
              <a:gd name="T56" fmla="*/ 27692 w 311"/>
              <a:gd name="T57" fmla="*/ 111608 h 414"/>
              <a:gd name="T58" fmla="*/ 27692 w 311"/>
              <a:gd name="T59" fmla="*/ 127552 h 414"/>
              <a:gd name="T60" fmla="*/ 27692 w 311"/>
              <a:gd name="T61" fmla="*/ 140839 h 414"/>
              <a:gd name="T62" fmla="*/ 27692 w 311"/>
              <a:gd name="T63" fmla="*/ 196643 h 414"/>
              <a:gd name="T64" fmla="*/ 41142 w 311"/>
              <a:gd name="T65" fmla="*/ 196643 h 414"/>
              <a:gd name="T66" fmla="*/ 27692 w 311"/>
              <a:gd name="T67" fmla="*/ 225874 h 414"/>
              <a:gd name="T68" fmla="*/ 14242 w 311"/>
              <a:gd name="T69" fmla="*/ 225874 h 414"/>
              <a:gd name="T70" fmla="*/ 14242 w 311"/>
              <a:gd name="T71" fmla="*/ 239161 h 414"/>
              <a:gd name="T72" fmla="*/ 0 w 311"/>
              <a:gd name="T73" fmla="*/ 239161 h 414"/>
              <a:gd name="T74" fmla="*/ 0 w 311"/>
              <a:gd name="T75" fmla="*/ 255105 h 414"/>
              <a:gd name="T76" fmla="*/ 41142 w 311"/>
              <a:gd name="T77" fmla="*/ 281678 h 414"/>
              <a:gd name="T78" fmla="*/ 68834 w 311"/>
              <a:gd name="T79" fmla="*/ 268391 h 414"/>
              <a:gd name="T80" fmla="*/ 82284 w 311"/>
              <a:gd name="T81" fmla="*/ 281678 h 414"/>
              <a:gd name="T82" fmla="*/ 109976 w 311"/>
              <a:gd name="T83" fmla="*/ 310909 h 414"/>
              <a:gd name="T84" fmla="*/ 123427 w 311"/>
              <a:gd name="T85" fmla="*/ 339254 h 414"/>
              <a:gd name="T86" fmla="*/ 178019 w 311"/>
              <a:gd name="T87" fmla="*/ 324196 h 414"/>
              <a:gd name="T88" fmla="*/ 191469 w 311"/>
              <a:gd name="T89" fmla="*/ 339254 h 414"/>
              <a:gd name="T90" fmla="*/ 191469 w 311"/>
              <a:gd name="T91" fmla="*/ 353426 h 414"/>
              <a:gd name="T92" fmla="*/ 178019 w 311"/>
              <a:gd name="T93" fmla="*/ 353426 h 414"/>
              <a:gd name="T94" fmla="*/ 191469 w 311"/>
              <a:gd name="T95" fmla="*/ 366713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chemeClr val="bg1"/>
          </a:solidFill>
          <a:ln w="9525">
            <a:solidFill>
              <a:schemeClr val="bg2"/>
            </a:solidFill>
            <a:round/>
            <a:headEnd/>
            <a:tailEnd/>
          </a:ln>
        </p:spPr>
        <p:txBody>
          <a:bodyPr/>
          <a:lstStyle/>
          <a:p>
            <a:endParaRPr lang="en-US" dirty="0"/>
          </a:p>
        </p:txBody>
      </p:sp>
      <p:sp>
        <p:nvSpPr>
          <p:cNvPr id="19547" name="Freeform 90"/>
          <p:cNvSpPr>
            <a:spLocks noChangeAspect="1"/>
          </p:cNvSpPr>
          <p:nvPr>
            <p:custDataLst>
              <p:tags r:id="rId67"/>
            </p:custDataLst>
          </p:nvPr>
        </p:nvSpPr>
        <p:spPr bwMode="auto">
          <a:xfrm>
            <a:off x="2538413" y="3900488"/>
            <a:ext cx="119062" cy="141287"/>
          </a:xfrm>
          <a:custGeom>
            <a:avLst/>
            <a:gdLst>
              <a:gd name="T0" fmla="*/ 119062 w 156"/>
              <a:gd name="T1" fmla="*/ 26658 h 159"/>
              <a:gd name="T2" fmla="*/ 119062 w 156"/>
              <a:gd name="T3" fmla="*/ 26658 h 159"/>
              <a:gd name="T4" fmla="*/ 106087 w 156"/>
              <a:gd name="T5" fmla="*/ 13329 h 159"/>
              <a:gd name="T6" fmla="*/ 79375 w 156"/>
              <a:gd name="T7" fmla="*/ 26658 h 159"/>
              <a:gd name="T8" fmla="*/ 39687 w 156"/>
              <a:gd name="T9" fmla="*/ 0 h 159"/>
              <a:gd name="T10" fmla="*/ 13738 w 156"/>
              <a:gd name="T11" fmla="*/ 13329 h 159"/>
              <a:gd name="T12" fmla="*/ 13738 w 156"/>
              <a:gd name="T13" fmla="*/ 26658 h 159"/>
              <a:gd name="T14" fmla="*/ 0 w 156"/>
              <a:gd name="T15" fmla="*/ 42653 h 159"/>
              <a:gd name="T16" fmla="*/ 0 w 156"/>
              <a:gd name="T17" fmla="*/ 69311 h 159"/>
              <a:gd name="T18" fmla="*/ 13738 w 156"/>
              <a:gd name="T19" fmla="*/ 98634 h 159"/>
              <a:gd name="T20" fmla="*/ 13738 w 156"/>
              <a:gd name="T21" fmla="*/ 84417 h 159"/>
              <a:gd name="T22" fmla="*/ 26713 w 156"/>
              <a:gd name="T23" fmla="*/ 84417 h 159"/>
              <a:gd name="T24" fmla="*/ 13738 w 156"/>
              <a:gd name="T25" fmla="*/ 98634 h 159"/>
              <a:gd name="T26" fmla="*/ 0 w 156"/>
              <a:gd name="T27" fmla="*/ 127069 h 159"/>
              <a:gd name="T28" fmla="*/ 26713 w 156"/>
              <a:gd name="T29" fmla="*/ 141287 h 159"/>
              <a:gd name="T30" fmla="*/ 66400 w 156"/>
              <a:gd name="T31" fmla="*/ 98634 h 159"/>
              <a:gd name="T32" fmla="*/ 92349 w 156"/>
              <a:gd name="T33" fmla="*/ 84417 h 159"/>
              <a:gd name="T34" fmla="*/ 106087 w 156"/>
              <a:gd name="T35" fmla="*/ 69311 h 159"/>
              <a:gd name="T36" fmla="*/ 119062 w 156"/>
              <a:gd name="T37" fmla="*/ 42653 h 159"/>
              <a:gd name="T38" fmla="*/ 106087 w 156"/>
              <a:gd name="T39" fmla="*/ 26658 h 159"/>
              <a:gd name="T40" fmla="*/ 119062 w 156"/>
              <a:gd name="T41" fmla="*/ 26658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chemeClr val="bg1"/>
          </a:solidFill>
          <a:ln w="9525">
            <a:solidFill>
              <a:schemeClr val="bg2"/>
            </a:solidFill>
            <a:round/>
            <a:headEnd/>
            <a:tailEnd/>
          </a:ln>
        </p:spPr>
        <p:txBody>
          <a:bodyPr/>
          <a:lstStyle/>
          <a:p>
            <a:endParaRPr lang="en-US" dirty="0"/>
          </a:p>
        </p:txBody>
      </p:sp>
      <p:sp>
        <p:nvSpPr>
          <p:cNvPr id="19548" name="Freeform 91"/>
          <p:cNvSpPr>
            <a:spLocks noChangeAspect="1"/>
          </p:cNvSpPr>
          <p:nvPr>
            <p:custDataLst>
              <p:tags r:id="rId68"/>
            </p:custDataLst>
          </p:nvPr>
        </p:nvSpPr>
        <p:spPr bwMode="auto">
          <a:xfrm>
            <a:off x="2520950" y="3927475"/>
            <a:ext cx="276225" cy="411163"/>
          </a:xfrm>
          <a:custGeom>
            <a:avLst/>
            <a:gdLst>
              <a:gd name="T0" fmla="*/ 262019 w 350"/>
              <a:gd name="T1" fmla="*/ 241393 h 465"/>
              <a:gd name="T2" fmla="*/ 262019 w 350"/>
              <a:gd name="T3" fmla="*/ 241393 h 465"/>
              <a:gd name="T4" fmla="*/ 233607 w 350"/>
              <a:gd name="T5" fmla="*/ 241393 h 465"/>
              <a:gd name="T6" fmla="*/ 233607 w 350"/>
              <a:gd name="T7" fmla="*/ 212213 h 465"/>
              <a:gd name="T8" fmla="*/ 205985 w 350"/>
              <a:gd name="T9" fmla="*/ 227245 h 465"/>
              <a:gd name="T10" fmla="*/ 179152 w 350"/>
              <a:gd name="T11" fmla="*/ 212213 h 465"/>
              <a:gd name="T12" fmla="*/ 165735 w 350"/>
              <a:gd name="T13" fmla="*/ 169771 h 465"/>
              <a:gd name="T14" fmla="*/ 192568 w 350"/>
              <a:gd name="T15" fmla="*/ 114065 h 465"/>
              <a:gd name="T16" fmla="*/ 247024 w 350"/>
              <a:gd name="T17" fmla="*/ 84885 h 465"/>
              <a:gd name="T18" fmla="*/ 233607 w 350"/>
              <a:gd name="T19" fmla="*/ 71622 h 465"/>
              <a:gd name="T20" fmla="*/ 247024 w 350"/>
              <a:gd name="T21" fmla="*/ 71622 h 465"/>
              <a:gd name="T22" fmla="*/ 247024 w 350"/>
              <a:gd name="T23" fmla="*/ 57474 h 465"/>
              <a:gd name="T24" fmla="*/ 233607 w 350"/>
              <a:gd name="T25" fmla="*/ 42443 h 465"/>
              <a:gd name="T26" fmla="*/ 179152 w 350"/>
              <a:gd name="T27" fmla="*/ 57474 h 465"/>
              <a:gd name="T28" fmla="*/ 165735 w 350"/>
              <a:gd name="T29" fmla="*/ 29179 h 465"/>
              <a:gd name="T30" fmla="*/ 138113 w 350"/>
              <a:gd name="T31" fmla="*/ 0 h 465"/>
              <a:gd name="T32" fmla="*/ 124696 w 350"/>
              <a:gd name="T33" fmla="*/ 0 h 465"/>
              <a:gd name="T34" fmla="*/ 138113 w 350"/>
              <a:gd name="T35" fmla="*/ 15916 h 465"/>
              <a:gd name="T36" fmla="*/ 124696 w 350"/>
              <a:gd name="T37" fmla="*/ 42443 h 465"/>
              <a:gd name="T38" fmla="*/ 110490 w 350"/>
              <a:gd name="T39" fmla="*/ 57474 h 465"/>
              <a:gd name="T40" fmla="*/ 83657 w 350"/>
              <a:gd name="T41" fmla="*/ 71622 h 465"/>
              <a:gd name="T42" fmla="*/ 42618 w 350"/>
              <a:gd name="T43" fmla="*/ 114065 h 465"/>
              <a:gd name="T44" fmla="*/ 14995 w 350"/>
              <a:gd name="T45" fmla="*/ 99917 h 465"/>
              <a:gd name="T46" fmla="*/ 29201 w 350"/>
              <a:gd name="T47" fmla="*/ 71622 h 465"/>
              <a:gd name="T48" fmla="*/ 0 w 350"/>
              <a:gd name="T49" fmla="*/ 99917 h 465"/>
              <a:gd name="T50" fmla="*/ 14995 w 350"/>
              <a:gd name="T51" fmla="*/ 127328 h 465"/>
              <a:gd name="T52" fmla="*/ 0 w 350"/>
              <a:gd name="T53" fmla="*/ 127328 h 465"/>
              <a:gd name="T54" fmla="*/ 29201 w 350"/>
              <a:gd name="T55" fmla="*/ 156507 h 465"/>
              <a:gd name="T56" fmla="*/ 56034 w 350"/>
              <a:gd name="T57" fmla="*/ 184802 h 465"/>
              <a:gd name="T58" fmla="*/ 124696 w 350"/>
              <a:gd name="T59" fmla="*/ 326278 h 465"/>
              <a:gd name="T60" fmla="*/ 233607 w 350"/>
              <a:gd name="T61" fmla="*/ 411163 h 465"/>
              <a:gd name="T62" fmla="*/ 262019 w 350"/>
              <a:gd name="T63" fmla="*/ 397015 h 465"/>
              <a:gd name="T64" fmla="*/ 276225 w 350"/>
              <a:gd name="T65" fmla="*/ 368720 h 465"/>
              <a:gd name="T66" fmla="*/ 262019 w 350"/>
              <a:gd name="T67" fmla="*/ 354573 h 465"/>
              <a:gd name="T68" fmla="*/ 276225 w 350"/>
              <a:gd name="T69" fmla="*/ 269688 h 465"/>
              <a:gd name="T70" fmla="*/ 262019 w 350"/>
              <a:gd name="T71" fmla="*/ 241393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chemeClr val="bg1"/>
          </a:solidFill>
          <a:ln w="9525">
            <a:solidFill>
              <a:schemeClr val="bg2"/>
            </a:solidFill>
            <a:round/>
            <a:headEnd/>
            <a:tailEnd/>
          </a:ln>
        </p:spPr>
        <p:txBody>
          <a:bodyPr/>
          <a:lstStyle/>
          <a:p>
            <a:endParaRPr lang="en-US" dirty="0"/>
          </a:p>
        </p:txBody>
      </p:sp>
      <p:sp>
        <p:nvSpPr>
          <p:cNvPr id="19549" name="Freeform 92"/>
          <p:cNvSpPr>
            <a:spLocks noChangeAspect="1"/>
          </p:cNvSpPr>
          <p:nvPr>
            <p:custDataLst>
              <p:tags r:id="rId69"/>
            </p:custDataLst>
          </p:nvPr>
        </p:nvSpPr>
        <p:spPr bwMode="auto">
          <a:xfrm>
            <a:off x="2781300" y="4140200"/>
            <a:ext cx="249238" cy="309563"/>
          </a:xfrm>
          <a:custGeom>
            <a:avLst/>
            <a:gdLst>
              <a:gd name="T0" fmla="*/ 249238 w 313"/>
              <a:gd name="T1" fmla="*/ 239407 h 353"/>
              <a:gd name="T2" fmla="*/ 249238 w 313"/>
              <a:gd name="T3" fmla="*/ 239407 h 353"/>
              <a:gd name="T4" fmla="*/ 249238 w 313"/>
              <a:gd name="T5" fmla="*/ 197314 h 353"/>
              <a:gd name="T6" fmla="*/ 235701 w 313"/>
              <a:gd name="T7" fmla="*/ 168374 h 353"/>
              <a:gd name="T8" fmla="*/ 235701 w 313"/>
              <a:gd name="T9" fmla="*/ 155220 h 353"/>
              <a:gd name="T10" fmla="*/ 208627 w 313"/>
              <a:gd name="T11" fmla="*/ 155220 h 353"/>
              <a:gd name="T12" fmla="*/ 194294 w 313"/>
              <a:gd name="T13" fmla="*/ 126281 h 353"/>
              <a:gd name="T14" fmla="*/ 194294 w 313"/>
              <a:gd name="T15" fmla="*/ 113126 h 353"/>
              <a:gd name="T16" fmla="*/ 180757 w 313"/>
              <a:gd name="T17" fmla="*/ 84187 h 353"/>
              <a:gd name="T18" fmla="*/ 96351 w 313"/>
              <a:gd name="T19" fmla="*/ 57002 h 353"/>
              <a:gd name="T20" fmla="*/ 82814 w 313"/>
              <a:gd name="T21" fmla="*/ 42094 h 353"/>
              <a:gd name="T22" fmla="*/ 82814 w 313"/>
              <a:gd name="T23" fmla="*/ 0 h 353"/>
              <a:gd name="T24" fmla="*/ 55740 w 313"/>
              <a:gd name="T25" fmla="*/ 0 h 353"/>
              <a:gd name="T26" fmla="*/ 27870 w 313"/>
              <a:gd name="T27" fmla="*/ 28939 h 353"/>
              <a:gd name="T28" fmla="*/ 0 w 313"/>
              <a:gd name="T29" fmla="*/ 28939 h 353"/>
              <a:gd name="T30" fmla="*/ 14333 w 313"/>
              <a:gd name="T31" fmla="*/ 57002 h 353"/>
              <a:gd name="T32" fmla="*/ 0 w 313"/>
              <a:gd name="T33" fmla="*/ 141189 h 353"/>
              <a:gd name="T34" fmla="*/ 14333 w 313"/>
              <a:gd name="T35" fmla="*/ 155220 h 353"/>
              <a:gd name="T36" fmla="*/ 0 w 313"/>
              <a:gd name="T37" fmla="*/ 183282 h 353"/>
              <a:gd name="T38" fmla="*/ 14333 w 313"/>
              <a:gd name="T39" fmla="*/ 225376 h 353"/>
              <a:gd name="T40" fmla="*/ 14333 w 313"/>
              <a:gd name="T41" fmla="*/ 239407 h 353"/>
              <a:gd name="T42" fmla="*/ 27870 w 313"/>
              <a:gd name="T43" fmla="*/ 309563 h 353"/>
              <a:gd name="T44" fmla="*/ 41407 w 313"/>
              <a:gd name="T45" fmla="*/ 309563 h 353"/>
              <a:gd name="T46" fmla="*/ 69277 w 313"/>
              <a:gd name="T47" fmla="*/ 281501 h 353"/>
              <a:gd name="T48" fmla="*/ 112277 w 313"/>
              <a:gd name="T49" fmla="*/ 294655 h 353"/>
              <a:gd name="T50" fmla="*/ 125813 w 313"/>
              <a:gd name="T51" fmla="*/ 281501 h 353"/>
              <a:gd name="T52" fmla="*/ 152887 w 313"/>
              <a:gd name="T53" fmla="*/ 294655 h 353"/>
              <a:gd name="T54" fmla="*/ 167220 w 313"/>
              <a:gd name="T55" fmla="*/ 225376 h 353"/>
              <a:gd name="T56" fmla="*/ 222164 w 313"/>
              <a:gd name="T57" fmla="*/ 225376 h 353"/>
              <a:gd name="T58" fmla="*/ 249238 w 313"/>
              <a:gd name="T59" fmla="*/ 239407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chemeClr val="bg1"/>
          </a:solidFill>
          <a:ln w="9525">
            <a:solidFill>
              <a:schemeClr val="bg2"/>
            </a:solidFill>
            <a:round/>
            <a:headEnd/>
            <a:tailEnd/>
          </a:ln>
        </p:spPr>
        <p:txBody>
          <a:bodyPr/>
          <a:lstStyle/>
          <a:p>
            <a:endParaRPr lang="en-US" dirty="0"/>
          </a:p>
        </p:txBody>
      </p:sp>
      <p:sp>
        <p:nvSpPr>
          <p:cNvPr id="19550" name="Freeform 93"/>
          <p:cNvSpPr>
            <a:spLocks noChangeAspect="1"/>
          </p:cNvSpPr>
          <p:nvPr>
            <p:custDataLst>
              <p:tags r:id="rId70"/>
            </p:custDataLst>
          </p:nvPr>
        </p:nvSpPr>
        <p:spPr bwMode="auto">
          <a:xfrm>
            <a:off x="2932113" y="4365625"/>
            <a:ext cx="179387" cy="196850"/>
          </a:xfrm>
          <a:custGeom>
            <a:avLst/>
            <a:gdLst>
              <a:gd name="T0" fmla="*/ 165893 w 226"/>
              <a:gd name="T1" fmla="*/ 141238 h 223"/>
              <a:gd name="T2" fmla="*/ 165893 w 226"/>
              <a:gd name="T3" fmla="*/ 141238 h 223"/>
              <a:gd name="T4" fmla="*/ 179387 w 226"/>
              <a:gd name="T5" fmla="*/ 112107 h 223"/>
              <a:gd name="T6" fmla="*/ 151606 w 226"/>
              <a:gd name="T7" fmla="*/ 98866 h 223"/>
              <a:gd name="T8" fmla="*/ 151606 w 226"/>
              <a:gd name="T9" fmla="*/ 69736 h 223"/>
              <a:gd name="T10" fmla="*/ 138112 w 226"/>
              <a:gd name="T11" fmla="*/ 69736 h 223"/>
              <a:gd name="T12" fmla="*/ 96837 w 226"/>
              <a:gd name="T13" fmla="*/ 56495 h 223"/>
              <a:gd name="T14" fmla="*/ 96837 w 226"/>
              <a:gd name="T15" fmla="*/ 14124 h 223"/>
              <a:gd name="T16" fmla="*/ 69850 w 226"/>
              <a:gd name="T17" fmla="*/ 0 h 223"/>
              <a:gd name="T18" fmla="*/ 13494 w 226"/>
              <a:gd name="T19" fmla="*/ 0 h 223"/>
              <a:gd name="T20" fmla="*/ 0 w 226"/>
              <a:gd name="T21" fmla="*/ 69736 h 223"/>
              <a:gd name="T22" fmla="*/ 26987 w 226"/>
              <a:gd name="T23" fmla="*/ 112107 h 223"/>
              <a:gd name="T24" fmla="*/ 69850 w 226"/>
              <a:gd name="T25" fmla="*/ 112107 h 223"/>
              <a:gd name="T26" fmla="*/ 96837 w 226"/>
              <a:gd name="T27" fmla="*/ 141238 h 223"/>
              <a:gd name="T28" fmla="*/ 96837 w 226"/>
              <a:gd name="T29" fmla="*/ 154479 h 223"/>
              <a:gd name="T30" fmla="*/ 83344 w 226"/>
              <a:gd name="T31" fmla="*/ 182726 h 223"/>
              <a:gd name="T32" fmla="*/ 124618 w 226"/>
              <a:gd name="T33" fmla="*/ 196850 h 223"/>
              <a:gd name="T34" fmla="*/ 138112 w 226"/>
              <a:gd name="T35" fmla="*/ 182726 h 223"/>
              <a:gd name="T36" fmla="*/ 165893 w 226"/>
              <a:gd name="T37" fmla="*/ 169485 h 223"/>
              <a:gd name="T38" fmla="*/ 165893 w 226"/>
              <a:gd name="T39" fmla="*/ 14123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chemeClr val="bg1"/>
          </a:solidFill>
          <a:ln w="9525">
            <a:solidFill>
              <a:schemeClr val="bg2"/>
            </a:solidFill>
            <a:prstDash val="solid"/>
            <a:round/>
            <a:headEnd/>
            <a:tailEnd/>
          </a:ln>
        </p:spPr>
        <p:txBody>
          <a:bodyPr/>
          <a:lstStyle/>
          <a:p>
            <a:endParaRPr lang="en-US" dirty="0"/>
          </a:p>
        </p:txBody>
      </p:sp>
      <p:sp>
        <p:nvSpPr>
          <p:cNvPr id="19551" name="Freeform 94"/>
          <p:cNvSpPr>
            <a:spLocks noChangeAspect="1"/>
          </p:cNvSpPr>
          <p:nvPr>
            <p:custDataLst>
              <p:tags r:id="rId71"/>
            </p:custDataLst>
          </p:nvPr>
        </p:nvSpPr>
        <p:spPr bwMode="auto">
          <a:xfrm>
            <a:off x="2700338" y="4422775"/>
            <a:ext cx="423862" cy="876300"/>
          </a:xfrm>
          <a:custGeom>
            <a:avLst/>
            <a:gdLst>
              <a:gd name="T0" fmla="*/ 314937 w 537"/>
              <a:gd name="T1" fmla="*/ 310062 h 992"/>
              <a:gd name="T2" fmla="*/ 397025 w 537"/>
              <a:gd name="T3" fmla="*/ 140455 h 992"/>
              <a:gd name="T4" fmla="*/ 410444 w 537"/>
              <a:gd name="T5" fmla="*/ 84803 h 992"/>
              <a:gd name="T6" fmla="*/ 397025 w 537"/>
              <a:gd name="T7" fmla="*/ 113071 h 992"/>
              <a:gd name="T8" fmla="*/ 355981 w 537"/>
              <a:gd name="T9" fmla="*/ 140455 h 992"/>
              <a:gd name="T10" fmla="*/ 328355 w 537"/>
              <a:gd name="T11" fmla="*/ 98054 h 992"/>
              <a:gd name="T12" fmla="*/ 301518 w 537"/>
              <a:gd name="T13" fmla="*/ 55652 h 992"/>
              <a:gd name="T14" fmla="*/ 232848 w 537"/>
              <a:gd name="T15" fmla="*/ 13251 h 992"/>
              <a:gd name="T16" fmla="*/ 192593 w 537"/>
              <a:gd name="T17" fmla="*/ 13251 h 992"/>
              <a:gd name="T18" fmla="*/ 122344 w 537"/>
              <a:gd name="T19" fmla="*/ 28268 h 992"/>
              <a:gd name="T20" fmla="*/ 95507 w 537"/>
              <a:gd name="T21" fmla="*/ 70669 h 992"/>
              <a:gd name="T22" fmla="*/ 81299 w 537"/>
              <a:gd name="T23" fmla="*/ 155473 h 992"/>
              <a:gd name="T24" fmla="*/ 67881 w 537"/>
              <a:gd name="T25" fmla="*/ 295928 h 992"/>
              <a:gd name="T26" fmla="*/ 54463 w 537"/>
              <a:gd name="T27" fmla="*/ 367481 h 992"/>
              <a:gd name="T28" fmla="*/ 41044 w 537"/>
              <a:gd name="T29" fmla="*/ 437267 h 992"/>
              <a:gd name="T30" fmla="*/ 26837 w 537"/>
              <a:gd name="T31" fmla="*/ 522070 h 992"/>
              <a:gd name="T32" fmla="*/ 26837 w 537"/>
              <a:gd name="T33" fmla="*/ 606873 h 992"/>
              <a:gd name="T34" fmla="*/ 41044 w 537"/>
              <a:gd name="T35" fmla="*/ 621890 h 992"/>
              <a:gd name="T36" fmla="*/ 41044 w 537"/>
              <a:gd name="T37" fmla="*/ 621890 h 992"/>
              <a:gd name="T38" fmla="*/ 13418 w 537"/>
              <a:gd name="T39" fmla="*/ 706694 h 992"/>
              <a:gd name="T40" fmla="*/ 0 w 537"/>
              <a:gd name="T41" fmla="*/ 775596 h 992"/>
              <a:gd name="T42" fmla="*/ 0 w 537"/>
              <a:gd name="T43" fmla="*/ 817998 h 992"/>
              <a:gd name="T44" fmla="*/ 13418 w 537"/>
              <a:gd name="T45" fmla="*/ 847149 h 992"/>
              <a:gd name="T46" fmla="*/ 67881 w 537"/>
              <a:gd name="T47" fmla="*/ 860399 h 992"/>
              <a:gd name="T48" fmla="*/ 95507 w 537"/>
              <a:gd name="T49" fmla="*/ 876300 h 992"/>
              <a:gd name="T50" fmla="*/ 95507 w 537"/>
              <a:gd name="T51" fmla="*/ 804747 h 992"/>
              <a:gd name="T52" fmla="*/ 122344 w 537"/>
              <a:gd name="T53" fmla="*/ 749095 h 992"/>
              <a:gd name="T54" fmla="*/ 164967 w 537"/>
              <a:gd name="T55" fmla="*/ 690793 h 992"/>
              <a:gd name="T56" fmla="*/ 122344 w 537"/>
              <a:gd name="T57" fmla="*/ 664292 h 992"/>
              <a:gd name="T58" fmla="*/ 137341 w 537"/>
              <a:gd name="T59" fmla="*/ 635141 h 992"/>
              <a:gd name="T60" fmla="*/ 164967 w 537"/>
              <a:gd name="T61" fmla="*/ 606873 h 992"/>
              <a:gd name="T62" fmla="*/ 178385 w 537"/>
              <a:gd name="T63" fmla="*/ 579489 h 992"/>
              <a:gd name="T64" fmla="*/ 178385 w 537"/>
              <a:gd name="T65" fmla="*/ 550338 h 992"/>
              <a:gd name="T66" fmla="*/ 206011 w 537"/>
              <a:gd name="T67" fmla="*/ 550338 h 992"/>
              <a:gd name="T68" fmla="*/ 192593 w 537"/>
              <a:gd name="T69" fmla="*/ 537087 h 992"/>
              <a:gd name="T70" fmla="*/ 178385 w 537"/>
              <a:gd name="T71" fmla="*/ 494686 h 992"/>
              <a:gd name="T72" fmla="*/ 232848 w 537"/>
              <a:gd name="T73" fmla="*/ 494686 h 992"/>
              <a:gd name="T74" fmla="*/ 232848 w 537"/>
              <a:gd name="T75" fmla="*/ 437267 h 992"/>
              <a:gd name="T76" fmla="*/ 273892 w 537"/>
              <a:gd name="T77" fmla="*/ 437267 h 992"/>
              <a:gd name="T78" fmla="*/ 355981 w 537"/>
              <a:gd name="T79" fmla="*/ 380731 h 992"/>
              <a:gd name="T80" fmla="*/ 342563 w 537"/>
              <a:gd name="T81" fmla="*/ 352463 h 992"/>
              <a:gd name="T82" fmla="*/ 314937 w 537"/>
              <a:gd name="T83" fmla="*/ 325079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000080"/>
          </a:solidFill>
          <a:ln w="9525">
            <a:solidFill>
              <a:schemeClr val="bg2"/>
            </a:solidFill>
            <a:round/>
            <a:headEnd/>
            <a:tailEnd/>
          </a:ln>
        </p:spPr>
        <p:txBody>
          <a:bodyPr/>
          <a:lstStyle/>
          <a:p>
            <a:endParaRPr lang="en-US" dirty="0"/>
          </a:p>
        </p:txBody>
      </p:sp>
      <p:sp>
        <p:nvSpPr>
          <p:cNvPr id="19552" name="Freeform 95"/>
          <p:cNvSpPr>
            <a:spLocks noChangeAspect="1"/>
          </p:cNvSpPr>
          <p:nvPr>
            <p:custDataLst>
              <p:tags r:id="rId72"/>
            </p:custDataLst>
          </p:nvPr>
        </p:nvSpPr>
        <p:spPr bwMode="auto">
          <a:xfrm>
            <a:off x="3013075" y="4635500"/>
            <a:ext cx="125413" cy="111125"/>
          </a:xfrm>
          <a:custGeom>
            <a:avLst/>
            <a:gdLst>
              <a:gd name="T0" fmla="*/ 111125 w 158"/>
              <a:gd name="T1" fmla="*/ 82698 h 129"/>
              <a:gd name="T2" fmla="*/ 111125 w 158"/>
              <a:gd name="T3" fmla="*/ 82698 h 129"/>
              <a:gd name="T4" fmla="*/ 125413 w 158"/>
              <a:gd name="T5" fmla="*/ 55132 h 129"/>
              <a:gd name="T6" fmla="*/ 111125 w 158"/>
              <a:gd name="T7" fmla="*/ 41349 h 129"/>
              <a:gd name="T8" fmla="*/ 69850 w 158"/>
              <a:gd name="T9" fmla="*/ 13783 h 129"/>
              <a:gd name="T10" fmla="*/ 56356 w 158"/>
              <a:gd name="T11" fmla="*/ 13783 h 129"/>
              <a:gd name="T12" fmla="*/ 42863 w 158"/>
              <a:gd name="T13" fmla="*/ 0 h 129"/>
              <a:gd name="T14" fmla="*/ 27781 w 158"/>
              <a:gd name="T15" fmla="*/ 0 h 129"/>
              <a:gd name="T16" fmla="*/ 0 w 158"/>
              <a:gd name="T17" fmla="*/ 96481 h 129"/>
              <a:gd name="T18" fmla="*/ 13494 w 158"/>
              <a:gd name="T19" fmla="*/ 96481 h 129"/>
              <a:gd name="T20" fmla="*/ 56356 w 158"/>
              <a:gd name="T21" fmla="*/ 111125 h 129"/>
              <a:gd name="T22" fmla="*/ 97632 w 158"/>
              <a:gd name="T23" fmla="*/ 111125 h 129"/>
              <a:gd name="T24" fmla="*/ 111125 w 158"/>
              <a:gd name="T25" fmla="*/ 82698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chemeClr val="bg1"/>
          </a:solidFill>
          <a:ln w="9525">
            <a:solidFill>
              <a:schemeClr val="bg2"/>
            </a:solidFill>
            <a:round/>
            <a:headEnd/>
            <a:tailEnd/>
          </a:ln>
        </p:spPr>
        <p:txBody>
          <a:bodyPr/>
          <a:lstStyle/>
          <a:p>
            <a:endParaRPr lang="en-US" dirty="0"/>
          </a:p>
        </p:txBody>
      </p:sp>
      <p:sp>
        <p:nvSpPr>
          <p:cNvPr id="19553" name="Freeform 96"/>
          <p:cNvSpPr>
            <a:spLocks noChangeAspect="1"/>
          </p:cNvSpPr>
          <p:nvPr>
            <p:custDataLst>
              <p:tags r:id="rId73"/>
            </p:custDataLst>
          </p:nvPr>
        </p:nvSpPr>
        <p:spPr bwMode="auto">
          <a:xfrm>
            <a:off x="2687638" y="3816350"/>
            <a:ext cx="844550" cy="903288"/>
          </a:xfrm>
          <a:custGeom>
            <a:avLst/>
            <a:gdLst>
              <a:gd name="T0" fmla="*/ 490358 w 1073"/>
              <a:gd name="T1" fmla="*/ 26515 h 1022"/>
              <a:gd name="T2" fmla="*/ 448643 w 1073"/>
              <a:gd name="T3" fmla="*/ 55682 h 1022"/>
              <a:gd name="T4" fmla="*/ 421094 w 1073"/>
              <a:gd name="T5" fmla="*/ 55682 h 1022"/>
              <a:gd name="T6" fmla="*/ 380165 w 1073"/>
              <a:gd name="T7" fmla="*/ 68940 h 1022"/>
              <a:gd name="T8" fmla="*/ 325856 w 1073"/>
              <a:gd name="T9" fmla="*/ 84849 h 1022"/>
              <a:gd name="T10" fmla="*/ 299095 w 1073"/>
              <a:gd name="T11" fmla="*/ 55682 h 1022"/>
              <a:gd name="T12" fmla="*/ 299095 w 1073"/>
              <a:gd name="T13" fmla="*/ 0 h 1022"/>
              <a:gd name="T14" fmla="*/ 271547 w 1073"/>
              <a:gd name="T15" fmla="*/ 13258 h 1022"/>
              <a:gd name="T16" fmla="*/ 189689 w 1073"/>
              <a:gd name="T17" fmla="*/ 13258 h 1022"/>
              <a:gd name="T18" fmla="*/ 203857 w 1073"/>
              <a:gd name="T19" fmla="*/ 55682 h 1022"/>
              <a:gd name="T20" fmla="*/ 176309 w 1073"/>
              <a:gd name="T21" fmla="*/ 98107 h 1022"/>
              <a:gd name="T22" fmla="*/ 149548 w 1073"/>
              <a:gd name="T23" fmla="*/ 84849 h 1022"/>
              <a:gd name="T24" fmla="*/ 81070 w 1073"/>
              <a:gd name="T25" fmla="*/ 68940 h 1022"/>
              <a:gd name="T26" fmla="*/ 94451 w 1073"/>
              <a:gd name="T27" fmla="*/ 98107 h 1022"/>
              <a:gd name="T28" fmla="*/ 94451 w 1073"/>
              <a:gd name="T29" fmla="*/ 140531 h 1022"/>
              <a:gd name="T30" fmla="*/ 26761 w 1073"/>
              <a:gd name="T31" fmla="*/ 225380 h 1022"/>
              <a:gd name="T32" fmla="*/ 13381 w 1073"/>
              <a:gd name="T33" fmla="*/ 323487 h 1022"/>
              <a:gd name="T34" fmla="*/ 67690 w 1073"/>
              <a:gd name="T35" fmla="*/ 323487 h 1022"/>
              <a:gd name="T36" fmla="*/ 94451 w 1073"/>
              <a:gd name="T37" fmla="*/ 352654 h 1022"/>
              <a:gd name="T38" fmla="*/ 149548 w 1073"/>
              <a:gd name="T39" fmla="*/ 323487 h 1022"/>
              <a:gd name="T40" fmla="*/ 176309 w 1073"/>
              <a:gd name="T41" fmla="*/ 365911 h 1022"/>
              <a:gd name="T42" fmla="*/ 271547 w 1073"/>
              <a:gd name="T43" fmla="*/ 408336 h 1022"/>
              <a:gd name="T44" fmla="*/ 284927 w 1073"/>
              <a:gd name="T45" fmla="*/ 450760 h 1022"/>
              <a:gd name="T46" fmla="*/ 325856 w 1073"/>
              <a:gd name="T47" fmla="*/ 479927 h 1022"/>
              <a:gd name="T48" fmla="*/ 339237 w 1073"/>
              <a:gd name="T49" fmla="*/ 522352 h 1022"/>
              <a:gd name="T50" fmla="*/ 339237 w 1073"/>
              <a:gd name="T51" fmla="*/ 607201 h 1022"/>
              <a:gd name="T52" fmla="*/ 394333 w 1073"/>
              <a:gd name="T53" fmla="*/ 620458 h 1022"/>
              <a:gd name="T54" fmla="*/ 421094 w 1073"/>
              <a:gd name="T55" fmla="*/ 662883 h 1022"/>
              <a:gd name="T56" fmla="*/ 421094 w 1073"/>
              <a:gd name="T57" fmla="*/ 692049 h 1022"/>
              <a:gd name="T58" fmla="*/ 407714 w 1073"/>
              <a:gd name="T59" fmla="*/ 747732 h 1022"/>
              <a:gd name="T60" fmla="*/ 366785 w 1073"/>
              <a:gd name="T61" fmla="*/ 818439 h 1022"/>
              <a:gd name="T62" fmla="*/ 394333 w 1073"/>
              <a:gd name="T63" fmla="*/ 832581 h 1022"/>
              <a:gd name="T64" fmla="*/ 448643 w 1073"/>
              <a:gd name="T65" fmla="*/ 875005 h 1022"/>
              <a:gd name="T66" fmla="*/ 462023 w 1073"/>
              <a:gd name="T67" fmla="*/ 875005 h 1022"/>
              <a:gd name="T68" fmla="*/ 517907 w 1073"/>
              <a:gd name="T69" fmla="*/ 790156 h 1022"/>
              <a:gd name="T70" fmla="*/ 545455 w 1073"/>
              <a:gd name="T71" fmla="*/ 705307 h 1022"/>
              <a:gd name="T72" fmla="*/ 585597 w 1073"/>
              <a:gd name="T73" fmla="*/ 662883 h 1022"/>
              <a:gd name="T74" fmla="*/ 680835 w 1073"/>
              <a:gd name="T75" fmla="*/ 635484 h 1022"/>
              <a:gd name="T76" fmla="*/ 708383 w 1073"/>
              <a:gd name="T77" fmla="*/ 607201 h 1022"/>
              <a:gd name="T78" fmla="*/ 735144 w 1073"/>
              <a:gd name="T79" fmla="*/ 550635 h 1022"/>
              <a:gd name="T80" fmla="*/ 749312 w 1073"/>
              <a:gd name="T81" fmla="*/ 508210 h 1022"/>
              <a:gd name="T82" fmla="*/ 817002 w 1073"/>
              <a:gd name="T83" fmla="*/ 323487 h 1022"/>
              <a:gd name="T84" fmla="*/ 830382 w 1073"/>
              <a:gd name="T85" fmla="*/ 225380 h 1022"/>
              <a:gd name="T86" fmla="*/ 721763 w 1073"/>
              <a:gd name="T87" fmla="*/ 168814 h 1022"/>
              <a:gd name="T88" fmla="*/ 654074 w 1073"/>
              <a:gd name="T89" fmla="*/ 168814 h 1022"/>
              <a:gd name="T90" fmla="*/ 626525 w 1073"/>
              <a:gd name="T91" fmla="*/ 153789 h 1022"/>
              <a:gd name="T92" fmla="*/ 613145 w 1073"/>
              <a:gd name="T93" fmla="*/ 140531 h 1022"/>
              <a:gd name="T94" fmla="*/ 545455 w 1073"/>
              <a:gd name="T95" fmla="*/ 140531 h 1022"/>
              <a:gd name="T96" fmla="*/ 531287 w 1073"/>
              <a:gd name="T97" fmla="*/ 111364 h 1022"/>
              <a:gd name="T98" fmla="*/ 504526 w 1073"/>
              <a:gd name="T99" fmla="*/ 140531 h 1022"/>
              <a:gd name="T100" fmla="*/ 476978 w 1073"/>
              <a:gd name="T101" fmla="*/ 140531 h 1022"/>
              <a:gd name="T102" fmla="*/ 517907 w 1073"/>
              <a:gd name="T103" fmla="*/ 84849 h 1022"/>
              <a:gd name="T104" fmla="*/ 504526 w 1073"/>
              <a:gd name="T105" fmla="*/ 68940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000080"/>
          </a:solidFill>
          <a:ln w="9525">
            <a:solidFill>
              <a:schemeClr val="bg2"/>
            </a:solidFill>
            <a:round/>
            <a:headEnd/>
            <a:tailEnd/>
          </a:ln>
        </p:spPr>
        <p:txBody>
          <a:bodyPr/>
          <a:lstStyle/>
          <a:p>
            <a:endParaRPr lang="en-US" dirty="0"/>
          </a:p>
        </p:txBody>
      </p:sp>
      <p:sp>
        <p:nvSpPr>
          <p:cNvPr id="19554" name="Freeform 97"/>
          <p:cNvSpPr>
            <a:spLocks noChangeAspect="1"/>
          </p:cNvSpPr>
          <p:nvPr>
            <p:custDataLst>
              <p:tags r:id="rId74"/>
            </p:custDataLst>
          </p:nvPr>
        </p:nvSpPr>
        <p:spPr bwMode="auto">
          <a:xfrm>
            <a:off x="3111500" y="3795713"/>
            <a:ext cx="53975" cy="84137"/>
          </a:xfrm>
          <a:custGeom>
            <a:avLst/>
            <a:gdLst>
              <a:gd name="T0" fmla="*/ 0 w 69"/>
              <a:gd name="T1" fmla="*/ 70991 h 96"/>
              <a:gd name="T2" fmla="*/ 0 w 69"/>
              <a:gd name="T3" fmla="*/ 70991 h 96"/>
              <a:gd name="T4" fmla="*/ 13298 w 69"/>
              <a:gd name="T5" fmla="*/ 84137 h 96"/>
              <a:gd name="T6" fmla="*/ 27379 w 69"/>
              <a:gd name="T7" fmla="*/ 70991 h 96"/>
              <a:gd name="T8" fmla="*/ 53975 w 69"/>
              <a:gd name="T9" fmla="*/ 42069 h 96"/>
              <a:gd name="T10" fmla="*/ 0 w 69"/>
              <a:gd name="T11" fmla="*/ 0 h 96"/>
              <a:gd name="T12" fmla="*/ 0 w 69"/>
              <a:gd name="T13" fmla="*/ 15776 h 96"/>
              <a:gd name="T14" fmla="*/ 0 w 69"/>
              <a:gd name="T15" fmla="*/ 42069 h 96"/>
              <a:gd name="T16" fmla="*/ 0 w 69"/>
              <a:gd name="T17" fmla="*/ 70991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chemeClr val="bg1"/>
          </a:solidFill>
          <a:ln w="9525">
            <a:solidFill>
              <a:schemeClr val="bg2"/>
            </a:solidFill>
            <a:round/>
            <a:headEnd/>
            <a:tailEnd/>
          </a:ln>
        </p:spPr>
        <p:txBody>
          <a:bodyPr/>
          <a:lstStyle/>
          <a:p>
            <a:endParaRPr lang="en-US" dirty="0"/>
          </a:p>
        </p:txBody>
      </p:sp>
      <p:sp>
        <p:nvSpPr>
          <p:cNvPr id="19555" name="Freeform 98"/>
          <p:cNvSpPr>
            <a:spLocks noChangeAspect="1"/>
          </p:cNvSpPr>
          <p:nvPr>
            <p:custDataLst>
              <p:tags r:id="rId75"/>
            </p:custDataLst>
          </p:nvPr>
        </p:nvSpPr>
        <p:spPr bwMode="auto">
          <a:xfrm>
            <a:off x="3030538" y="3795713"/>
            <a:ext cx="80962" cy="84137"/>
          </a:xfrm>
          <a:custGeom>
            <a:avLst/>
            <a:gdLst>
              <a:gd name="T0" fmla="*/ 80962 w 104"/>
              <a:gd name="T1" fmla="*/ 70991 h 96"/>
              <a:gd name="T2" fmla="*/ 80962 w 104"/>
              <a:gd name="T3" fmla="*/ 70991 h 96"/>
              <a:gd name="T4" fmla="*/ 80962 w 104"/>
              <a:gd name="T5" fmla="*/ 42069 h 96"/>
              <a:gd name="T6" fmla="*/ 80962 w 104"/>
              <a:gd name="T7" fmla="*/ 15776 h 96"/>
              <a:gd name="T8" fmla="*/ 80962 w 104"/>
              <a:gd name="T9" fmla="*/ 0 h 96"/>
              <a:gd name="T10" fmla="*/ 27247 w 104"/>
              <a:gd name="T11" fmla="*/ 0 h 96"/>
              <a:gd name="T12" fmla="*/ 0 w 104"/>
              <a:gd name="T13" fmla="*/ 28922 h 96"/>
              <a:gd name="T14" fmla="*/ 27247 w 104"/>
              <a:gd name="T15" fmla="*/ 84137 h 96"/>
              <a:gd name="T16" fmla="*/ 40481 w 104"/>
              <a:gd name="T17" fmla="*/ 84137 h 96"/>
              <a:gd name="T18" fmla="*/ 53715 w 104"/>
              <a:gd name="T19" fmla="*/ 70991 h 96"/>
              <a:gd name="T20" fmla="*/ 80962 w 104"/>
              <a:gd name="T21" fmla="*/ 70991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chemeClr val="bg1"/>
          </a:solidFill>
          <a:ln w="9525">
            <a:solidFill>
              <a:schemeClr val="bg2"/>
            </a:solidFill>
            <a:round/>
            <a:headEnd/>
            <a:tailEnd/>
          </a:ln>
        </p:spPr>
        <p:txBody>
          <a:bodyPr/>
          <a:lstStyle/>
          <a:p>
            <a:endParaRPr lang="en-US" dirty="0"/>
          </a:p>
        </p:txBody>
      </p:sp>
      <p:sp>
        <p:nvSpPr>
          <p:cNvPr id="19556" name="Freeform 99"/>
          <p:cNvSpPr>
            <a:spLocks noChangeAspect="1"/>
          </p:cNvSpPr>
          <p:nvPr>
            <p:custDataLst>
              <p:tags r:id="rId76"/>
            </p:custDataLst>
          </p:nvPr>
        </p:nvSpPr>
        <p:spPr bwMode="auto">
          <a:xfrm>
            <a:off x="2960688" y="3744913"/>
            <a:ext cx="93662" cy="155575"/>
          </a:xfrm>
          <a:custGeom>
            <a:avLst/>
            <a:gdLst>
              <a:gd name="T0" fmla="*/ 27092 w 121"/>
              <a:gd name="T1" fmla="*/ 0 h 177"/>
              <a:gd name="T2" fmla="*/ 27092 w 121"/>
              <a:gd name="T3" fmla="*/ 0 h 177"/>
              <a:gd name="T4" fmla="*/ 53411 w 121"/>
              <a:gd name="T5" fmla="*/ 13184 h 177"/>
              <a:gd name="T6" fmla="*/ 53411 w 121"/>
              <a:gd name="T7" fmla="*/ 29006 h 177"/>
              <a:gd name="T8" fmla="*/ 66570 w 121"/>
              <a:gd name="T9" fmla="*/ 29006 h 177"/>
              <a:gd name="T10" fmla="*/ 93662 w 121"/>
              <a:gd name="T11" fmla="*/ 55374 h 177"/>
              <a:gd name="T12" fmla="*/ 66570 w 121"/>
              <a:gd name="T13" fmla="*/ 84380 h 177"/>
              <a:gd name="T14" fmla="*/ 93662 w 121"/>
              <a:gd name="T15" fmla="*/ 139754 h 177"/>
              <a:gd name="T16" fmla="*/ 53411 w 121"/>
              <a:gd name="T17" fmla="*/ 155575 h 177"/>
              <a:gd name="T18" fmla="*/ 40251 w 121"/>
              <a:gd name="T19" fmla="*/ 155575 h 177"/>
              <a:gd name="T20" fmla="*/ 27092 w 121"/>
              <a:gd name="T21" fmla="*/ 126570 h 177"/>
              <a:gd name="T22" fmla="*/ 27092 w 121"/>
              <a:gd name="T23" fmla="*/ 84380 h 177"/>
              <a:gd name="T24" fmla="*/ 27092 w 121"/>
              <a:gd name="T25" fmla="*/ 71195 h 177"/>
              <a:gd name="T26" fmla="*/ 13159 w 121"/>
              <a:gd name="T27" fmla="*/ 71195 h 177"/>
              <a:gd name="T28" fmla="*/ 0 w 121"/>
              <a:gd name="T29" fmla="*/ 55374 h 177"/>
              <a:gd name="T30" fmla="*/ 0 w 121"/>
              <a:gd name="T31" fmla="*/ 29006 h 177"/>
              <a:gd name="T32" fmla="*/ 13159 w 121"/>
              <a:gd name="T33" fmla="*/ 29006 h 177"/>
              <a:gd name="T34" fmla="*/ 13159 w 121"/>
              <a:gd name="T35" fmla="*/ 13184 h 177"/>
              <a:gd name="T36" fmla="*/ 27092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chemeClr val="bg1"/>
          </a:solidFill>
          <a:ln w="9525">
            <a:solidFill>
              <a:schemeClr val="bg2"/>
            </a:solidFill>
            <a:round/>
            <a:headEnd/>
            <a:tailEnd/>
          </a:ln>
        </p:spPr>
        <p:txBody>
          <a:bodyPr/>
          <a:lstStyle/>
          <a:p>
            <a:endParaRPr lang="en-US" dirty="0"/>
          </a:p>
        </p:txBody>
      </p:sp>
      <p:sp>
        <p:nvSpPr>
          <p:cNvPr id="19557" name="Freeform 100"/>
          <p:cNvSpPr>
            <a:spLocks noChangeAspect="1"/>
          </p:cNvSpPr>
          <p:nvPr>
            <p:custDataLst>
              <p:tags r:id="rId77"/>
            </p:custDataLst>
          </p:nvPr>
        </p:nvSpPr>
        <p:spPr bwMode="auto">
          <a:xfrm>
            <a:off x="2700338" y="3659188"/>
            <a:ext cx="287337" cy="254000"/>
          </a:xfrm>
          <a:custGeom>
            <a:avLst/>
            <a:gdLst>
              <a:gd name="T0" fmla="*/ 287337 w 365"/>
              <a:gd name="T1" fmla="*/ 84667 h 288"/>
              <a:gd name="T2" fmla="*/ 287337 w 365"/>
              <a:gd name="T3" fmla="*/ 84667 h 288"/>
              <a:gd name="T4" fmla="*/ 273167 w 365"/>
              <a:gd name="T5" fmla="*/ 97896 h 288"/>
              <a:gd name="T6" fmla="*/ 273167 w 365"/>
              <a:gd name="T7" fmla="*/ 113771 h 288"/>
              <a:gd name="T8" fmla="*/ 259784 w 365"/>
              <a:gd name="T9" fmla="*/ 113771 h 288"/>
              <a:gd name="T10" fmla="*/ 259784 w 365"/>
              <a:gd name="T11" fmla="*/ 140229 h 288"/>
              <a:gd name="T12" fmla="*/ 273167 w 365"/>
              <a:gd name="T13" fmla="*/ 156104 h 288"/>
              <a:gd name="T14" fmla="*/ 259784 w 365"/>
              <a:gd name="T15" fmla="*/ 169333 h 288"/>
              <a:gd name="T16" fmla="*/ 218848 w 365"/>
              <a:gd name="T17" fmla="*/ 182562 h 288"/>
              <a:gd name="T18" fmla="*/ 176338 w 365"/>
              <a:gd name="T19" fmla="*/ 169333 h 288"/>
              <a:gd name="T20" fmla="*/ 190508 w 365"/>
              <a:gd name="T21" fmla="*/ 182562 h 288"/>
              <a:gd name="T22" fmla="*/ 190508 w 365"/>
              <a:gd name="T23" fmla="*/ 211667 h 288"/>
              <a:gd name="T24" fmla="*/ 205466 w 365"/>
              <a:gd name="T25" fmla="*/ 224896 h 288"/>
              <a:gd name="T26" fmla="*/ 162955 w 365"/>
              <a:gd name="T27" fmla="*/ 254000 h 288"/>
              <a:gd name="T28" fmla="*/ 149573 w 365"/>
              <a:gd name="T29" fmla="*/ 254000 h 288"/>
              <a:gd name="T30" fmla="*/ 136190 w 365"/>
              <a:gd name="T31" fmla="*/ 240771 h 288"/>
              <a:gd name="T32" fmla="*/ 122020 w 365"/>
              <a:gd name="T33" fmla="*/ 224896 h 288"/>
              <a:gd name="T34" fmla="*/ 122020 w 365"/>
              <a:gd name="T35" fmla="*/ 198437 h 288"/>
              <a:gd name="T36" fmla="*/ 108637 w 365"/>
              <a:gd name="T37" fmla="*/ 169333 h 288"/>
              <a:gd name="T38" fmla="*/ 122020 w 365"/>
              <a:gd name="T39" fmla="*/ 127000 h 288"/>
              <a:gd name="T40" fmla="*/ 81084 w 365"/>
              <a:gd name="T41" fmla="*/ 127000 h 288"/>
              <a:gd name="T42" fmla="*/ 67701 w 365"/>
              <a:gd name="T43" fmla="*/ 113771 h 288"/>
              <a:gd name="T44" fmla="*/ 26766 w 365"/>
              <a:gd name="T45" fmla="*/ 113771 h 288"/>
              <a:gd name="T46" fmla="*/ 13383 w 365"/>
              <a:gd name="T47" fmla="*/ 97896 h 288"/>
              <a:gd name="T48" fmla="*/ 13383 w 365"/>
              <a:gd name="T49" fmla="*/ 84667 h 288"/>
              <a:gd name="T50" fmla="*/ 0 w 365"/>
              <a:gd name="T51" fmla="*/ 55562 h 288"/>
              <a:gd name="T52" fmla="*/ 13383 w 365"/>
              <a:gd name="T53" fmla="*/ 29104 h 288"/>
              <a:gd name="T54" fmla="*/ 26766 w 365"/>
              <a:gd name="T55" fmla="*/ 13229 h 288"/>
              <a:gd name="T56" fmla="*/ 40936 w 365"/>
              <a:gd name="T57" fmla="*/ 29104 h 288"/>
              <a:gd name="T58" fmla="*/ 26766 w 365"/>
              <a:gd name="T59" fmla="*/ 42333 h 288"/>
              <a:gd name="T60" fmla="*/ 26766 w 365"/>
              <a:gd name="T61" fmla="*/ 71437 h 288"/>
              <a:gd name="T62" fmla="*/ 40936 w 365"/>
              <a:gd name="T63" fmla="*/ 55562 h 288"/>
              <a:gd name="T64" fmla="*/ 40936 w 365"/>
              <a:gd name="T65" fmla="*/ 29104 h 288"/>
              <a:gd name="T66" fmla="*/ 67701 w 365"/>
              <a:gd name="T67" fmla="*/ 13229 h 288"/>
              <a:gd name="T68" fmla="*/ 67701 w 365"/>
              <a:gd name="T69" fmla="*/ 0 h 288"/>
              <a:gd name="T70" fmla="*/ 67701 w 365"/>
              <a:gd name="T71" fmla="*/ 13229 h 288"/>
              <a:gd name="T72" fmla="*/ 108637 w 365"/>
              <a:gd name="T73" fmla="*/ 13229 h 288"/>
              <a:gd name="T74" fmla="*/ 108637 w 365"/>
              <a:gd name="T75" fmla="*/ 29104 h 288"/>
              <a:gd name="T76" fmla="*/ 149573 w 365"/>
              <a:gd name="T77" fmla="*/ 29104 h 288"/>
              <a:gd name="T78" fmla="*/ 176338 w 365"/>
              <a:gd name="T79" fmla="*/ 42333 h 288"/>
              <a:gd name="T80" fmla="*/ 205466 w 365"/>
              <a:gd name="T81" fmla="*/ 29104 h 288"/>
              <a:gd name="T82" fmla="*/ 232231 w 365"/>
              <a:gd name="T83" fmla="*/ 29104 h 288"/>
              <a:gd name="T84" fmla="*/ 218848 w 365"/>
              <a:gd name="T85" fmla="*/ 29104 h 288"/>
              <a:gd name="T86" fmla="*/ 232231 w 365"/>
              <a:gd name="T87" fmla="*/ 42333 h 288"/>
              <a:gd name="T88" fmla="*/ 259784 w 365"/>
              <a:gd name="T89" fmla="*/ 55562 h 288"/>
              <a:gd name="T90" fmla="*/ 259784 w 365"/>
              <a:gd name="T91" fmla="*/ 84667 h 288"/>
              <a:gd name="T92" fmla="*/ 273167 w 365"/>
              <a:gd name="T93" fmla="*/ 71437 h 288"/>
              <a:gd name="T94" fmla="*/ 287337 w 365"/>
              <a:gd name="T95" fmla="*/ 84667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chemeClr val="bg1"/>
          </a:solidFill>
          <a:ln w="9525">
            <a:solidFill>
              <a:schemeClr val="bg2"/>
            </a:solidFill>
            <a:round/>
            <a:headEnd/>
            <a:tailEnd/>
          </a:ln>
        </p:spPr>
        <p:txBody>
          <a:bodyPr/>
          <a:lstStyle/>
          <a:p>
            <a:endParaRPr lang="en-US" dirty="0"/>
          </a:p>
        </p:txBody>
      </p:sp>
      <p:sp>
        <p:nvSpPr>
          <p:cNvPr id="19558" name="Freeform 101"/>
          <p:cNvSpPr>
            <a:spLocks noChangeAspect="1"/>
          </p:cNvSpPr>
          <p:nvPr>
            <p:custDataLst>
              <p:tags r:id="rId78"/>
            </p:custDataLst>
          </p:nvPr>
        </p:nvSpPr>
        <p:spPr bwMode="auto">
          <a:xfrm>
            <a:off x="1757363" y="3155950"/>
            <a:ext cx="642937" cy="438150"/>
          </a:xfrm>
          <a:custGeom>
            <a:avLst/>
            <a:gdLst>
              <a:gd name="T0" fmla="*/ 424149 w 814"/>
              <a:gd name="T1" fmla="*/ 169265 h 497"/>
              <a:gd name="T2" fmla="*/ 410721 w 814"/>
              <a:gd name="T3" fmla="*/ 253898 h 497"/>
              <a:gd name="T4" fmla="*/ 424149 w 814"/>
              <a:gd name="T5" fmla="*/ 282109 h 497"/>
              <a:gd name="T6" fmla="*/ 492866 w 814"/>
              <a:gd name="T7" fmla="*/ 353517 h 497"/>
              <a:gd name="T8" fmla="*/ 560793 w 814"/>
              <a:gd name="T9" fmla="*/ 338530 h 497"/>
              <a:gd name="T10" fmla="*/ 560793 w 814"/>
              <a:gd name="T11" fmla="*/ 324425 h 497"/>
              <a:gd name="T12" fmla="*/ 588437 w 814"/>
              <a:gd name="T13" fmla="*/ 282109 h 497"/>
              <a:gd name="T14" fmla="*/ 642937 w 814"/>
              <a:gd name="T15" fmla="*/ 282109 h 497"/>
              <a:gd name="T16" fmla="*/ 628720 w 814"/>
              <a:gd name="T17" fmla="*/ 353517 h 497"/>
              <a:gd name="T18" fmla="*/ 601865 w 814"/>
              <a:gd name="T19" fmla="*/ 353517 h 497"/>
              <a:gd name="T20" fmla="*/ 547365 w 814"/>
              <a:gd name="T21" fmla="*/ 366741 h 497"/>
              <a:gd name="T22" fmla="*/ 547365 w 814"/>
              <a:gd name="T23" fmla="*/ 395834 h 497"/>
              <a:gd name="T24" fmla="*/ 492866 w 814"/>
              <a:gd name="T25" fmla="*/ 395834 h 497"/>
              <a:gd name="T26" fmla="*/ 451794 w 814"/>
              <a:gd name="T27" fmla="*/ 409058 h 497"/>
              <a:gd name="T28" fmla="*/ 342794 w 814"/>
              <a:gd name="T29" fmla="*/ 366741 h 497"/>
              <a:gd name="T30" fmla="*/ 288295 w 814"/>
              <a:gd name="T31" fmla="*/ 353517 h 497"/>
              <a:gd name="T32" fmla="*/ 247223 w 814"/>
              <a:gd name="T33" fmla="*/ 296214 h 497"/>
              <a:gd name="T34" fmla="*/ 247223 w 814"/>
              <a:gd name="T35" fmla="*/ 253898 h 497"/>
              <a:gd name="T36" fmla="*/ 163499 w 814"/>
              <a:gd name="T37" fmla="*/ 169265 h 497"/>
              <a:gd name="T38" fmla="*/ 136644 w 814"/>
              <a:gd name="T39" fmla="*/ 126949 h 497"/>
              <a:gd name="T40" fmla="*/ 122427 w 814"/>
              <a:gd name="T41" fmla="*/ 112843 h 497"/>
              <a:gd name="T42" fmla="*/ 81354 w 814"/>
              <a:gd name="T43" fmla="*/ 28211 h 497"/>
              <a:gd name="T44" fmla="*/ 41072 w 814"/>
              <a:gd name="T45" fmla="*/ 14987 h 497"/>
              <a:gd name="T46" fmla="*/ 122427 w 814"/>
              <a:gd name="T47" fmla="*/ 155160 h 497"/>
              <a:gd name="T48" fmla="*/ 150071 w 814"/>
              <a:gd name="T49" fmla="*/ 211581 h 497"/>
              <a:gd name="T50" fmla="*/ 150071 w 814"/>
              <a:gd name="T51" fmla="*/ 239792 h 497"/>
              <a:gd name="T52" fmla="*/ 95572 w 814"/>
              <a:gd name="T53" fmla="*/ 197476 h 497"/>
              <a:gd name="T54" fmla="*/ 95572 w 814"/>
              <a:gd name="T55" fmla="*/ 155160 h 497"/>
              <a:gd name="T56" fmla="*/ 41072 w 814"/>
              <a:gd name="T57" fmla="*/ 112843 h 497"/>
              <a:gd name="T58" fmla="*/ 67927 w 814"/>
              <a:gd name="T59" fmla="*/ 99620 h 497"/>
              <a:gd name="T60" fmla="*/ 0 w 814"/>
              <a:gd name="T61" fmla="*/ 0 h 497"/>
              <a:gd name="T62" fmla="*/ 122427 w 814"/>
              <a:gd name="T63" fmla="*/ 28211 h 497"/>
              <a:gd name="T64" fmla="*/ 260650 w 814"/>
              <a:gd name="T65" fmla="*/ 42316 h 497"/>
              <a:gd name="T66" fmla="*/ 288295 w 814"/>
              <a:gd name="T67" fmla="*/ 84633 h 497"/>
              <a:gd name="T68" fmla="*/ 315150 w 814"/>
              <a:gd name="T69" fmla="*/ 70527 h 497"/>
              <a:gd name="T70" fmla="*/ 383077 w 814"/>
              <a:gd name="T71" fmla="*/ 155160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000080"/>
          </a:solidFill>
          <a:ln w="9525">
            <a:solidFill>
              <a:schemeClr val="bg2"/>
            </a:solidFill>
            <a:round/>
            <a:headEnd/>
            <a:tailEnd/>
          </a:ln>
        </p:spPr>
        <p:txBody>
          <a:bodyPr/>
          <a:lstStyle/>
          <a:p>
            <a:endParaRPr lang="en-US" dirty="0"/>
          </a:p>
        </p:txBody>
      </p:sp>
      <p:sp>
        <p:nvSpPr>
          <p:cNvPr id="19559" name="Freeform 102"/>
          <p:cNvSpPr>
            <a:spLocks noChangeAspect="1"/>
          </p:cNvSpPr>
          <p:nvPr>
            <p:custDataLst>
              <p:tags r:id="rId79"/>
            </p:custDataLst>
          </p:nvPr>
        </p:nvSpPr>
        <p:spPr bwMode="auto">
          <a:xfrm>
            <a:off x="2290763" y="3508375"/>
            <a:ext cx="84137" cy="98425"/>
          </a:xfrm>
          <a:custGeom>
            <a:avLst/>
            <a:gdLst>
              <a:gd name="T0" fmla="*/ 70250 w 103"/>
              <a:gd name="T1" fmla="*/ 42562 h 111"/>
              <a:gd name="T2" fmla="*/ 70250 w 103"/>
              <a:gd name="T3" fmla="*/ 42562 h 111"/>
              <a:gd name="T4" fmla="*/ 84137 w 103"/>
              <a:gd name="T5" fmla="*/ 55863 h 111"/>
              <a:gd name="T6" fmla="*/ 56364 w 103"/>
              <a:gd name="T7" fmla="*/ 85124 h 111"/>
              <a:gd name="T8" fmla="*/ 41660 w 103"/>
              <a:gd name="T9" fmla="*/ 98425 h 111"/>
              <a:gd name="T10" fmla="*/ 0 w 103"/>
              <a:gd name="T11" fmla="*/ 85124 h 111"/>
              <a:gd name="T12" fmla="*/ 13887 w 103"/>
              <a:gd name="T13" fmla="*/ 42562 h 111"/>
              <a:gd name="T14" fmla="*/ 41660 w 103"/>
              <a:gd name="T15" fmla="*/ 42562 h 111"/>
              <a:gd name="T16" fmla="*/ 13887 w 103"/>
              <a:gd name="T17" fmla="*/ 13301 h 111"/>
              <a:gd name="T18" fmla="*/ 27773 w 103"/>
              <a:gd name="T19" fmla="*/ 0 h 111"/>
              <a:gd name="T20" fmla="*/ 70250 w 103"/>
              <a:gd name="T21" fmla="*/ 0 h 111"/>
              <a:gd name="T22" fmla="*/ 70250 w 103"/>
              <a:gd name="T23" fmla="*/ 4256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000080"/>
          </a:solidFill>
          <a:ln w="9525">
            <a:solidFill>
              <a:schemeClr val="bg2"/>
            </a:solidFill>
            <a:prstDash val="solid"/>
            <a:round/>
            <a:headEnd/>
            <a:tailEnd/>
          </a:ln>
        </p:spPr>
        <p:txBody>
          <a:bodyPr/>
          <a:lstStyle/>
          <a:p>
            <a:endParaRPr lang="en-US" dirty="0"/>
          </a:p>
        </p:txBody>
      </p:sp>
      <p:sp>
        <p:nvSpPr>
          <p:cNvPr id="19560" name="Freeform 103"/>
          <p:cNvSpPr>
            <a:spLocks noChangeAspect="1"/>
          </p:cNvSpPr>
          <p:nvPr>
            <p:custDataLst>
              <p:tags r:id="rId80"/>
            </p:custDataLst>
          </p:nvPr>
        </p:nvSpPr>
        <p:spPr bwMode="auto">
          <a:xfrm>
            <a:off x="2346325" y="3565525"/>
            <a:ext cx="134938" cy="57150"/>
          </a:xfrm>
          <a:custGeom>
            <a:avLst/>
            <a:gdLst>
              <a:gd name="T0" fmla="*/ 26988 w 170"/>
              <a:gd name="T1" fmla="*/ 0 h 63"/>
              <a:gd name="T2" fmla="*/ 26988 w 170"/>
              <a:gd name="T3" fmla="*/ 0 h 63"/>
              <a:gd name="T4" fmla="*/ 94457 w 170"/>
              <a:gd name="T5" fmla="*/ 0 h 63"/>
              <a:gd name="T6" fmla="*/ 134938 w 170"/>
              <a:gd name="T7" fmla="*/ 13607 h 63"/>
              <a:gd name="T8" fmla="*/ 107950 w 170"/>
              <a:gd name="T9" fmla="*/ 29936 h 63"/>
              <a:gd name="T10" fmla="*/ 54769 w 170"/>
              <a:gd name="T11" fmla="*/ 57150 h 63"/>
              <a:gd name="T12" fmla="*/ 40481 w 170"/>
              <a:gd name="T13" fmla="*/ 57150 h 63"/>
              <a:gd name="T14" fmla="*/ 40481 w 170"/>
              <a:gd name="T15" fmla="*/ 43543 h 63"/>
              <a:gd name="T16" fmla="*/ 0 w 170"/>
              <a:gd name="T17" fmla="*/ 29936 h 63"/>
              <a:gd name="T18" fmla="*/ 26988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000080"/>
          </a:solidFill>
          <a:ln w="9525">
            <a:solidFill>
              <a:schemeClr val="bg2"/>
            </a:solidFill>
            <a:round/>
            <a:headEnd/>
            <a:tailEnd/>
          </a:ln>
        </p:spPr>
        <p:txBody>
          <a:bodyPr/>
          <a:lstStyle/>
          <a:p>
            <a:endParaRPr lang="en-US" dirty="0"/>
          </a:p>
        </p:txBody>
      </p:sp>
      <p:sp>
        <p:nvSpPr>
          <p:cNvPr id="19561" name="Freeform 104"/>
          <p:cNvSpPr>
            <a:spLocks noChangeAspect="1"/>
          </p:cNvSpPr>
          <p:nvPr>
            <p:custDataLst>
              <p:tags r:id="rId81"/>
            </p:custDataLst>
          </p:nvPr>
        </p:nvSpPr>
        <p:spPr bwMode="auto">
          <a:xfrm>
            <a:off x="2332038" y="3594100"/>
            <a:ext cx="57150" cy="28575"/>
          </a:xfrm>
          <a:custGeom>
            <a:avLst/>
            <a:gdLst>
              <a:gd name="T0" fmla="*/ 16099 w 71"/>
              <a:gd name="T1" fmla="*/ 0 h 30"/>
              <a:gd name="T2" fmla="*/ 16099 w 71"/>
              <a:gd name="T3" fmla="*/ 0 h 30"/>
              <a:gd name="T4" fmla="*/ 0 w 71"/>
              <a:gd name="T5" fmla="*/ 14288 h 30"/>
              <a:gd name="T6" fmla="*/ 16099 w 71"/>
              <a:gd name="T7" fmla="*/ 28575 h 30"/>
              <a:gd name="T8" fmla="*/ 57150 w 71"/>
              <a:gd name="T9" fmla="*/ 28575 h 30"/>
              <a:gd name="T10" fmla="*/ 57150 w 71"/>
              <a:gd name="T11" fmla="*/ 14288 h 30"/>
              <a:gd name="T12" fmla="*/ 16099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000080"/>
          </a:solidFill>
          <a:ln w="9525">
            <a:solidFill>
              <a:schemeClr val="bg2"/>
            </a:solidFill>
            <a:prstDash val="solid"/>
            <a:round/>
            <a:headEnd/>
            <a:tailEnd/>
          </a:ln>
        </p:spPr>
        <p:txBody>
          <a:bodyPr/>
          <a:lstStyle/>
          <a:p>
            <a:endParaRPr lang="en-US" dirty="0"/>
          </a:p>
        </p:txBody>
      </p:sp>
      <p:sp>
        <p:nvSpPr>
          <p:cNvPr id="19562" name="Freeform 105"/>
          <p:cNvSpPr>
            <a:spLocks noChangeAspect="1"/>
          </p:cNvSpPr>
          <p:nvPr>
            <p:custDataLst>
              <p:tags r:id="rId82"/>
            </p:custDataLst>
          </p:nvPr>
        </p:nvSpPr>
        <p:spPr bwMode="auto">
          <a:xfrm>
            <a:off x="2400300" y="3579813"/>
            <a:ext cx="80963" cy="98425"/>
          </a:xfrm>
          <a:custGeom>
            <a:avLst/>
            <a:gdLst>
              <a:gd name="T0" fmla="*/ 80963 w 103"/>
              <a:gd name="T1" fmla="*/ 0 h 114"/>
              <a:gd name="T2" fmla="*/ 80963 w 103"/>
              <a:gd name="T3" fmla="*/ 0 h 114"/>
              <a:gd name="T4" fmla="*/ 80963 w 103"/>
              <a:gd name="T5" fmla="*/ 15541 h 114"/>
              <a:gd name="T6" fmla="*/ 67600 w 103"/>
              <a:gd name="T7" fmla="*/ 82884 h 114"/>
              <a:gd name="T8" fmla="*/ 80963 w 103"/>
              <a:gd name="T9" fmla="*/ 98425 h 114"/>
              <a:gd name="T10" fmla="*/ 67600 w 103"/>
              <a:gd name="T11" fmla="*/ 98425 h 114"/>
              <a:gd name="T12" fmla="*/ 26726 w 103"/>
              <a:gd name="T13" fmla="*/ 82884 h 114"/>
              <a:gd name="T14" fmla="*/ 0 w 103"/>
              <a:gd name="T15" fmla="*/ 56983 h 114"/>
              <a:gd name="T16" fmla="*/ 0 w 103"/>
              <a:gd name="T17" fmla="*/ 41442 h 114"/>
              <a:gd name="T18" fmla="*/ 54237 w 103"/>
              <a:gd name="T19" fmla="*/ 15541 h 114"/>
              <a:gd name="T20" fmla="*/ 80963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000080"/>
          </a:solidFill>
          <a:ln w="9525">
            <a:solidFill>
              <a:schemeClr val="bg2"/>
            </a:solidFill>
            <a:round/>
            <a:headEnd/>
            <a:tailEnd/>
          </a:ln>
        </p:spPr>
        <p:txBody>
          <a:bodyPr/>
          <a:lstStyle/>
          <a:p>
            <a:endParaRPr lang="en-US" dirty="0"/>
          </a:p>
        </p:txBody>
      </p:sp>
      <p:sp>
        <p:nvSpPr>
          <p:cNvPr id="19563" name="Freeform 106"/>
          <p:cNvSpPr>
            <a:spLocks noChangeAspect="1"/>
          </p:cNvSpPr>
          <p:nvPr>
            <p:custDataLst>
              <p:tags r:id="rId83"/>
            </p:custDataLst>
          </p:nvPr>
        </p:nvSpPr>
        <p:spPr bwMode="auto">
          <a:xfrm>
            <a:off x="2428875" y="3663950"/>
            <a:ext cx="68263" cy="71438"/>
          </a:xfrm>
          <a:custGeom>
            <a:avLst/>
            <a:gdLst>
              <a:gd name="T0" fmla="*/ 68263 w 87"/>
              <a:gd name="T1" fmla="*/ 71438 h 81"/>
              <a:gd name="T2" fmla="*/ 68263 w 87"/>
              <a:gd name="T3" fmla="*/ 71438 h 81"/>
              <a:gd name="T4" fmla="*/ 68263 w 87"/>
              <a:gd name="T5" fmla="*/ 42334 h 81"/>
              <a:gd name="T6" fmla="*/ 54140 w 87"/>
              <a:gd name="T7" fmla="*/ 29104 h 81"/>
              <a:gd name="T8" fmla="*/ 54140 w 87"/>
              <a:gd name="T9" fmla="*/ 15875 h 81"/>
              <a:gd name="T10" fmla="*/ 40801 w 87"/>
              <a:gd name="T11" fmla="*/ 15875 h 81"/>
              <a:gd name="T12" fmla="*/ 0 w 87"/>
              <a:gd name="T13" fmla="*/ 0 h 81"/>
              <a:gd name="T14" fmla="*/ 0 w 87"/>
              <a:gd name="T15" fmla="*/ 29104 h 81"/>
              <a:gd name="T16" fmla="*/ 14123 w 87"/>
              <a:gd name="T17" fmla="*/ 42334 h 81"/>
              <a:gd name="T18" fmla="*/ 27462 w 87"/>
              <a:gd name="T19" fmla="*/ 29104 h 81"/>
              <a:gd name="T20" fmla="*/ 40801 w 87"/>
              <a:gd name="T21" fmla="*/ 58209 h 81"/>
              <a:gd name="T22" fmla="*/ 68263 w 87"/>
              <a:gd name="T23" fmla="*/ 71438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003366"/>
          </a:solidFill>
          <a:ln w="9525">
            <a:solidFill>
              <a:schemeClr val="bg2"/>
            </a:solidFill>
            <a:round/>
            <a:headEnd/>
            <a:tailEnd/>
          </a:ln>
        </p:spPr>
        <p:txBody>
          <a:bodyPr/>
          <a:lstStyle/>
          <a:p>
            <a:endParaRPr lang="en-US" dirty="0"/>
          </a:p>
        </p:txBody>
      </p:sp>
      <p:sp>
        <p:nvSpPr>
          <p:cNvPr id="19564" name="Freeform 107"/>
          <p:cNvSpPr>
            <a:spLocks noChangeAspect="1"/>
          </p:cNvSpPr>
          <p:nvPr>
            <p:custDataLst>
              <p:tags r:id="rId84"/>
            </p:custDataLst>
          </p:nvPr>
        </p:nvSpPr>
        <p:spPr bwMode="auto">
          <a:xfrm>
            <a:off x="2497138" y="3706813"/>
            <a:ext cx="66675" cy="57150"/>
          </a:xfrm>
          <a:custGeom>
            <a:avLst/>
            <a:gdLst>
              <a:gd name="T0" fmla="*/ 0 w 84"/>
              <a:gd name="T1" fmla="*/ 28575 h 66"/>
              <a:gd name="T2" fmla="*/ 0 w 84"/>
              <a:gd name="T3" fmla="*/ 28575 h 66"/>
              <a:gd name="T4" fmla="*/ 40481 w 84"/>
              <a:gd name="T5" fmla="*/ 41564 h 66"/>
              <a:gd name="T6" fmla="*/ 40481 w 84"/>
              <a:gd name="T7" fmla="*/ 57150 h 66"/>
              <a:gd name="T8" fmla="*/ 54769 w 84"/>
              <a:gd name="T9" fmla="*/ 41564 h 66"/>
              <a:gd name="T10" fmla="*/ 40481 w 84"/>
              <a:gd name="T11" fmla="*/ 28575 h 66"/>
              <a:gd name="T12" fmla="*/ 66675 w 84"/>
              <a:gd name="T13" fmla="*/ 15586 h 66"/>
              <a:gd name="T14" fmla="*/ 54769 w 84"/>
              <a:gd name="T15" fmla="*/ 0 h 66"/>
              <a:gd name="T16" fmla="*/ 26988 w 84"/>
              <a:gd name="T17" fmla="*/ 15586 h 66"/>
              <a:gd name="T18" fmla="*/ 13494 w 84"/>
              <a:gd name="T19" fmla="*/ 15586 h 66"/>
              <a:gd name="T20" fmla="*/ 0 w 84"/>
              <a:gd name="T21" fmla="*/ 0 h 66"/>
              <a:gd name="T22" fmla="*/ 0 w 84"/>
              <a:gd name="T23" fmla="*/ 28575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9565" name="Freeform 108"/>
          <p:cNvSpPr>
            <a:spLocks noChangeAspect="1"/>
          </p:cNvSpPr>
          <p:nvPr>
            <p:custDataLst>
              <p:tags r:id="rId85"/>
            </p:custDataLst>
          </p:nvPr>
        </p:nvSpPr>
        <p:spPr bwMode="auto">
          <a:xfrm>
            <a:off x="2565400" y="3706813"/>
            <a:ext cx="55563" cy="57150"/>
          </a:xfrm>
          <a:custGeom>
            <a:avLst/>
            <a:gdLst>
              <a:gd name="T0" fmla="*/ 41874 w 69"/>
              <a:gd name="T1" fmla="*/ 15586 h 66"/>
              <a:gd name="T2" fmla="*/ 41874 w 69"/>
              <a:gd name="T3" fmla="*/ 15586 h 66"/>
              <a:gd name="T4" fmla="*/ 55563 w 69"/>
              <a:gd name="T5" fmla="*/ 28575 h 66"/>
              <a:gd name="T6" fmla="*/ 41874 w 69"/>
              <a:gd name="T7" fmla="*/ 41564 h 66"/>
              <a:gd name="T8" fmla="*/ 41874 w 69"/>
              <a:gd name="T9" fmla="*/ 57150 h 66"/>
              <a:gd name="T10" fmla="*/ 28184 w 69"/>
              <a:gd name="T11" fmla="*/ 28575 h 66"/>
              <a:gd name="T12" fmla="*/ 0 w 69"/>
              <a:gd name="T13" fmla="*/ 15586 h 66"/>
              <a:gd name="T14" fmla="*/ 0 w 69"/>
              <a:gd name="T15" fmla="*/ 0 h 66"/>
              <a:gd name="T16" fmla="*/ 13689 w 69"/>
              <a:gd name="T17" fmla="*/ 0 h 66"/>
              <a:gd name="T18" fmla="*/ 28184 w 69"/>
              <a:gd name="T19" fmla="*/ 0 h 66"/>
              <a:gd name="T20" fmla="*/ 41874 w 69"/>
              <a:gd name="T21" fmla="*/ 15586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chemeClr val="bg1"/>
          </a:solidFill>
          <a:ln w="9525">
            <a:solidFill>
              <a:schemeClr val="bg2"/>
            </a:solidFill>
            <a:prstDash val="solid"/>
            <a:round/>
            <a:headEnd/>
            <a:tailEnd/>
          </a:ln>
        </p:spPr>
        <p:txBody>
          <a:bodyPr/>
          <a:lstStyle/>
          <a:p>
            <a:endParaRPr lang="en-US" dirty="0"/>
          </a:p>
        </p:txBody>
      </p:sp>
      <p:sp>
        <p:nvSpPr>
          <p:cNvPr id="19566" name="Freeform 109"/>
          <p:cNvSpPr>
            <a:spLocks noChangeAspect="1"/>
          </p:cNvSpPr>
          <p:nvPr>
            <p:custDataLst>
              <p:tags r:id="rId86"/>
            </p:custDataLst>
          </p:nvPr>
        </p:nvSpPr>
        <p:spPr bwMode="auto">
          <a:xfrm>
            <a:off x="2551113" y="3706813"/>
            <a:ext cx="14287" cy="14287"/>
          </a:xfrm>
          <a:custGeom>
            <a:avLst/>
            <a:gdLst>
              <a:gd name="T0" fmla="*/ 14287 w 17"/>
              <a:gd name="T1" fmla="*/ 14287 h 18"/>
              <a:gd name="T2" fmla="*/ 14287 w 17"/>
              <a:gd name="T3" fmla="*/ 14287 h 18"/>
              <a:gd name="T4" fmla="*/ 14287 w 17"/>
              <a:gd name="T5" fmla="*/ 0 h 18"/>
              <a:gd name="T6" fmla="*/ 0 w 17"/>
              <a:gd name="T7" fmla="*/ 0 h 18"/>
              <a:gd name="T8" fmla="*/ 14287 w 17"/>
              <a:gd name="T9" fmla="*/ 1428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chemeClr val="bg1"/>
          </a:solidFill>
          <a:ln w="9525">
            <a:solidFill>
              <a:schemeClr val="bg2"/>
            </a:solidFill>
            <a:prstDash val="solid"/>
            <a:round/>
            <a:headEnd/>
            <a:tailEnd/>
          </a:ln>
        </p:spPr>
        <p:txBody>
          <a:bodyPr/>
          <a:lstStyle/>
          <a:p>
            <a:endParaRPr lang="en-US" dirty="0"/>
          </a:p>
        </p:txBody>
      </p:sp>
      <p:sp>
        <p:nvSpPr>
          <p:cNvPr id="19567" name="Freeform 110"/>
          <p:cNvSpPr>
            <a:spLocks noChangeAspect="1"/>
          </p:cNvSpPr>
          <p:nvPr>
            <p:custDataLst>
              <p:tags r:id="rId87"/>
            </p:custDataLst>
          </p:nvPr>
        </p:nvSpPr>
        <p:spPr bwMode="auto">
          <a:xfrm>
            <a:off x="7104063" y="3921125"/>
            <a:ext cx="214312" cy="198438"/>
          </a:xfrm>
          <a:custGeom>
            <a:avLst/>
            <a:gdLst>
              <a:gd name="T0" fmla="*/ 214312 w 275"/>
              <a:gd name="T1" fmla="*/ 57327 h 225"/>
              <a:gd name="T2" fmla="*/ 214312 w 275"/>
              <a:gd name="T3" fmla="*/ 57327 h 225"/>
              <a:gd name="T4" fmla="*/ 214312 w 275"/>
              <a:gd name="T5" fmla="*/ 113771 h 225"/>
              <a:gd name="T6" fmla="*/ 214312 w 275"/>
              <a:gd name="T7" fmla="*/ 198438 h 225"/>
              <a:gd name="T8" fmla="*/ 187036 w 275"/>
              <a:gd name="T9" fmla="*/ 169334 h 225"/>
              <a:gd name="T10" fmla="*/ 147291 w 275"/>
              <a:gd name="T11" fmla="*/ 184327 h 225"/>
              <a:gd name="T12" fmla="*/ 160539 w 275"/>
              <a:gd name="T13" fmla="*/ 156105 h 225"/>
              <a:gd name="T14" fmla="*/ 147291 w 275"/>
              <a:gd name="T15" fmla="*/ 127000 h 225"/>
              <a:gd name="T16" fmla="*/ 52994 w 275"/>
              <a:gd name="T17" fmla="*/ 71438 h 225"/>
              <a:gd name="T18" fmla="*/ 40524 w 275"/>
              <a:gd name="T19" fmla="*/ 84667 h 225"/>
              <a:gd name="T20" fmla="*/ 40524 w 275"/>
              <a:gd name="T21" fmla="*/ 71438 h 225"/>
              <a:gd name="T22" fmla="*/ 27276 w 275"/>
              <a:gd name="T23" fmla="*/ 57327 h 225"/>
              <a:gd name="T24" fmla="*/ 52994 w 275"/>
              <a:gd name="T25" fmla="*/ 57327 h 225"/>
              <a:gd name="T26" fmla="*/ 66242 w 275"/>
              <a:gd name="T27" fmla="*/ 42333 h 225"/>
              <a:gd name="T28" fmla="*/ 27276 w 275"/>
              <a:gd name="T29" fmla="*/ 42333 h 225"/>
              <a:gd name="T30" fmla="*/ 14028 w 275"/>
              <a:gd name="T31" fmla="*/ 29104 h 225"/>
              <a:gd name="T32" fmla="*/ 0 w 275"/>
              <a:gd name="T33" fmla="*/ 29104 h 225"/>
              <a:gd name="T34" fmla="*/ 27276 w 275"/>
              <a:gd name="T35" fmla="*/ 0 h 225"/>
              <a:gd name="T36" fmla="*/ 40524 w 275"/>
              <a:gd name="T37" fmla="*/ 0 h 225"/>
              <a:gd name="T38" fmla="*/ 66242 w 275"/>
              <a:gd name="T39" fmla="*/ 15875 h 225"/>
              <a:gd name="T40" fmla="*/ 66242 w 275"/>
              <a:gd name="T41" fmla="*/ 42333 h 225"/>
              <a:gd name="T42" fmla="*/ 92739 w 275"/>
              <a:gd name="T43" fmla="*/ 71438 h 225"/>
              <a:gd name="T44" fmla="*/ 120015 w 275"/>
              <a:gd name="T45" fmla="*/ 42333 h 225"/>
              <a:gd name="T46" fmla="*/ 147291 w 275"/>
              <a:gd name="T47" fmla="*/ 29104 h 225"/>
              <a:gd name="T48" fmla="*/ 214312 w 275"/>
              <a:gd name="T49" fmla="*/ 57327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chemeClr val="bg1"/>
          </a:solidFill>
          <a:ln w="9525">
            <a:solidFill>
              <a:schemeClr val="bg2"/>
            </a:solidFill>
            <a:round/>
            <a:headEnd/>
            <a:tailEnd/>
          </a:ln>
        </p:spPr>
        <p:txBody>
          <a:bodyPr/>
          <a:lstStyle/>
          <a:p>
            <a:endParaRPr lang="en-US" dirty="0"/>
          </a:p>
        </p:txBody>
      </p:sp>
      <p:sp>
        <p:nvSpPr>
          <p:cNvPr id="19568" name="Freeform 111"/>
          <p:cNvSpPr>
            <a:spLocks noChangeAspect="1"/>
          </p:cNvSpPr>
          <p:nvPr>
            <p:custDataLst>
              <p:tags r:id="rId88"/>
            </p:custDataLst>
          </p:nvPr>
        </p:nvSpPr>
        <p:spPr bwMode="auto">
          <a:xfrm>
            <a:off x="7318375" y="3978275"/>
            <a:ext cx="206375" cy="185738"/>
          </a:xfrm>
          <a:custGeom>
            <a:avLst/>
            <a:gdLst>
              <a:gd name="T0" fmla="*/ 0 w 261"/>
              <a:gd name="T1" fmla="*/ 142875 h 208"/>
              <a:gd name="T2" fmla="*/ 0 w 261"/>
              <a:gd name="T3" fmla="*/ 142875 h 208"/>
              <a:gd name="T4" fmla="*/ 0 w 261"/>
              <a:gd name="T5" fmla="*/ 57150 h 208"/>
              <a:gd name="T6" fmla="*/ 0 w 261"/>
              <a:gd name="T7" fmla="*/ 0 h 208"/>
              <a:gd name="T8" fmla="*/ 54559 w 261"/>
              <a:gd name="T9" fmla="*/ 14288 h 208"/>
              <a:gd name="T10" fmla="*/ 95676 w 261"/>
              <a:gd name="T11" fmla="*/ 42863 h 208"/>
              <a:gd name="T12" fmla="*/ 95676 w 261"/>
              <a:gd name="T13" fmla="*/ 57150 h 208"/>
              <a:gd name="T14" fmla="*/ 151816 w 261"/>
              <a:gd name="T15" fmla="*/ 85725 h 208"/>
              <a:gd name="T16" fmla="*/ 124141 w 261"/>
              <a:gd name="T17" fmla="*/ 100013 h 208"/>
              <a:gd name="T18" fmla="*/ 138374 w 261"/>
              <a:gd name="T19" fmla="*/ 100013 h 208"/>
              <a:gd name="T20" fmla="*/ 151816 w 261"/>
              <a:gd name="T21" fmla="*/ 113407 h 208"/>
              <a:gd name="T22" fmla="*/ 165258 w 261"/>
              <a:gd name="T23" fmla="*/ 142875 h 208"/>
              <a:gd name="T24" fmla="*/ 178700 w 261"/>
              <a:gd name="T25" fmla="*/ 142875 h 208"/>
              <a:gd name="T26" fmla="*/ 178700 w 261"/>
              <a:gd name="T27" fmla="*/ 156270 h 208"/>
              <a:gd name="T28" fmla="*/ 206375 w 261"/>
              <a:gd name="T29" fmla="*/ 171450 h 208"/>
              <a:gd name="T30" fmla="*/ 206375 w 261"/>
              <a:gd name="T31" fmla="*/ 185738 h 208"/>
              <a:gd name="T32" fmla="*/ 138374 w 261"/>
              <a:gd name="T33" fmla="*/ 171450 h 208"/>
              <a:gd name="T34" fmla="*/ 110699 w 261"/>
              <a:gd name="T35" fmla="*/ 113407 h 208"/>
              <a:gd name="T36" fmla="*/ 82234 w 261"/>
              <a:gd name="T37" fmla="*/ 113407 h 208"/>
              <a:gd name="T38" fmla="*/ 68001 w 261"/>
              <a:gd name="T39" fmla="*/ 113407 h 208"/>
              <a:gd name="T40" fmla="*/ 41117 w 261"/>
              <a:gd name="T41" fmla="*/ 128588 h 208"/>
              <a:gd name="T42" fmla="*/ 54559 w 261"/>
              <a:gd name="T43" fmla="*/ 142875 h 208"/>
              <a:gd name="T44" fmla="*/ 26884 w 261"/>
              <a:gd name="T45" fmla="*/ 142875 h 208"/>
              <a:gd name="T46" fmla="*/ 0 w 261"/>
              <a:gd name="T47" fmla="*/ 142875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chemeClr val="bg1"/>
          </a:solidFill>
          <a:ln w="9525">
            <a:solidFill>
              <a:schemeClr val="bg2"/>
            </a:solidFill>
            <a:round/>
            <a:headEnd/>
            <a:tailEnd/>
          </a:ln>
        </p:spPr>
        <p:txBody>
          <a:bodyPr/>
          <a:lstStyle/>
          <a:p>
            <a:endParaRPr lang="en-US" dirty="0"/>
          </a:p>
        </p:txBody>
      </p:sp>
      <p:sp>
        <p:nvSpPr>
          <p:cNvPr id="19569" name="Freeform 112"/>
          <p:cNvSpPr>
            <a:spLocks noChangeAspect="1"/>
          </p:cNvSpPr>
          <p:nvPr>
            <p:custDataLst>
              <p:tags r:id="rId89"/>
            </p:custDataLst>
          </p:nvPr>
        </p:nvSpPr>
        <p:spPr bwMode="auto">
          <a:xfrm>
            <a:off x="6716713" y="4164013"/>
            <a:ext cx="876300" cy="704850"/>
          </a:xfrm>
          <a:custGeom>
            <a:avLst/>
            <a:gdLst>
              <a:gd name="T0" fmla="*/ 42669 w 1109"/>
              <a:gd name="T1" fmla="*/ 562999 h 800"/>
              <a:gd name="T2" fmla="*/ 110624 w 1109"/>
              <a:gd name="T3" fmla="*/ 591193 h 800"/>
              <a:gd name="T4" fmla="*/ 219668 w 1109"/>
              <a:gd name="T5" fmla="*/ 548902 h 800"/>
              <a:gd name="T6" fmla="*/ 288413 w 1109"/>
              <a:gd name="T7" fmla="*/ 506611 h 800"/>
              <a:gd name="T8" fmla="*/ 453558 w 1109"/>
              <a:gd name="T9" fmla="*/ 520708 h 800"/>
              <a:gd name="T10" fmla="*/ 466991 w 1109"/>
              <a:gd name="T11" fmla="*/ 535686 h 800"/>
              <a:gd name="T12" fmla="*/ 534946 w 1109"/>
              <a:gd name="T13" fmla="*/ 520708 h 800"/>
              <a:gd name="T14" fmla="*/ 521513 w 1109"/>
              <a:gd name="T15" fmla="*/ 591193 h 800"/>
              <a:gd name="T16" fmla="*/ 534946 w 1109"/>
              <a:gd name="T17" fmla="*/ 562999 h 800"/>
              <a:gd name="T18" fmla="*/ 534946 w 1109"/>
              <a:gd name="T19" fmla="*/ 605290 h 800"/>
              <a:gd name="T20" fmla="*/ 576035 w 1109"/>
              <a:gd name="T21" fmla="*/ 633484 h 800"/>
              <a:gd name="T22" fmla="*/ 590258 w 1109"/>
              <a:gd name="T23" fmla="*/ 662559 h 800"/>
              <a:gd name="T24" fmla="*/ 644780 w 1109"/>
              <a:gd name="T25" fmla="*/ 675775 h 800"/>
              <a:gd name="T26" fmla="*/ 685869 w 1109"/>
              <a:gd name="T27" fmla="*/ 662559 h 800"/>
              <a:gd name="T28" fmla="*/ 699302 w 1109"/>
              <a:gd name="T29" fmla="*/ 675775 h 800"/>
              <a:gd name="T30" fmla="*/ 726167 w 1109"/>
              <a:gd name="T31" fmla="*/ 704850 h 800"/>
              <a:gd name="T32" fmla="*/ 794912 w 1109"/>
              <a:gd name="T33" fmla="*/ 662559 h 800"/>
              <a:gd name="T34" fmla="*/ 862867 w 1109"/>
              <a:gd name="T35" fmla="*/ 478417 h 800"/>
              <a:gd name="T36" fmla="*/ 862867 w 1109"/>
              <a:gd name="T37" fmla="*/ 351544 h 800"/>
              <a:gd name="T38" fmla="*/ 821778 w 1109"/>
              <a:gd name="T39" fmla="*/ 296037 h 800"/>
              <a:gd name="T40" fmla="*/ 794912 w 1109"/>
              <a:gd name="T41" fmla="*/ 253746 h 800"/>
              <a:gd name="T42" fmla="*/ 767256 w 1109"/>
              <a:gd name="T43" fmla="*/ 224671 h 800"/>
              <a:gd name="T44" fmla="*/ 712734 w 1109"/>
              <a:gd name="T45" fmla="*/ 140089 h 800"/>
              <a:gd name="T46" fmla="*/ 699302 w 1109"/>
              <a:gd name="T47" fmla="*/ 97798 h 800"/>
              <a:gd name="T48" fmla="*/ 658213 w 1109"/>
              <a:gd name="T49" fmla="*/ 84582 h 800"/>
              <a:gd name="T50" fmla="*/ 630557 w 1109"/>
              <a:gd name="T51" fmla="*/ 0 h 800"/>
              <a:gd name="T52" fmla="*/ 617124 w 1109"/>
              <a:gd name="T53" fmla="*/ 97798 h 800"/>
              <a:gd name="T54" fmla="*/ 576035 w 1109"/>
              <a:gd name="T55" fmla="*/ 155067 h 800"/>
              <a:gd name="T56" fmla="*/ 508080 w 1109"/>
              <a:gd name="T57" fmla="*/ 112776 h 800"/>
              <a:gd name="T58" fmla="*/ 480424 w 1109"/>
              <a:gd name="T59" fmla="*/ 97798 h 800"/>
              <a:gd name="T60" fmla="*/ 508080 w 1109"/>
              <a:gd name="T61" fmla="*/ 55507 h 800"/>
              <a:gd name="T62" fmla="*/ 508080 w 1109"/>
              <a:gd name="T63" fmla="*/ 28194 h 800"/>
              <a:gd name="T64" fmla="*/ 494647 w 1109"/>
              <a:gd name="T65" fmla="*/ 28194 h 800"/>
              <a:gd name="T66" fmla="*/ 410889 w 1109"/>
              <a:gd name="T67" fmla="*/ 13216 h 800"/>
              <a:gd name="T68" fmla="*/ 410889 w 1109"/>
              <a:gd name="T69" fmla="*/ 28194 h 800"/>
              <a:gd name="T70" fmla="*/ 369800 w 1109"/>
              <a:gd name="T71" fmla="*/ 42291 h 800"/>
              <a:gd name="T72" fmla="*/ 356367 w 1109"/>
              <a:gd name="T73" fmla="*/ 55507 h 800"/>
              <a:gd name="T74" fmla="*/ 356367 w 1109"/>
              <a:gd name="T75" fmla="*/ 97798 h 800"/>
              <a:gd name="T76" fmla="*/ 328711 w 1109"/>
              <a:gd name="T77" fmla="*/ 97798 h 800"/>
              <a:gd name="T78" fmla="*/ 315278 w 1109"/>
              <a:gd name="T79" fmla="*/ 70485 h 800"/>
              <a:gd name="T80" fmla="*/ 274189 w 1109"/>
              <a:gd name="T81" fmla="*/ 84582 h 800"/>
              <a:gd name="T82" fmla="*/ 247324 w 1109"/>
              <a:gd name="T83" fmla="*/ 126873 h 800"/>
              <a:gd name="T84" fmla="*/ 219668 w 1109"/>
              <a:gd name="T85" fmla="*/ 126873 h 800"/>
              <a:gd name="T86" fmla="*/ 219668 w 1109"/>
              <a:gd name="T87" fmla="*/ 155067 h 800"/>
              <a:gd name="T88" fmla="*/ 192802 w 1109"/>
              <a:gd name="T89" fmla="*/ 155067 h 800"/>
              <a:gd name="T90" fmla="*/ 165146 w 1109"/>
              <a:gd name="T91" fmla="*/ 197358 h 800"/>
              <a:gd name="T92" fmla="*/ 28446 w 1109"/>
              <a:gd name="T93" fmla="*/ 266962 h 800"/>
              <a:gd name="T94" fmla="*/ 13433 w 1109"/>
              <a:gd name="T95" fmla="*/ 266962 h 800"/>
              <a:gd name="T96" fmla="*/ 0 w 1109"/>
              <a:gd name="T97" fmla="*/ 296037 h 800"/>
              <a:gd name="T98" fmla="*/ 13433 w 1109"/>
              <a:gd name="T99" fmla="*/ 338328 h 800"/>
              <a:gd name="T100" fmla="*/ 0 w 1109"/>
              <a:gd name="T101" fmla="*/ 351544 h 800"/>
              <a:gd name="T102" fmla="*/ 56102 w 1109"/>
              <a:gd name="T103" fmla="*/ 493395 h 800"/>
              <a:gd name="T104" fmla="*/ 42669 w 1109"/>
              <a:gd name="T105" fmla="*/ 548902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chemeClr val="bg1"/>
          </a:solidFill>
          <a:ln w="9525">
            <a:solidFill>
              <a:schemeClr val="bg2"/>
            </a:solidFill>
            <a:prstDash val="solid"/>
            <a:round/>
            <a:headEnd/>
            <a:tailEnd/>
          </a:ln>
        </p:spPr>
        <p:txBody>
          <a:bodyPr/>
          <a:lstStyle/>
          <a:p>
            <a:endParaRPr lang="en-US" dirty="0"/>
          </a:p>
        </p:txBody>
      </p:sp>
      <p:sp>
        <p:nvSpPr>
          <p:cNvPr id="19570" name="Freeform 113"/>
          <p:cNvSpPr>
            <a:spLocks noChangeAspect="1"/>
          </p:cNvSpPr>
          <p:nvPr>
            <p:custDataLst>
              <p:tags r:id="rId90"/>
            </p:custDataLst>
          </p:nvPr>
        </p:nvSpPr>
        <p:spPr bwMode="auto">
          <a:xfrm>
            <a:off x="7086600" y="4176713"/>
            <a:ext cx="28575" cy="14287"/>
          </a:xfrm>
          <a:custGeom>
            <a:avLst/>
            <a:gdLst>
              <a:gd name="T0" fmla="*/ 0 w 35"/>
              <a:gd name="T1" fmla="*/ 14287 h 17"/>
              <a:gd name="T2" fmla="*/ 0 w 35"/>
              <a:gd name="T3" fmla="*/ 14287 h 17"/>
              <a:gd name="T4" fmla="*/ 13879 w 35"/>
              <a:gd name="T5" fmla="*/ 14287 h 17"/>
              <a:gd name="T6" fmla="*/ 28575 w 35"/>
              <a:gd name="T7" fmla="*/ 0 h 17"/>
              <a:gd name="T8" fmla="*/ 0 w 35"/>
              <a:gd name="T9" fmla="*/ 0 h 17"/>
              <a:gd name="T10" fmla="*/ 0 w 35"/>
              <a:gd name="T11" fmla="*/ 1428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571" name="Freeform 114"/>
          <p:cNvSpPr>
            <a:spLocks noChangeAspect="1"/>
          </p:cNvSpPr>
          <p:nvPr>
            <p:custDataLst>
              <p:tags r:id="rId91"/>
            </p:custDataLst>
          </p:nvPr>
        </p:nvSpPr>
        <p:spPr bwMode="auto">
          <a:xfrm>
            <a:off x="7224713" y="4768850"/>
            <a:ext cx="25400" cy="15875"/>
          </a:xfrm>
          <a:custGeom>
            <a:avLst/>
            <a:gdLst>
              <a:gd name="T0" fmla="*/ 0 w 33"/>
              <a:gd name="T1" fmla="*/ 0 h 17"/>
              <a:gd name="T2" fmla="*/ 0 w 33"/>
              <a:gd name="T3" fmla="*/ 0 h 17"/>
              <a:gd name="T4" fmla="*/ 25400 w 33"/>
              <a:gd name="T5" fmla="*/ 15875 h 17"/>
              <a:gd name="T6" fmla="*/ 25400 w 33"/>
              <a:gd name="T7" fmla="*/ 0 h 17"/>
              <a:gd name="T8" fmla="*/ 13085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72" name="Freeform 115"/>
          <p:cNvSpPr>
            <a:spLocks noChangeAspect="1"/>
          </p:cNvSpPr>
          <p:nvPr>
            <p:custDataLst>
              <p:tags r:id="rId92"/>
            </p:custDataLst>
          </p:nvPr>
        </p:nvSpPr>
        <p:spPr bwMode="auto">
          <a:xfrm>
            <a:off x="7399338" y="4911725"/>
            <a:ext cx="84137" cy="84138"/>
          </a:xfrm>
          <a:custGeom>
            <a:avLst/>
            <a:gdLst>
              <a:gd name="T0" fmla="*/ 0 w 105"/>
              <a:gd name="T1" fmla="*/ 0 h 96"/>
              <a:gd name="T2" fmla="*/ 0 w 105"/>
              <a:gd name="T3" fmla="*/ 0 h 96"/>
              <a:gd name="T4" fmla="*/ 15225 w 105"/>
              <a:gd name="T5" fmla="*/ 69239 h 96"/>
              <a:gd name="T6" fmla="*/ 42469 w 105"/>
              <a:gd name="T7" fmla="*/ 84138 h 96"/>
              <a:gd name="T8" fmla="*/ 56893 w 105"/>
              <a:gd name="T9" fmla="*/ 55216 h 96"/>
              <a:gd name="T10" fmla="*/ 70515 w 105"/>
              <a:gd name="T11" fmla="*/ 69239 h 96"/>
              <a:gd name="T12" fmla="*/ 84137 w 105"/>
              <a:gd name="T13" fmla="*/ 0 h 96"/>
              <a:gd name="T14" fmla="*/ 70515 w 105"/>
              <a:gd name="T15" fmla="*/ 0 h 96"/>
              <a:gd name="T16" fmla="*/ 28847 w 105"/>
              <a:gd name="T17" fmla="*/ 13147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chemeClr val="bg1"/>
          </a:solidFill>
          <a:ln w="9525">
            <a:solidFill>
              <a:schemeClr val="bg2"/>
            </a:solidFill>
            <a:round/>
            <a:headEnd/>
            <a:tailEnd/>
          </a:ln>
        </p:spPr>
        <p:txBody>
          <a:bodyPr/>
          <a:lstStyle/>
          <a:p>
            <a:endParaRPr lang="en-US" dirty="0"/>
          </a:p>
        </p:txBody>
      </p:sp>
      <p:sp>
        <p:nvSpPr>
          <p:cNvPr id="19573" name="Freeform 116"/>
          <p:cNvSpPr>
            <a:spLocks noChangeAspect="1"/>
          </p:cNvSpPr>
          <p:nvPr>
            <p:custDataLst>
              <p:tags r:id="rId93"/>
            </p:custDataLst>
          </p:nvPr>
        </p:nvSpPr>
        <p:spPr bwMode="auto">
          <a:xfrm>
            <a:off x="7999413" y="4743450"/>
            <a:ext cx="125412" cy="195263"/>
          </a:xfrm>
          <a:custGeom>
            <a:avLst/>
            <a:gdLst>
              <a:gd name="T0" fmla="*/ 27159 w 157"/>
              <a:gd name="T1" fmla="*/ 126089 h 223"/>
              <a:gd name="T2" fmla="*/ 27159 w 157"/>
              <a:gd name="T3" fmla="*/ 126089 h 223"/>
              <a:gd name="T4" fmla="*/ 55117 w 157"/>
              <a:gd name="T5" fmla="*/ 139223 h 223"/>
              <a:gd name="T6" fmla="*/ 41538 w 157"/>
              <a:gd name="T7" fmla="*/ 181253 h 223"/>
              <a:gd name="T8" fmla="*/ 55117 w 157"/>
              <a:gd name="T9" fmla="*/ 195263 h 223"/>
              <a:gd name="T10" fmla="*/ 68697 w 157"/>
              <a:gd name="T11" fmla="*/ 181253 h 223"/>
              <a:gd name="T12" fmla="*/ 96655 w 157"/>
              <a:gd name="T13" fmla="*/ 126089 h 223"/>
              <a:gd name="T14" fmla="*/ 111832 w 157"/>
              <a:gd name="T15" fmla="*/ 126089 h 223"/>
              <a:gd name="T16" fmla="*/ 125412 w 157"/>
              <a:gd name="T17" fmla="*/ 111204 h 223"/>
              <a:gd name="T18" fmla="*/ 125412 w 157"/>
              <a:gd name="T19" fmla="*/ 84059 h 223"/>
              <a:gd name="T20" fmla="*/ 111832 w 157"/>
              <a:gd name="T21" fmla="*/ 69174 h 223"/>
              <a:gd name="T22" fmla="*/ 96655 w 157"/>
              <a:gd name="T23" fmla="*/ 84059 h 223"/>
              <a:gd name="T24" fmla="*/ 68697 w 157"/>
              <a:gd name="T25" fmla="*/ 84059 h 223"/>
              <a:gd name="T26" fmla="*/ 68697 w 157"/>
              <a:gd name="T27" fmla="*/ 55164 h 223"/>
              <a:gd name="T28" fmla="*/ 55117 w 157"/>
              <a:gd name="T29" fmla="*/ 55164 h 223"/>
              <a:gd name="T30" fmla="*/ 55117 w 157"/>
              <a:gd name="T31" fmla="*/ 69174 h 223"/>
              <a:gd name="T32" fmla="*/ 41538 w 157"/>
              <a:gd name="T33" fmla="*/ 55164 h 223"/>
              <a:gd name="T34" fmla="*/ 41538 w 157"/>
              <a:gd name="T35" fmla="*/ 13134 h 223"/>
              <a:gd name="T36" fmla="*/ 0 w 157"/>
              <a:gd name="T37" fmla="*/ 0 h 223"/>
              <a:gd name="T38" fmla="*/ 41538 w 157"/>
              <a:gd name="T39" fmla="*/ 55164 h 223"/>
              <a:gd name="T40" fmla="*/ 41538 w 157"/>
              <a:gd name="T41" fmla="*/ 111204 h 223"/>
              <a:gd name="T42" fmla="*/ 27159 w 157"/>
              <a:gd name="T43" fmla="*/ 126089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chemeClr val="bg1"/>
          </a:solidFill>
          <a:ln w="9525">
            <a:solidFill>
              <a:schemeClr val="bg2"/>
            </a:solidFill>
            <a:round/>
            <a:headEnd/>
            <a:tailEnd/>
          </a:ln>
        </p:spPr>
        <p:txBody>
          <a:bodyPr/>
          <a:lstStyle/>
          <a:p>
            <a:endParaRPr lang="en-US" dirty="0"/>
          </a:p>
        </p:txBody>
      </p:sp>
      <p:sp>
        <p:nvSpPr>
          <p:cNvPr id="19574" name="Freeform 117"/>
          <p:cNvSpPr>
            <a:spLocks noChangeAspect="1"/>
          </p:cNvSpPr>
          <p:nvPr>
            <p:custDataLst>
              <p:tags r:id="rId94"/>
            </p:custDataLst>
          </p:nvPr>
        </p:nvSpPr>
        <p:spPr bwMode="auto">
          <a:xfrm>
            <a:off x="7866063" y="4911725"/>
            <a:ext cx="176212" cy="184150"/>
          </a:xfrm>
          <a:custGeom>
            <a:avLst/>
            <a:gdLst>
              <a:gd name="T0" fmla="*/ 0 w 223"/>
              <a:gd name="T1" fmla="*/ 154793 h 207"/>
              <a:gd name="T2" fmla="*/ 0 w 223"/>
              <a:gd name="T3" fmla="*/ 154793 h 207"/>
              <a:gd name="T4" fmla="*/ 13433 w 223"/>
              <a:gd name="T5" fmla="*/ 170806 h 207"/>
              <a:gd name="T6" fmla="*/ 26866 w 223"/>
              <a:gd name="T7" fmla="*/ 170806 h 207"/>
              <a:gd name="T8" fmla="*/ 54523 w 223"/>
              <a:gd name="T9" fmla="*/ 184150 h 207"/>
              <a:gd name="T10" fmla="*/ 82180 w 223"/>
              <a:gd name="T11" fmla="*/ 170806 h 207"/>
              <a:gd name="T12" fmla="*/ 95613 w 223"/>
              <a:gd name="T13" fmla="*/ 141449 h 207"/>
              <a:gd name="T14" fmla="*/ 109046 w 223"/>
              <a:gd name="T15" fmla="*/ 112981 h 207"/>
              <a:gd name="T16" fmla="*/ 135122 w 223"/>
              <a:gd name="T17" fmla="*/ 85403 h 207"/>
              <a:gd name="T18" fmla="*/ 148555 w 223"/>
              <a:gd name="T19" fmla="*/ 85403 h 207"/>
              <a:gd name="T20" fmla="*/ 135122 w 223"/>
              <a:gd name="T21" fmla="*/ 70279 h 207"/>
              <a:gd name="T22" fmla="*/ 176212 w 223"/>
              <a:gd name="T23" fmla="*/ 27578 h 207"/>
              <a:gd name="T24" fmla="*/ 176212 w 223"/>
              <a:gd name="T25" fmla="*/ 13344 h 207"/>
              <a:gd name="T26" fmla="*/ 161989 w 223"/>
              <a:gd name="T27" fmla="*/ 13344 h 207"/>
              <a:gd name="T28" fmla="*/ 161989 w 223"/>
              <a:gd name="T29" fmla="*/ 0 h 207"/>
              <a:gd name="T30" fmla="*/ 148555 w 223"/>
              <a:gd name="T31" fmla="*/ 13344 h 207"/>
              <a:gd name="T32" fmla="*/ 148555 w 223"/>
              <a:gd name="T33" fmla="*/ 0 h 207"/>
              <a:gd name="T34" fmla="*/ 135122 w 223"/>
              <a:gd name="T35" fmla="*/ 0 h 207"/>
              <a:gd name="T36" fmla="*/ 120899 w 223"/>
              <a:gd name="T37" fmla="*/ 0 h 207"/>
              <a:gd name="T38" fmla="*/ 120899 w 223"/>
              <a:gd name="T39" fmla="*/ 27578 h 207"/>
              <a:gd name="T40" fmla="*/ 109046 w 223"/>
              <a:gd name="T41" fmla="*/ 27578 h 207"/>
              <a:gd name="T42" fmla="*/ 95613 w 223"/>
              <a:gd name="T43" fmla="*/ 56046 h 207"/>
              <a:gd name="T44" fmla="*/ 41090 w 223"/>
              <a:gd name="T45" fmla="*/ 98747 h 207"/>
              <a:gd name="T46" fmla="*/ 0 w 223"/>
              <a:gd name="T47" fmla="*/ 154793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chemeClr val="bg1"/>
          </a:solidFill>
          <a:ln w="9525">
            <a:solidFill>
              <a:schemeClr val="bg2"/>
            </a:solidFill>
            <a:round/>
            <a:headEnd/>
            <a:tailEnd/>
          </a:ln>
        </p:spPr>
        <p:txBody>
          <a:bodyPr/>
          <a:lstStyle/>
          <a:p>
            <a:endParaRPr lang="en-US" dirty="0"/>
          </a:p>
        </p:txBody>
      </p:sp>
      <p:sp>
        <p:nvSpPr>
          <p:cNvPr id="19575" name="Freeform 118"/>
          <p:cNvSpPr>
            <a:spLocks noChangeAspect="1"/>
          </p:cNvSpPr>
          <p:nvPr>
            <p:custDataLst>
              <p:tags r:id="rId95"/>
            </p:custDataLst>
          </p:nvPr>
        </p:nvSpPr>
        <p:spPr bwMode="auto">
          <a:xfrm>
            <a:off x="7891463" y="5095875"/>
            <a:ext cx="14287" cy="12700"/>
          </a:xfrm>
          <a:custGeom>
            <a:avLst/>
            <a:gdLst>
              <a:gd name="T0" fmla="*/ 0 w 19"/>
              <a:gd name="T1" fmla="*/ 12700 h 15"/>
              <a:gd name="T2" fmla="*/ 0 w 19"/>
              <a:gd name="T3" fmla="*/ 12700 h 15"/>
              <a:gd name="T4" fmla="*/ 14287 w 19"/>
              <a:gd name="T5" fmla="*/ 12700 h 15"/>
              <a:gd name="T6" fmla="*/ 14287 w 19"/>
              <a:gd name="T7" fmla="*/ 0 h 15"/>
              <a:gd name="T8" fmla="*/ 0 w 19"/>
              <a:gd name="T9" fmla="*/ 12700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576" name="Freeform 119"/>
          <p:cNvSpPr>
            <a:spLocks noChangeAspect="1"/>
          </p:cNvSpPr>
          <p:nvPr>
            <p:custDataLst>
              <p:tags r:id="rId96"/>
            </p:custDataLst>
          </p:nvPr>
        </p:nvSpPr>
        <p:spPr bwMode="auto">
          <a:xfrm>
            <a:off x="6784975" y="4106863"/>
            <a:ext cx="163513" cy="12700"/>
          </a:xfrm>
          <a:custGeom>
            <a:avLst/>
            <a:gdLst>
              <a:gd name="T0" fmla="*/ 0 w 208"/>
              <a:gd name="T1" fmla="*/ 12700 h 16"/>
              <a:gd name="T2" fmla="*/ 0 w 208"/>
              <a:gd name="T3" fmla="*/ 12700 h 16"/>
              <a:gd name="T4" fmla="*/ 13364 w 208"/>
              <a:gd name="T5" fmla="*/ 12700 h 16"/>
              <a:gd name="T6" fmla="*/ 68392 w 208"/>
              <a:gd name="T7" fmla="*/ 0 h 16"/>
              <a:gd name="T8" fmla="*/ 122635 w 208"/>
              <a:gd name="T9" fmla="*/ 12700 h 16"/>
              <a:gd name="T10" fmla="*/ 163513 w 208"/>
              <a:gd name="T11" fmla="*/ 0 h 16"/>
              <a:gd name="T12" fmla="*/ 135999 w 208"/>
              <a:gd name="T13" fmla="*/ 0 h 16"/>
              <a:gd name="T14" fmla="*/ 95121 w 208"/>
              <a:gd name="T15" fmla="*/ 0 h 16"/>
              <a:gd name="T16" fmla="*/ 68392 w 208"/>
              <a:gd name="T17" fmla="*/ 0 h 16"/>
              <a:gd name="T18" fmla="*/ 27514 w 208"/>
              <a:gd name="T19" fmla="*/ 0 h 16"/>
              <a:gd name="T20" fmla="*/ 40878 w 208"/>
              <a:gd name="T21" fmla="*/ 0 h 16"/>
              <a:gd name="T22" fmla="*/ 0 w 208"/>
              <a:gd name="T23" fmla="*/ 0 h 16"/>
              <a:gd name="T24" fmla="*/ 0 w 208"/>
              <a:gd name="T25" fmla="*/ 1270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9577" name="Freeform 120"/>
          <p:cNvSpPr>
            <a:spLocks noChangeAspect="1"/>
          </p:cNvSpPr>
          <p:nvPr>
            <p:custDataLst>
              <p:tags r:id="rId97"/>
            </p:custDataLst>
          </p:nvPr>
        </p:nvSpPr>
        <p:spPr bwMode="auto">
          <a:xfrm>
            <a:off x="6843713" y="4133850"/>
            <a:ext cx="38100" cy="15875"/>
          </a:xfrm>
          <a:custGeom>
            <a:avLst/>
            <a:gdLst>
              <a:gd name="T0" fmla="*/ 0 w 52"/>
              <a:gd name="T1" fmla="*/ 0 h 17"/>
              <a:gd name="T2" fmla="*/ 0 w 52"/>
              <a:gd name="T3" fmla="*/ 0 h 17"/>
              <a:gd name="T4" fmla="*/ 25644 w 52"/>
              <a:gd name="T5" fmla="*/ 15875 h 17"/>
              <a:gd name="T6" fmla="*/ 38100 w 52"/>
              <a:gd name="T7" fmla="*/ 15875 h 17"/>
              <a:gd name="T8" fmla="*/ 256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78" name="Freeform 121"/>
          <p:cNvSpPr>
            <a:spLocks noChangeAspect="1"/>
          </p:cNvSpPr>
          <p:nvPr>
            <p:custDataLst>
              <p:tags r:id="rId98"/>
            </p:custDataLst>
          </p:nvPr>
        </p:nvSpPr>
        <p:spPr bwMode="auto">
          <a:xfrm>
            <a:off x="6937375" y="4106863"/>
            <a:ext cx="80963" cy="42862"/>
          </a:xfrm>
          <a:custGeom>
            <a:avLst/>
            <a:gdLst>
              <a:gd name="T0" fmla="*/ 0 w 104"/>
              <a:gd name="T1" fmla="*/ 42862 h 48"/>
              <a:gd name="T2" fmla="*/ 0 w 104"/>
              <a:gd name="T3" fmla="*/ 42862 h 48"/>
              <a:gd name="T4" fmla="*/ 27247 w 104"/>
              <a:gd name="T5" fmla="*/ 42862 h 48"/>
              <a:gd name="T6" fmla="*/ 80963 w 104"/>
              <a:gd name="T7" fmla="*/ 0 h 48"/>
              <a:gd name="T8" fmla="*/ 40482 w 104"/>
              <a:gd name="T9" fmla="*/ 0 h 48"/>
              <a:gd name="T10" fmla="*/ 13234 w 104"/>
              <a:gd name="T11" fmla="*/ 27682 h 48"/>
              <a:gd name="T12" fmla="*/ 0 w 104"/>
              <a:gd name="T13" fmla="*/ 42862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579" name="Freeform 122"/>
          <p:cNvSpPr>
            <a:spLocks noChangeAspect="1"/>
          </p:cNvSpPr>
          <p:nvPr>
            <p:custDataLst>
              <p:tags r:id="rId99"/>
            </p:custDataLst>
          </p:nvPr>
        </p:nvSpPr>
        <p:spPr bwMode="auto">
          <a:xfrm>
            <a:off x="7169150" y="4035425"/>
            <a:ext cx="15875" cy="42863"/>
          </a:xfrm>
          <a:custGeom>
            <a:avLst/>
            <a:gdLst>
              <a:gd name="T0" fmla="*/ 0 w 19"/>
              <a:gd name="T1" fmla="*/ 42863 h 48"/>
              <a:gd name="T2" fmla="*/ 0 w 19"/>
              <a:gd name="T3" fmla="*/ 42863 h 48"/>
              <a:gd name="T4" fmla="*/ 15875 w 19"/>
              <a:gd name="T5" fmla="*/ 13395 h 48"/>
              <a:gd name="T6" fmla="*/ 15875 w 19"/>
              <a:gd name="T7" fmla="*/ 0 h 48"/>
              <a:gd name="T8" fmla="*/ 0 w 19"/>
              <a:gd name="T9" fmla="*/ 42863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580" name="Freeform 123"/>
          <p:cNvSpPr>
            <a:spLocks noChangeAspect="1"/>
          </p:cNvSpPr>
          <p:nvPr>
            <p:custDataLst>
              <p:tags r:id="rId100"/>
            </p:custDataLst>
          </p:nvPr>
        </p:nvSpPr>
        <p:spPr bwMode="auto">
          <a:xfrm>
            <a:off x="6843713" y="3879850"/>
            <a:ext cx="136525" cy="169863"/>
          </a:xfrm>
          <a:custGeom>
            <a:avLst/>
            <a:gdLst>
              <a:gd name="T0" fmla="*/ 0 w 173"/>
              <a:gd name="T1" fmla="*/ 99971 h 192"/>
              <a:gd name="T2" fmla="*/ 0 w 173"/>
              <a:gd name="T3" fmla="*/ 99971 h 192"/>
              <a:gd name="T4" fmla="*/ 0 w 173"/>
              <a:gd name="T5" fmla="*/ 114127 h 192"/>
              <a:gd name="T6" fmla="*/ 13416 w 173"/>
              <a:gd name="T7" fmla="*/ 114127 h 192"/>
              <a:gd name="T8" fmla="*/ 13416 w 173"/>
              <a:gd name="T9" fmla="*/ 127397 h 192"/>
              <a:gd name="T10" fmla="*/ 13416 w 173"/>
              <a:gd name="T11" fmla="*/ 169863 h 192"/>
              <a:gd name="T12" fmla="*/ 27621 w 173"/>
              <a:gd name="T13" fmla="*/ 156592 h 192"/>
              <a:gd name="T14" fmla="*/ 27621 w 173"/>
              <a:gd name="T15" fmla="*/ 114127 h 192"/>
              <a:gd name="T16" fmla="*/ 41036 w 173"/>
              <a:gd name="T17" fmla="*/ 99971 h 192"/>
              <a:gd name="T18" fmla="*/ 54452 w 173"/>
              <a:gd name="T19" fmla="*/ 99971 h 192"/>
              <a:gd name="T20" fmla="*/ 41036 w 173"/>
              <a:gd name="T21" fmla="*/ 114127 h 192"/>
              <a:gd name="T22" fmla="*/ 54452 w 173"/>
              <a:gd name="T23" fmla="*/ 127397 h 192"/>
              <a:gd name="T24" fmla="*/ 54452 w 173"/>
              <a:gd name="T25" fmla="*/ 142437 h 192"/>
              <a:gd name="T26" fmla="*/ 82073 w 173"/>
              <a:gd name="T27" fmla="*/ 142437 h 192"/>
              <a:gd name="T28" fmla="*/ 82073 w 173"/>
              <a:gd name="T29" fmla="*/ 169863 h 192"/>
              <a:gd name="T30" fmla="*/ 95489 w 173"/>
              <a:gd name="T31" fmla="*/ 156592 h 192"/>
              <a:gd name="T32" fmla="*/ 95489 w 173"/>
              <a:gd name="T33" fmla="*/ 142437 h 192"/>
              <a:gd name="T34" fmla="*/ 68657 w 173"/>
              <a:gd name="T35" fmla="*/ 114127 h 192"/>
              <a:gd name="T36" fmla="*/ 82073 w 173"/>
              <a:gd name="T37" fmla="*/ 114127 h 192"/>
              <a:gd name="T38" fmla="*/ 54452 w 173"/>
              <a:gd name="T39" fmla="*/ 84932 h 192"/>
              <a:gd name="T40" fmla="*/ 82073 w 173"/>
              <a:gd name="T41" fmla="*/ 58390 h 192"/>
              <a:gd name="T42" fmla="*/ 95489 w 173"/>
              <a:gd name="T43" fmla="*/ 58390 h 192"/>
              <a:gd name="T44" fmla="*/ 41036 w 173"/>
              <a:gd name="T45" fmla="*/ 71661 h 192"/>
              <a:gd name="T46" fmla="*/ 27621 w 173"/>
              <a:gd name="T47" fmla="*/ 58390 h 192"/>
              <a:gd name="T48" fmla="*/ 27621 w 173"/>
              <a:gd name="T49" fmla="*/ 42466 h 192"/>
              <a:gd name="T50" fmla="*/ 41036 w 173"/>
              <a:gd name="T51" fmla="*/ 29195 h 192"/>
              <a:gd name="T52" fmla="*/ 123109 w 173"/>
              <a:gd name="T53" fmla="*/ 29195 h 192"/>
              <a:gd name="T54" fmla="*/ 136525 w 173"/>
              <a:gd name="T55" fmla="*/ 0 h 192"/>
              <a:gd name="T56" fmla="*/ 108904 w 173"/>
              <a:gd name="T57" fmla="*/ 15925 h 192"/>
              <a:gd name="T58" fmla="*/ 82073 w 173"/>
              <a:gd name="T59" fmla="*/ 29195 h 192"/>
              <a:gd name="T60" fmla="*/ 41036 w 173"/>
              <a:gd name="T61" fmla="*/ 15925 h 192"/>
              <a:gd name="T62" fmla="*/ 41036 w 173"/>
              <a:gd name="T63" fmla="*/ 29195 h 192"/>
              <a:gd name="T64" fmla="*/ 27621 w 173"/>
              <a:gd name="T65" fmla="*/ 29195 h 192"/>
              <a:gd name="T66" fmla="*/ 27621 w 173"/>
              <a:gd name="T67" fmla="*/ 58390 h 192"/>
              <a:gd name="T68" fmla="*/ 0 w 173"/>
              <a:gd name="T69" fmla="*/ 99971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chemeClr val="bg1"/>
          </a:solidFill>
          <a:ln w="9525">
            <a:solidFill>
              <a:schemeClr val="bg2"/>
            </a:solidFill>
            <a:prstDash val="solid"/>
            <a:round/>
            <a:headEnd/>
            <a:tailEnd/>
          </a:ln>
        </p:spPr>
        <p:txBody>
          <a:bodyPr/>
          <a:lstStyle/>
          <a:p>
            <a:endParaRPr lang="en-US" dirty="0"/>
          </a:p>
        </p:txBody>
      </p:sp>
      <p:sp>
        <p:nvSpPr>
          <p:cNvPr id="19581" name="Freeform 124"/>
          <p:cNvSpPr>
            <a:spLocks noChangeAspect="1"/>
          </p:cNvSpPr>
          <p:nvPr>
            <p:custDataLst>
              <p:tags r:id="rId101"/>
            </p:custDataLst>
          </p:nvPr>
        </p:nvSpPr>
        <p:spPr bwMode="auto">
          <a:xfrm>
            <a:off x="7018338" y="3867150"/>
            <a:ext cx="28575" cy="69850"/>
          </a:xfrm>
          <a:custGeom>
            <a:avLst/>
            <a:gdLst>
              <a:gd name="T0" fmla="*/ 0 w 34"/>
              <a:gd name="T1" fmla="*/ 28457 h 81"/>
              <a:gd name="T2" fmla="*/ 0 w 34"/>
              <a:gd name="T3" fmla="*/ 28457 h 81"/>
              <a:gd name="T4" fmla="*/ 14288 w 34"/>
              <a:gd name="T5" fmla="*/ 54328 h 81"/>
              <a:gd name="T6" fmla="*/ 28575 w 34"/>
              <a:gd name="T7" fmla="*/ 69850 h 81"/>
              <a:gd name="T8" fmla="*/ 14288 w 34"/>
              <a:gd name="T9" fmla="*/ 54328 h 81"/>
              <a:gd name="T10" fmla="*/ 14288 w 34"/>
              <a:gd name="T11" fmla="*/ 41393 h 81"/>
              <a:gd name="T12" fmla="*/ 28575 w 34"/>
              <a:gd name="T13" fmla="*/ 41393 h 81"/>
              <a:gd name="T14" fmla="*/ 28575 w 34"/>
              <a:gd name="T15" fmla="*/ 28457 h 81"/>
              <a:gd name="T16" fmla="*/ 28575 w 34"/>
              <a:gd name="T17" fmla="*/ 12935 h 81"/>
              <a:gd name="T18" fmla="*/ 28575 w 34"/>
              <a:gd name="T19" fmla="*/ 28457 h 81"/>
              <a:gd name="T20" fmla="*/ 14288 w 34"/>
              <a:gd name="T21" fmla="*/ 0 h 81"/>
              <a:gd name="T22" fmla="*/ 0 w 34"/>
              <a:gd name="T23" fmla="*/ 2845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9582" name="Freeform 125"/>
          <p:cNvSpPr>
            <a:spLocks noChangeAspect="1"/>
          </p:cNvSpPr>
          <p:nvPr>
            <p:custDataLst>
              <p:tags r:id="rId102"/>
            </p:custDataLst>
          </p:nvPr>
        </p:nvSpPr>
        <p:spPr bwMode="auto">
          <a:xfrm>
            <a:off x="6992938" y="3992563"/>
            <a:ext cx="25400" cy="15875"/>
          </a:xfrm>
          <a:custGeom>
            <a:avLst/>
            <a:gdLst>
              <a:gd name="T0" fmla="*/ 0 w 35"/>
              <a:gd name="T1" fmla="*/ 0 h 15"/>
              <a:gd name="T2" fmla="*/ 0 w 35"/>
              <a:gd name="T3" fmla="*/ 0 h 15"/>
              <a:gd name="T4" fmla="*/ 25400 w 35"/>
              <a:gd name="T5" fmla="*/ 15875 h 15"/>
              <a:gd name="T6" fmla="*/ 25400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83" name="Freeform 126"/>
          <p:cNvSpPr>
            <a:spLocks noChangeAspect="1"/>
          </p:cNvSpPr>
          <p:nvPr>
            <p:custDataLst>
              <p:tags r:id="rId103"/>
            </p:custDataLst>
          </p:nvPr>
        </p:nvSpPr>
        <p:spPr bwMode="auto">
          <a:xfrm>
            <a:off x="7032625" y="3978275"/>
            <a:ext cx="68263" cy="30163"/>
          </a:xfrm>
          <a:custGeom>
            <a:avLst/>
            <a:gdLst>
              <a:gd name="T0" fmla="*/ 0 w 86"/>
              <a:gd name="T1" fmla="*/ 15568 h 31"/>
              <a:gd name="T2" fmla="*/ 0 w 86"/>
              <a:gd name="T3" fmla="*/ 15568 h 31"/>
              <a:gd name="T4" fmla="*/ 68263 w 86"/>
              <a:gd name="T5" fmla="*/ 30163 h 31"/>
              <a:gd name="T6" fmla="*/ 54769 w 86"/>
              <a:gd name="T7" fmla="*/ 15568 h 31"/>
              <a:gd name="T8" fmla="*/ 41275 w 86"/>
              <a:gd name="T9" fmla="*/ 0 h 31"/>
              <a:gd name="T10" fmla="*/ 13494 w 86"/>
              <a:gd name="T11" fmla="*/ 0 h 31"/>
              <a:gd name="T12" fmla="*/ 0 w 86"/>
              <a:gd name="T13" fmla="*/ 15568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9584" name="Freeform 127"/>
          <p:cNvSpPr>
            <a:spLocks noChangeAspect="1"/>
          </p:cNvSpPr>
          <p:nvPr>
            <p:custDataLst>
              <p:tags r:id="rId104"/>
            </p:custDataLst>
          </p:nvPr>
        </p:nvSpPr>
        <p:spPr bwMode="auto">
          <a:xfrm>
            <a:off x="7018338" y="3951288"/>
            <a:ext cx="28575" cy="1587"/>
          </a:xfrm>
          <a:custGeom>
            <a:avLst/>
            <a:gdLst>
              <a:gd name="T0" fmla="*/ 0 w 34"/>
              <a:gd name="T1" fmla="*/ 0 h 1587"/>
              <a:gd name="T2" fmla="*/ 0 w 34"/>
              <a:gd name="T3" fmla="*/ 0 h 1587"/>
              <a:gd name="T4" fmla="*/ 28575 w 34"/>
              <a:gd name="T5" fmla="*/ 0 h 1587"/>
              <a:gd name="T6" fmla="*/ 14288 w 34"/>
              <a:gd name="T7" fmla="*/ 0 h 1587"/>
              <a:gd name="T8" fmla="*/ 0 w 34"/>
              <a:gd name="T9" fmla="*/ 0 h 1587"/>
              <a:gd name="T10" fmla="*/ 0 60000 65536"/>
              <a:gd name="T11" fmla="*/ 0 60000 65536"/>
              <a:gd name="T12" fmla="*/ 0 60000 65536"/>
              <a:gd name="T13" fmla="*/ 0 60000 65536"/>
              <a:gd name="T14" fmla="*/ 0 60000 65536"/>
              <a:gd name="T15" fmla="*/ 0 w 34"/>
              <a:gd name="T16" fmla="*/ 0 h 1587"/>
              <a:gd name="T17" fmla="*/ 34 w 34"/>
              <a:gd name="T18" fmla="*/ 1587 h 1587"/>
            </a:gdLst>
            <a:ahLst/>
            <a:cxnLst>
              <a:cxn ang="T10">
                <a:pos x="T0" y="T1"/>
              </a:cxn>
              <a:cxn ang="T11">
                <a:pos x="T2" y="T3"/>
              </a:cxn>
              <a:cxn ang="T12">
                <a:pos x="T4" y="T5"/>
              </a:cxn>
              <a:cxn ang="T13">
                <a:pos x="T6" y="T7"/>
              </a:cxn>
              <a:cxn ang="T14">
                <a:pos x="T8" y="T9"/>
              </a:cxn>
            </a:cxnLst>
            <a:rect l="T15" t="T16" r="T17" b="T18"/>
            <a:pathLst>
              <a:path w="34" h="1587">
                <a:moveTo>
                  <a:pt x="0" y="0"/>
                </a:moveTo>
                <a:lnTo>
                  <a:pt x="0" y="0"/>
                </a:lnTo>
                <a:lnTo>
                  <a:pt x="34"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85" name="Freeform 128"/>
          <p:cNvSpPr>
            <a:spLocks noChangeAspect="1"/>
          </p:cNvSpPr>
          <p:nvPr>
            <p:custDataLst>
              <p:tags r:id="rId105"/>
            </p:custDataLst>
          </p:nvPr>
        </p:nvSpPr>
        <p:spPr bwMode="auto">
          <a:xfrm>
            <a:off x="7196138" y="3937000"/>
            <a:ext cx="14287" cy="14288"/>
          </a:xfrm>
          <a:custGeom>
            <a:avLst/>
            <a:gdLst>
              <a:gd name="T0" fmla="*/ 0 w 18"/>
              <a:gd name="T1" fmla="*/ 0 h 15"/>
              <a:gd name="T2" fmla="*/ 0 w 18"/>
              <a:gd name="T3" fmla="*/ 0 h 15"/>
              <a:gd name="T4" fmla="*/ 14287 w 18"/>
              <a:gd name="T5" fmla="*/ 14288 h 15"/>
              <a:gd name="T6" fmla="*/ 14287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86" name="Freeform 129"/>
          <p:cNvSpPr>
            <a:spLocks noChangeAspect="1"/>
          </p:cNvSpPr>
          <p:nvPr>
            <p:custDataLst>
              <p:tags r:id="rId106"/>
            </p:custDataLst>
          </p:nvPr>
        </p:nvSpPr>
        <p:spPr bwMode="auto">
          <a:xfrm>
            <a:off x="7469188" y="4008438"/>
            <a:ext cx="96837" cy="53975"/>
          </a:xfrm>
          <a:custGeom>
            <a:avLst/>
            <a:gdLst>
              <a:gd name="T0" fmla="*/ 0 w 123"/>
              <a:gd name="T1" fmla="*/ 27403 h 65"/>
              <a:gd name="T2" fmla="*/ 0 w 123"/>
              <a:gd name="T3" fmla="*/ 27403 h 65"/>
              <a:gd name="T4" fmla="*/ 27555 w 123"/>
              <a:gd name="T5" fmla="*/ 53975 h 65"/>
              <a:gd name="T6" fmla="*/ 55898 w 123"/>
              <a:gd name="T7" fmla="*/ 53975 h 65"/>
              <a:gd name="T8" fmla="*/ 83453 w 123"/>
              <a:gd name="T9" fmla="*/ 39858 h 65"/>
              <a:gd name="T10" fmla="*/ 96837 w 123"/>
              <a:gd name="T11" fmla="*/ 14117 h 65"/>
              <a:gd name="T12" fmla="*/ 96837 w 123"/>
              <a:gd name="T13" fmla="*/ 0 h 65"/>
              <a:gd name="T14" fmla="*/ 83453 w 123"/>
              <a:gd name="T15" fmla="*/ 0 h 65"/>
              <a:gd name="T16" fmla="*/ 83453 w 123"/>
              <a:gd name="T17" fmla="*/ 27403 h 65"/>
              <a:gd name="T18" fmla="*/ 69282 w 123"/>
              <a:gd name="T19" fmla="*/ 27403 h 65"/>
              <a:gd name="T20" fmla="*/ 55898 w 123"/>
              <a:gd name="T21" fmla="*/ 27403 h 65"/>
              <a:gd name="T22" fmla="*/ 0 w 123"/>
              <a:gd name="T23" fmla="*/ 27403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9587" name="Freeform 130"/>
          <p:cNvSpPr>
            <a:spLocks noChangeAspect="1"/>
          </p:cNvSpPr>
          <p:nvPr>
            <p:custDataLst>
              <p:tags r:id="rId107"/>
            </p:custDataLst>
          </p:nvPr>
        </p:nvSpPr>
        <p:spPr bwMode="auto">
          <a:xfrm>
            <a:off x="7537450" y="3992563"/>
            <a:ext cx="41275" cy="28575"/>
          </a:xfrm>
          <a:custGeom>
            <a:avLst/>
            <a:gdLst>
              <a:gd name="T0" fmla="*/ 0 w 52"/>
              <a:gd name="T1" fmla="*/ 0 h 32"/>
              <a:gd name="T2" fmla="*/ 0 w 52"/>
              <a:gd name="T3" fmla="*/ 0 h 32"/>
              <a:gd name="T4" fmla="*/ 27781 w 52"/>
              <a:gd name="T5" fmla="*/ 13395 h 32"/>
              <a:gd name="T6" fmla="*/ 41275 w 52"/>
              <a:gd name="T7" fmla="*/ 28575 h 32"/>
              <a:gd name="T8" fmla="*/ 41275 w 52"/>
              <a:gd name="T9" fmla="*/ 13395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88" name="Freeform 131"/>
          <p:cNvSpPr>
            <a:spLocks noChangeAspect="1"/>
          </p:cNvSpPr>
          <p:nvPr>
            <p:custDataLst>
              <p:tags r:id="rId108"/>
            </p:custDataLst>
          </p:nvPr>
        </p:nvSpPr>
        <p:spPr bwMode="auto">
          <a:xfrm>
            <a:off x="7621588" y="4035425"/>
            <a:ext cx="25400" cy="42863"/>
          </a:xfrm>
          <a:custGeom>
            <a:avLst/>
            <a:gdLst>
              <a:gd name="T0" fmla="*/ 0 w 35"/>
              <a:gd name="T1" fmla="*/ 0 h 48"/>
              <a:gd name="T2" fmla="*/ 0 w 35"/>
              <a:gd name="T3" fmla="*/ 0 h 48"/>
              <a:gd name="T4" fmla="*/ 12337 w 35"/>
              <a:gd name="T5" fmla="*/ 42863 h 48"/>
              <a:gd name="T6" fmla="*/ 25400 w 35"/>
              <a:gd name="T7" fmla="*/ 28575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89" name="Freeform 132"/>
          <p:cNvSpPr>
            <a:spLocks noChangeAspect="1"/>
          </p:cNvSpPr>
          <p:nvPr>
            <p:custDataLst>
              <p:tags r:id="rId109"/>
            </p:custDataLst>
          </p:nvPr>
        </p:nvSpPr>
        <p:spPr bwMode="auto">
          <a:xfrm>
            <a:off x="7715250" y="4119563"/>
            <a:ext cx="28575" cy="14287"/>
          </a:xfrm>
          <a:custGeom>
            <a:avLst/>
            <a:gdLst>
              <a:gd name="T0" fmla="*/ 0 w 34"/>
              <a:gd name="T1" fmla="*/ 0 h 15"/>
              <a:gd name="T2" fmla="*/ 0 w 34"/>
              <a:gd name="T3" fmla="*/ 0 h 15"/>
              <a:gd name="T4" fmla="*/ 0 w 34"/>
              <a:gd name="T5" fmla="*/ 14287 h 15"/>
              <a:gd name="T6" fmla="*/ 28575 w 34"/>
              <a:gd name="T7" fmla="*/ 142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90" name="Freeform 133"/>
          <p:cNvSpPr>
            <a:spLocks noChangeAspect="1"/>
          </p:cNvSpPr>
          <p:nvPr>
            <p:custDataLst>
              <p:tags r:id="rId110"/>
            </p:custDataLst>
          </p:nvPr>
        </p:nvSpPr>
        <p:spPr bwMode="auto">
          <a:xfrm>
            <a:off x="7878763" y="4248150"/>
            <a:ext cx="14287" cy="26988"/>
          </a:xfrm>
          <a:custGeom>
            <a:avLst/>
            <a:gdLst>
              <a:gd name="T0" fmla="*/ 0 w 18"/>
              <a:gd name="T1" fmla="*/ 0 h 32"/>
              <a:gd name="T2" fmla="*/ 0 w 18"/>
              <a:gd name="T3" fmla="*/ 0 h 32"/>
              <a:gd name="T4" fmla="*/ 0 w 18"/>
              <a:gd name="T5" fmla="*/ 26988 h 32"/>
              <a:gd name="T6" fmla="*/ 14287 w 18"/>
              <a:gd name="T7" fmla="*/ 1265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91" name="Freeform 134"/>
          <p:cNvSpPr>
            <a:spLocks noChangeAspect="1"/>
          </p:cNvSpPr>
          <p:nvPr>
            <p:custDataLst>
              <p:tags r:id="rId111"/>
            </p:custDataLst>
          </p:nvPr>
        </p:nvSpPr>
        <p:spPr bwMode="auto">
          <a:xfrm>
            <a:off x="7826375" y="4375150"/>
            <a:ext cx="52388" cy="55563"/>
          </a:xfrm>
          <a:custGeom>
            <a:avLst/>
            <a:gdLst>
              <a:gd name="T0" fmla="*/ 0 w 67"/>
              <a:gd name="T1" fmla="*/ 0 h 63"/>
              <a:gd name="T2" fmla="*/ 0 w 67"/>
              <a:gd name="T3" fmla="*/ 0 h 63"/>
              <a:gd name="T4" fmla="*/ 13292 w 67"/>
              <a:gd name="T5" fmla="*/ 28222 h 63"/>
              <a:gd name="T6" fmla="*/ 39096 w 67"/>
              <a:gd name="T7" fmla="*/ 55563 h 63"/>
              <a:gd name="T8" fmla="*/ 52388 w 67"/>
              <a:gd name="T9" fmla="*/ 55563 h 63"/>
              <a:gd name="T10" fmla="*/ 13292 w 67"/>
              <a:gd name="T11" fmla="*/ 13229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92" name="Freeform 135"/>
          <p:cNvSpPr>
            <a:spLocks noChangeAspect="1"/>
          </p:cNvSpPr>
          <p:nvPr>
            <p:custDataLst>
              <p:tags r:id="rId112"/>
            </p:custDataLst>
          </p:nvPr>
        </p:nvSpPr>
        <p:spPr bwMode="auto">
          <a:xfrm>
            <a:off x="8097838" y="4305300"/>
            <a:ext cx="30162" cy="26988"/>
          </a:xfrm>
          <a:custGeom>
            <a:avLst/>
            <a:gdLst>
              <a:gd name="T0" fmla="*/ 0 w 34"/>
              <a:gd name="T1" fmla="*/ 26988 h 33"/>
              <a:gd name="T2" fmla="*/ 0 w 34"/>
              <a:gd name="T3" fmla="*/ 26988 h 33"/>
              <a:gd name="T4" fmla="*/ 30162 w 34"/>
              <a:gd name="T5" fmla="*/ 26988 h 33"/>
              <a:gd name="T6" fmla="*/ 30162 w 34"/>
              <a:gd name="T7" fmla="*/ 13903 h 33"/>
              <a:gd name="T8" fmla="*/ 15081 w 34"/>
              <a:gd name="T9" fmla="*/ 0 h 33"/>
              <a:gd name="T10" fmla="*/ 0 w 34"/>
              <a:gd name="T11" fmla="*/ 2698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9593" name="Freeform 136"/>
          <p:cNvSpPr>
            <a:spLocks noChangeAspect="1"/>
          </p:cNvSpPr>
          <p:nvPr>
            <p:custDataLst>
              <p:tags r:id="rId113"/>
            </p:custDataLst>
          </p:nvPr>
        </p:nvSpPr>
        <p:spPr bwMode="auto">
          <a:xfrm>
            <a:off x="8128000" y="4291013"/>
            <a:ext cx="25400" cy="14287"/>
          </a:xfrm>
          <a:custGeom>
            <a:avLst/>
            <a:gdLst>
              <a:gd name="T0" fmla="*/ 0 w 35"/>
              <a:gd name="T1" fmla="*/ 0 h 15"/>
              <a:gd name="T2" fmla="*/ 0 w 35"/>
              <a:gd name="T3" fmla="*/ 0 h 15"/>
              <a:gd name="T4" fmla="*/ 12337 w 35"/>
              <a:gd name="T5" fmla="*/ 14287 h 15"/>
              <a:gd name="T6" fmla="*/ 25400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594" name="Line 137"/>
          <p:cNvSpPr>
            <a:spLocks noChangeAspect="1" noChangeShapeType="1"/>
          </p:cNvSpPr>
          <p:nvPr>
            <p:custDataLst>
              <p:tags r:id="rId114"/>
            </p:custDataLst>
          </p:nvPr>
        </p:nvSpPr>
        <p:spPr bwMode="auto">
          <a:xfrm flipV="1">
            <a:off x="7107238" y="4084638"/>
            <a:ext cx="14287" cy="55562"/>
          </a:xfrm>
          <a:prstGeom prst="line">
            <a:avLst/>
          </a:prstGeom>
          <a:noFill/>
          <a:ln w="9525">
            <a:solidFill>
              <a:schemeClr val="bg2"/>
            </a:solidFill>
            <a:round/>
            <a:headEnd/>
            <a:tailEnd/>
          </a:ln>
        </p:spPr>
        <p:txBody>
          <a:bodyPr/>
          <a:lstStyle/>
          <a:p>
            <a:endParaRPr lang="en-US" dirty="0"/>
          </a:p>
        </p:txBody>
      </p:sp>
      <p:sp>
        <p:nvSpPr>
          <p:cNvPr id="19595" name="Line 138"/>
          <p:cNvSpPr>
            <a:spLocks noChangeAspect="1" noChangeShapeType="1"/>
          </p:cNvSpPr>
          <p:nvPr>
            <p:custDataLst>
              <p:tags r:id="rId115"/>
            </p:custDataLst>
          </p:nvPr>
        </p:nvSpPr>
        <p:spPr bwMode="auto">
          <a:xfrm>
            <a:off x="7653338" y="4084638"/>
            <a:ext cx="28575" cy="14287"/>
          </a:xfrm>
          <a:prstGeom prst="line">
            <a:avLst/>
          </a:prstGeom>
          <a:noFill/>
          <a:ln w="9525">
            <a:solidFill>
              <a:schemeClr val="bg2"/>
            </a:solidFill>
            <a:round/>
            <a:headEnd/>
            <a:tailEnd/>
          </a:ln>
        </p:spPr>
        <p:txBody>
          <a:bodyPr/>
          <a:lstStyle/>
          <a:p>
            <a:endParaRPr lang="en-US" dirty="0"/>
          </a:p>
        </p:txBody>
      </p:sp>
      <p:sp>
        <p:nvSpPr>
          <p:cNvPr id="19596" name="Line 139"/>
          <p:cNvSpPr>
            <a:spLocks noChangeAspect="1" noChangeShapeType="1"/>
          </p:cNvSpPr>
          <p:nvPr>
            <p:custDataLst>
              <p:tags r:id="rId116"/>
            </p:custDataLst>
          </p:nvPr>
        </p:nvSpPr>
        <p:spPr bwMode="auto">
          <a:xfrm>
            <a:off x="7681913" y="4114800"/>
            <a:ext cx="12700" cy="12700"/>
          </a:xfrm>
          <a:prstGeom prst="line">
            <a:avLst/>
          </a:prstGeom>
          <a:noFill/>
          <a:ln w="9525">
            <a:solidFill>
              <a:schemeClr val="bg2"/>
            </a:solidFill>
            <a:round/>
            <a:headEnd/>
            <a:tailEnd/>
          </a:ln>
        </p:spPr>
        <p:txBody>
          <a:bodyPr/>
          <a:lstStyle/>
          <a:p>
            <a:endParaRPr lang="en-US" dirty="0"/>
          </a:p>
        </p:txBody>
      </p:sp>
      <p:sp>
        <p:nvSpPr>
          <p:cNvPr id="19597" name="Line 140"/>
          <p:cNvSpPr>
            <a:spLocks noChangeAspect="1" noChangeShapeType="1"/>
          </p:cNvSpPr>
          <p:nvPr>
            <p:custDataLst>
              <p:tags r:id="rId117"/>
            </p:custDataLst>
          </p:nvPr>
        </p:nvSpPr>
        <p:spPr bwMode="auto">
          <a:xfrm>
            <a:off x="7751763" y="4127500"/>
            <a:ext cx="12700" cy="28575"/>
          </a:xfrm>
          <a:prstGeom prst="line">
            <a:avLst/>
          </a:prstGeom>
          <a:noFill/>
          <a:ln w="9525">
            <a:solidFill>
              <a:schemeClr val="bg2"/>
            </a:solidFill>
            <a:round/>
            <a:headEnd/>
            <a:tailEnd/>
          </a:ln>
        </p:spPr>
        <p:txBody>
          <a:bodyPr/>
          <a:lstStyle/>
          <a:p>
            <a:endParaRPr lang="en-US" dirty="0"/>
          </a:p>
        </p:txBody>
      </p:sp>
      <p:sp>
        <p:nvSpPr>
          <p:cNvPr id="19598" name="Line 141"/>
          <p:cNvSpPr>
            <a:spLocks noChangeAspect="1" noChangeShapeType="1"/>
          </p:cNvSpPr>
          <p:nvPr>
            <p:custDataLst>
              <p:tags r:id="rId118"/>
            </p:custDataLst>
          </p:nvPr>
        </p:nvSpPr>
        <p:spPr bwMode="auto">
          <a:xfrm>
            <a:off x="7764463" y="4168775"/>
            <a:ext cx="25400" cy="15875"/>
          </a:xfrm>
          <a:prstGeom prst="line">
            <a:avLst/>
          </a:prstGeom>
          <a:noFill/>
          <a:ln w="9525">
            <a:solidFill>
              <a:schemeClr val="bg2"/>
            </a:solidFill>
            <a:round/>
            <a:headEnd/>
            <a:tailEnd/>
          </a:ln>
        </p:spPr>
        <p:txBody>
          <a:bodyPr/>
          <a:lstStyle/>
          <a:p>
            <a:endParaRPr lang="en-US" dirty="0"/>
          </a:p>
        </p:txBody>
      </p:sp>
      <p:sp>
        <p:nvSpPr>
          <p:cNvPr id="19599" name="Freeform 142"/>
          <p:cNvSpPr>
            <a:spLocks noChangeAspect="1"/>
          </p:cNvSpPr>
          <p:nvPr>
            <p:custDataLst>
              <p:tags r:id="rId119"/>
            </p:custDataLst>
          </p:nvPr>
        </p:nvSpPr>
        <p:spPr bwMode="auto">
          <a:xfrm>
            <a:off x="6635750" y="3767138"/>
            <a:ext cx="219075" cy="127000"/>
          </a:xfrm>
          <a:custGeom>
            <a:avLst/>
            <a:gdLst>
              <a:gd name="T0" fmla="*/ 124510 w 278"/>
              <a:gd name="T1" fmla="*/ 42333 h 144"/>
              <a:gd name="T2" fmla="*/ 124510 w 278"/>
              <a:gd name="T3" fmla="*/ 42333 h 144"/>
              <a:gd name="T4" fmla="*/ 137907 w 278"/>
              <a:gd name="T5" fmla="*/ 42333 h 144"/>
              <a:gd name="T6" fmla="*/ 124510 w 278"/>
              <a:gd name="T7" fmla="*/ 55562 h 144"/>
              <a:gd name="T8" fmla="*/ 110326 w 278"/>
              <a:gd name="T9" fmla="*/ 55562 h 144"/>
              <a:gd name="T10" fmla="*/ 96929 w 278"/>
              <a:gd name="T11" fmla="*/ 55562 h 144"/>
              <a:gd name="T12" fmla="*/ 69347 w 278"/>
              <a:gd name="T13" fmla="*/ 84667 h 144"/>
              <a:gd name="T14" fmla="*/ 40978 w 278"/>
              <a:gd name="T15" fmla="*/ 84667 h 144"/>
              <a:gd name="T16" fmla="*/ 40978 w 278"/>
              <a:gd name="T17" fmla="*/ 111125 h 144"/>
              <a:gd name="T18" fmla="*/ 0 w 278"/>
              <a:gd name="T19" fmla="*/ 111125 h 144"/>
              <a:gd name="T20" fmla="*/ 27581 w 278"/>
              <a:gd name="T21" fmla="*/ 127000 h 144"/>
              <a:gd name="T22" fmla="*/ 54375 w 278"/>
              <a:gd name="T23" fmla="*/ 127000 h 144"/>
              <a:gd name="T24" fmla="*/ 69347 w 278"/>
              <a:gd name="T25" fmla="*/ 111125 h 144"/>
              <a:gd name="T26" fmla="*/ 96929 w 278"/>
              <a:gd name="T27" fmla="*/ 127000 h 144"/>
              <a:gd name="T28" fmla="*/ 110326 w 278"/>
              <a:gd name="T29" fmla="*/ 111125 h 144"/>
              <a:gd name="T30" fmla="*/ 151304 w 278"/>
              <a:gd name="T31" fmla="*/ 55562 h 144"/>
              <a:gd name="T32" fmla="*/ 192282 w 278"/>
              <a:gd name="T33" fmla="*/ 55562 h 144"/>
              <a:gd name="T34" fmla="*/ 205678 w 278"/>
              <a:gd name="T35" fmla="*/ 55562 h 144"/>
              <a:gd name="T36" fmla="*/ 192282 w 278"/>
              <a:gd name="T37" fmla="*/ 42333 h 144"/>
              <a:gd name="T38" fmla="*/ 219075 w 278"/>
              <a:gd name="T39" fmla="*/ 42333 h 144"/>
              <a:gd name="T40" fmla="*/ 178885 w 278"/>
              <a:gd name="T41" fmla="*/ 26458 h 144"/>
              <a:gd name="T42" fmla="*/ 178885 w 278"/>
              <a:gd name="T43" fmla="*/ 13229 h 144"/>
              <a:gd name="T44" fmla="*/ 164700 w 278"/>
              <a:gd name="T45" fmla="*/ 0 h 144"/>
              <a:gd name="T46" fmla="*/ 137907 w 278"/>
              <a:gd name="T47" fmla="*/ 26458 h 144"/>
              <a:gd name="T48" fmla="*/ 124510 w 278"/>
              <a:gd name="T49" fmla="*/ 42333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chemeClr val="bg1"/>
          </a:solidFill>
          <a:ln w="9525">
            <a:solidFill>
              <a:schemeClr val="bg2"/>
            </a:solidFill>
            <a:prstDash val="solid"/>
            <a:round/>
            <a:headEnd/>
            <a:tailEnd/>
          </a:ln>
        </p:spPr>
        <p:txBody>
          <a:bodyPr/>
          <a:lstStyle/>
          <a:p>
            <a:endParaRPr lang="en-US" dirty="0"/>
          </a:p>
        </p:txBody>
      </p:sp>
      <p:sp>
        <p:nvSpPr>
          <p:cNvPr id="19600" name="Freeform 143"/>
          <p:cNvSpPr>
            <a:spLocks noChangeAspect="1"/>
          </p:cNvSpPr>
          <p:nvPr>
            <p:custDataLst>
              <p:tags r:id="rId120"/>
            </p:custDataLst>
          </p:nvPr>
        </p:nvSpPr>
        <p:spPr bwMode="auto">
          <a:xfrm>
            <a:off x="6732588" y="3810000"/>
            <a:ext cx="41275" cy="12700"/>
          </a:xfrm>
          <a:custGeom>
            <a:avLst/>
            <a:gdLst>
              <a:gd name="T0" fmla="*/ 0 w 52"/>
              <a:gd name="T1" fmla="*/ 12700 h 15"/>
              <a:gd name="T2" fmla="*/ 0 w 52"/>
              <a:gd name="T3" fmla="*/ 12700 h 15"/>
              <a:gd name="T4" fmla="*/ 13494 w 52"/>
              <a:gd name="T5" fmla="*/ 12700 h 15"/>
              <a:gd name="T6" fmla="*/ 27781 w 52"/>
              <a:gd name="T7" fmla="*/ 12700 h 15"/>
              <a:gd name="T8" fmla="*/ 41275 w 52"/>
              <a:gd name="T9" fmla="*/ 0 h 15"/>
              <a:gd name="T10" fmla="*/ 27781 w 52"/>
              <a:gd name="T11" fmla="*/ 0 h 15"/>
              <a:gd name="T12" fmla="*/ 0 w 52"/>
              <a:gd name="T13" fmla="*/ 12700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01" name="Freeform 144"/>
          <p:cNvSpPr>
            <a:spLocks noChangeAspect="1"/>
          </p:cNvSpPr>
          <p:nvPr>
            <p:custDataLst>
              <p:tags r:id="rId121"/>
            </p:custDataLst>
          </p:nvPr>
        </p:nvSpPr>
        <p:spPr bwMode="auto">
          <a:xfrm>
            <a:off x="6621463" y="3822700"/>
            <a:ext cx="222250" cy="185738"/>
          </a:xfrm>
          <a:custGeom>
            <a:avLst/>
            <a:gdLst>
              <a:gd name="T0" fmla="*/ 13591 w 278"/>
              <a:gd name="T1" fmla="*/ 56529 h 207"/>
              <a:gd name="T2" fmla="*/ 13591 w 278"/>
              <a:gd name="T3" fmla="*/ 56529 h 207"/>
              <a:gd name="T4" fmla="*/ 41572 w 278"/>
              <a:gd name="T5" fmla="*/ 72680 h 207"/>
              <a:gd name="T6" fmla="*/ 68754 w 278"/>
              <a:gd name="T7" fmla="*/ 72680 h 207"/>
              <a:gd name="T8" fmla="*/ 83144 w 278"/>
              <a:gd name="T9" fmla="*/ 56529 h 207"/>
              <a:gd name="T10" fmla="*/ 110326 w 278"/>
              <a:gd name="T11" fmla="*/ 72680 h 207"/>
              <a:gd name="T12" fmla="*/ 123916 w 278"/>
              <a:gd name="T13" fmla="*/ 56529 h 207"/>
              <a:gd name="T14" fmla="*/ 165488 w 278"/>
              <a:gd name="T15" fmla="*/ 0 h 207"/>
              <a:gd name="T16" fmla="*/ 208659 w 278"/>
              <a:gd name="T17" fmla="*/ 0 h 207"/>
              <a:gd name="T18" fmla="*/ 195068 w 278"/>
              <a:gd name="T19" fmla="*/ 29610 h 207"/>
              <a:gd name="T20" fmla="*/ 208659 w 278"/>
              <a:gd name="T21" fmla="*/ 43070 h 207"/>
              <a:gd name="T22" fmla="*/ 195068 w 278"/>
              <a:gd name="T23" fmla="*/ 56529 h 207"/>
              <a:gd name="T24" fmla="*/ 222250 w 278"/>
              <a:gd name="T25" fmla="*/ 72680 h 207"/>
              <a:gd name="T26" fmla="*/ 208659 w 278"/>
              <a:gd name="T27" fmla="*/ 86139 h 207"/>
              <a:gd name="T28" fmla="*/ 179079 w 278"/>
              <a:gd name="T29" fmla="*/ 115750 h 207"/>
              <a:gd name="T30" fmla="*/ 165488 w 278"/>
              <a:gd name="T31" fmla="*/ 142668 h 207"/>
              <a:gd name="T32" fmla="*/ 179079 w 278"/>
              <a:gd name="T33" fmla="*/ 142668 h 207"/>
              <a:gd name="T34" fmla="*/ 165488 w 278"/>
              <a:gd name="T35" fmla="*/ 172279 h 207"/>
              <a:gd name="T36" fmla="*/ 138307 w 278"/>
              <a:gd name="T37" fmla="*/ 185738 h 207"/>
              <a:gd name="T38" fmla="*/ 123916 w 278"/>
              <a:gd name="T39" fmla="*/ 172279 h 207"/>
              <a:gd name="T40" fmla="*/ 96735 w 278"/>
              <a:gd name="T41" fmla="*/ 172279 h 207"/>
              <a:gd name="T42" fmla="*/ 68754 w 278"/>
              <a:gd name="T43" fmla="*/ 172279 h 207"/>
              <a:gd name="T44" fmla="*/ 68754 w 278"/>
              <a:gd name="T45" fmla="*/ 157922 h 207"/>
              <a:gd name="T46" fmla="*/ 41572 w 278"/>
              <a:gd name="T47" fmla="*/ 157922 h 207"/>
              <a:gd name="T48" fmla="*/ 27182 w 278"/>
              <a:gd name="T49" fmla="*/ 129209 h 207"/>
              <a:gd name="T50" fmla="*/ 13591 w 278"/>
              <a:gd name="T51" fmla="*/ 99599 h 207"/>
              <a:gd name="T52" fmla="*/ 0 w 278"/>
              <a:gd name="T53" fmla="*/ 72680 h 207"/>
              <a:gd name="T54" fmla="*/ 13591 w 278"/>
              <a:gd name="T55" fmla="*/ 56529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chemeClr val="bg1"/>
          </a:solidFill>
          <a:ln w="9525">
            <a:solidFill>
              <a:schemeClr val="bg2"/>
            </a:solidFill>
            <a:prstDash val="solid"/>
            <a:round/>
            <a:headEnd/>
            <a:tailEnd/>
          </a:ln>
        </p:spPr>
        <p:txBody>
          <a:bodyPr/>
          <a:lstStyle/>
          <a:p>
            <a:endParaRPr lang="en-US" dirty="0"/>
          </a:p>
        </p:txBody>
      </p:sp>
      <p:sp>
        <p:nvSpPr>
          <p:cNvPr id="19602" name="Freeform 145"/>
          <p:cNvSpPr>
            <a:spLocks noChangeAspect="1"/>
          </p:cNvSpPr>
          <p:nvPr>
            <p:custDataLst>
              <p:tags r:id="rId122"/>
            </p:custDataLst>
          </p:nvPr>
        </p:nvSpPr>
        <p:spPr bwMode="auto">
          <a:xfrm>
            <a:off x="6375400" y="3879850"/>
            <a:ext cx="15875" cy="28575"/>
          </a:xfrm>
          <a:custGeom>
            <a:avLst/>
            <a:gdLst>
              <a:gd name="T0" fmla="*/ 0 w 19"/>
              <a:gd name="T1" fmla="*/ 15586 h 33"/>
              <a:gd name="T2" fmla="*/ 0 w 19"/>
              <a:gd name="T3" fmla="*/ 15586 h 33"/>
              <a:gd name="T4" fmla="*/ 15875 w 19"/>
              <a:gd name="T5" fmla="*/ 28575 h 33"/>
              <a:gd name="T6" fmla="*/ 0 w 19"/>
              <a:gd name="T7" fmla="*/ 0 h 33"/>
              <a:gd name="T8" fmla="*/ 0 w 19"/>
              <a:gd name="T9" fmla="*/ 15586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chemeClr val="bg1"/>
          </a:solidFill>
          <a:ln w="9525">
            <a:solidFill>
              <a:schemeClr val="bg2"/>
            </a:solidFill>
            <a:prstDash val="solid"/>
            <a:round/>
            <a:headEnd/>
            <a:tailEnd/>
          </a:ln>
        </p:spPr>
        <p:txBody>
          <a:bodyPr/>
          <a:lstStyle/>
          <a:p>
            <a:endParaRPr lang="en-US" dirty="0"/>
          </a:p>
        </p:txBody>
      </p:sp>
      <p:sp>
        <p:nvSpPr>
          <p:cNvPr id="19603" name="Freeform 146"/>
          <p:cNvSpPr>
            <a:spLocks noChangeAspect="1"/>
          </p:cNvSpPr>
          <p:nvPr>
            <p:custDataLst>
              <p:tags r:id="rId123"/>
            </p:custDataLst>
          </p:nvPr>
        </p:nvSpPr>
        <p:spPr bwMode="auto">
          <a:xfrm>
            <a:off x="6405563" y="3937000"/>
            <a:ext cx="12700" cy="28575"/>
          </a:xfrm>
          <a:custGeom>
            <a:avLst/>
            <a:gdLst>
              <a:gd name="T0" fmla="*/ 0 w 16"/>
              <a:gd name="T1" fmla="*/ 0 h 30"/>
              <a:gd name="T2" fmla="*/ 0 w 16"/>
              <a:gd name="T3" fmla="*/ 0 h 30"/>
              <a:gd name="T4" fmla="*/ 12700 w 16"/>
              <a:gd name="T5" fmla="*/ 28575 h 30"/>
              <a:gd name="T6" fmla="*/ 12700 w 16"/>
              <a:gd name="T7" fmla="*/ 14288 h 30"/>
              <a:gd name="T8" fmla="*/ 12700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04" name="Freeform 147"/>
          <p:cNvSpPr>
            <a:spLocks noChangeAspect="1"/>
          </p:cNvSpPr>
          <p:nvPr>
            <p:custDataLst>
              <p:tags r:id="rId124"/>
            </p:custDataLst>
          </p:nvPr>
        </p:nvSpPr>
        <p:spPr bwMode="auto">
          <a:xfrm>
            <a:off x="5994400" y="3695700"/>
            <a:ext cx="57150" cy="87313"/>
          </a:xfrm>
          <a:custGeom>
            <a:avLst/>
            <a:gdLst>
              <a:gd name="T0" fmla="*/ 0 w 71"/>
              <a:gd name="T1" fmla="*/ 43657 h 96"/>
              <a:gd name="T2" fmla="*/ 0 w 71"/>
              <a:gd name="T3" fmla="*/ 43657 h 96"/>
              <a:gd name="T4" fmla="*/ 13684 w 71"/>
              <a:gd name="T5" fmla="*/ 87313 h 96"/>
              <a:gd name="T6" fmla="*/ 43466 w 71"/>
              <a:gd name="T7" fmla="*/ 87313 h 96"/>
              <a:gd name="T8" fmla="*/ 57150 w 71"/>
              <a:gd name="T9" fmla="*/ 57299 h 96"/>
              <a:gd name="T10" fmla="*/ 29782 w 71"/>
              <a:gd name="T11" fmla="*/ 13643 h 96"/>
              <a:gd name="T12" fmla="*/ 13684 w 71"/>
              <a:gd name="T13" fmla="*/ 0 h 96"/>
              <a:gd name="T14" fmla="*/ 0 w 71"/>
              <a:gd name="T15" fmla="*/ 43657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605" name="Freeform 148"/>
          <p:cNvSpPr>
            <a:spLocks noChangeAspect="1"/>
          </p:cNvSpPr>
          <p:nvPr>
            <p:custDataLst>
              <p:tags r:id="rId125"/>
            </p:custDataLst>
          </p:nvPr>
        </p:nvSpPr>
        <p:spPr bwMode="auto">
          <a:xfrm>
            <a:off x="6621463" y="3470275"/>
            <a:ext cx="57150" cy="42863"/>
          </a:xfrm>
          <a:custGeom>
            <a:avLst/>
            <a:gdLst>
              <a:gd name="T0" fmla="*/ 0 w 69"/>
              <a:gd name="T1" fmla="*/ 13395 h 48"/>
              <a:gd name="T2" fmla="*/ 0 w 69"/>
              <a:gd name="T3" fmla="*/ 13395 h 48"/>
              <a:gd name="T4" fmla="*/ 0 w 69"/>
              <a:gd name="T5" fmla="*/ 27682 h 48"/>
              <a:gd name="T6" fmla="*/ 28161 w 69"/>
              <a:gd name="T7" fmla="*/ 42863 h 48"/>
              <a:gd name="T8" fmla="*/ 43070 w 69"/>
              <a:gd name="T9" fmla="*/ 27682 h 48"/>
              <a:gd name="T10" fmla="*/ 57150 w 69"/>
              <a:gd name="T11" fmla="*/ 0 h 48"/>
              <a:gd name="T12" fmla="*/ 14080 w 69"/>
              <a:gd name="T13" fmla="*/ 0 h 48"/>
              <a:gd name="T14" fmla="*/ 0 w 69"/>
              <a:gd name="T15" fmla="*/ 1339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06" name="Freeform 149"/>
          <p:cNvSpPr>
            <a:spLocks noChangeAspect="1"/>
          </p:cNvSpPr>
          <p:nvPr>
            <p:custDataLst>
              <p:tags r:id="rId126"/>
            </p:custDataLst>
          </p:nvPr>
        </p:nvSpPr>
        <p:spPr bwMode="auto">
          <a:xfrm>
            <a:off x="6867525" y="3344863"/>
            <a:ext cx="42863" cy="69850"/>
          </a:xfrm>
          <a:custGeom>
            <a:avLst/>
            <a:gdLst>
              <a:gd name="T0" fmla="*/ 0 w 52"/>
              <a:gd name="T1" fmla="*/ 42441 h 79"/>
              <a:gd name="T2" fmla="*/ 0 w 52"/>
              <a:gd name="T3" fmla="*/ 42441 h 79"/>
              <a:gd name="T4" fmla="*/ 0 w 52"/>
              <a:gd name="T5" fmla="*/ 55703 h 79"/>
              <a:gd name="T6" fmla="*/ 14013 w 52"/>
              <a:gd name="T7" fmla="*/ 69850 h 79"/>
              <a:gd name="T8" fmla="*/ 42863 w 52"/>
              <a:gd name="T9" fmla="*/ 0 h 79"/>
              <a:gd name="T10" fmla="*/ 28026 w 52"/>
              <a:gd name="T11" fmla="*/ 0 h 79"/>
              <a:gd name="T12" fmla="*/ 0 w 52"/>
              <a:gd name="T13" fmla="*/ 42441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607" name="Freeform 150"/>
          <p:cNvSpPr>
            <a:spLocks noChangeAspect="1"/>
          </p:cNvSpPr>
          <p:nvPr>
            <p:custDataLst>
              <p:tags r:id="rId127"/>
            </p:custDataLst>
          </p:nvPr>
        </p:nvSpPr>
        <p:spPr bwMode="auto">
          <a:xfrm>
            <a:off x="6335713" y="3795713"/>
            <a:ext cx="233362" cy="254000"/>
          </a:xfrm>
          <a:custGeom>
            <a:avLst/>
            <a:gdLst>
              <a:gd name="T0" fmla="*/ 0 w 296"/>
              <a:gd name="T1" fmla="*/ 0 h 288"/>
              <a:gd name="T2" fmla="*/ 0 w 296"/>
              <a:gd name="T3" fmla="*/ 0 h 288"/>
              <a:gd name="T4" fmla="*/ 0 w 296"/>
              <a:gd name="T5" fmla="*/ 15875 h 288"/>
              <a:gd name="T6" fmla="*/ 27593 w 296"/>
              <a:gd name="T7" fmla="*/ 42333 h 288"/>
              <a:gd name="T8" fmla="*/ 55975 w 296"/>
              <a:gd name="T9" fmla="*/ 71437 h 288"/>
              <a:gd name="T10" fmla="*/ 69378 w 296"/>
              <a:gd name="T11" fmla="*/ 84667 h 288"/>
              <a:gd name="T12" fmla="*/ 83569 w 296"/>
              <a:gd name="T13" fmla="*/ 113771 h 288"/>
              <a:gd name="T14" fmla="*/ 110374 w 296"/>
              <a:gd name="T15" fmla="*/ 142875 h 288"/>
              <a:gd name="T16" fmla="*/ 137967 w 296"/>
              <a:gd name="T17" fmla="*/ 198437 h 288"/>
              <a:gd name="T18" fmla="*/ 192366 w 296"/>
              <a:gd name="T19" fmla="*/ 254000 h 288"/>
              <a:gd name="T20" fmla="*/ 219171 w 296"/>
              <a:gd name="T21" fmla="*/ 254000 h 288"/>
              <a:gd name="T22" fmla="*/ 233362 w 296"/>
              <a:gd name="T23" fmla="*/ 198437 h 288"/>
              <a:gd name="T24" fmla="*/ 219171 w 296"/>
              <a:gd name="T25" fmla="*/ 169333 h 288"/>
              <a:gd name="T26" fmla="*/ 205769 w 296"/>
              <a:gd name="T27" fmla="*/ 169333 h 288"/>
              <a:gd name="T28" fmla="*/ 192366 w 296"/>
              <a:gd name="T29" fmla="*/ 142875 h 288"/>
              <a:gd name="T30" fmla="*/ 178963 w 296"/>
              <a:gd name="T31" fmla="*/ 142875 h 288"/>
              <a:gd name="T32" fmla="*/ 178963 w 296"/>
              <a:gd name="T33" fmla="*/ 127000 h 288"/>
              <a:gd name="T34" fmla="*/ 164772 w 296"/>
              <a:gd name="T35" fmla="*/ 113771 h 288"/>
              <a:gd name="T36" fmla="*/ 164772 w 296"/>
              <a:gd name="T37" fmla="*/ 100542 h 288"/>
              <a:gd name="T38" fmla="*/ 124565 w 296"/>
              <a:gd name="T39" fmla="*/ 71437 h 288"/>
              <a:gd name="T40" fmla="*/ 110374 w 296"/>
              <a:gd name="T41" fmla="*/ 71437 h 288"/>
              <a:gd name="T42" fmla="*/ 42573 w 296"/>
              <a:gd name="T43" fmla="*/ 15875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08" name="Freeform 151"/>
          <p:cNvSpPr>
            <a:spLocks noChangeAspect="1"/>
          </p:cNvSpPr>
          <p:nvPr>
            <p:custDataLst>
              <p:tags r:id="rId128"/>
            </p:custDataLst>
          </p:nvPr>
        </p:nvSpPr>
        <p:spPr bwMode="auto">
          <a:xfrm>
            <a:off x="6553200" y="4049713"/>
            <a:ext cx="193675" cy="57150"/>
          </a:xfrm>
          <a:custGeom>
            <a:avLst/>
            <a:gdLst>
              <a:gd name="T0" fmla="*/ 0 w 242"/>
              <a:gd name="T1" fmla="*/ 14947 h 65"/>
              <a:gd name="T2" fmla="*/ 0 w 242"/>
              <a:gd name="T3" fmla="*/ 14947 h 65"/>
              <a:gd name="T4" fmla="*/ 56022 w 242"/>
              <a:gd name="T5" fmla="*/ 42203 h 65"/>
              <a:gd name="T6" fmla="*/ 193675 w 242"/>
              <a:gd name="T7" fmla="*/ 57150 h 65"/>
              <a:gd name="T8" fmla="*/ 193675 w 242"/>
              <a:gd name="T9" fmla="*/ 42203 h 65"/>
              <a:gd name="T10" fmla="*/ 166464 w 242"/>
              <a:gd name="T11" fmla="*/ 42203 h 65"/>
              <a:gd name="T12" fmla="*/ 152859 w 242"/>
              <a:gd name="T13" fmla="*/ 29015 h 65"/>
              <a:gd name="T14" fmla="*/ 111243 w 242"/>
              <a:gd name="T15" fmla="*/ 14947 h 65"/>
              <a:gd name="T16" fmla="*/ 111243 w 242"/>
              <a:gd name="T17" fmla="*/ 29015 h 65"/>
              <a:gd name="T18" fmla="*/ 83232 w 242"/>
              <a:gd name="T19" fmla="*/ 14947 h 65"/>
              <a:gd name="T20" fmla="*/ 41616 w 242"/>
              <a:gd name="T21" fmla="*/ 0 h 65"/>
              <a:gd name="T22" fmla="*/ 14406 w 242"/>
              <a:gd name="T23" fmla="*/ 0 h 65"/>
              <a:gd name="T24" fmla="*/ 0 w 242"/>
              <a:gd name="T25" fmla="*/ 149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chemeClr val="bg1"/>
          </a:solidFill>
          <a:ln w="9525">
            <a:solidFill>
              <a:schemeClr val="bg2"/>
            </a:solidFill>
            <a:round/>
            <a:headEnd/>
            <a:tailEnd/>
          </a:ln>
        </p:spPr>
        <p:txBody>
          <a:bodyPr/>
          <a:lstStyle/>
          <a:p>
            <a:endParaRPr lang="en-US" dirty="0"/>
          </a:p>
        </p:txBody>
      </p:sp>
      <p:sp>
        <p:nvSpPr>
          <p:cNvPr id="19609" name="Freeform 152"/>
          <p:cNvSpPr>
            <a:spLocks noChangeAspect="1"/>
          </p:cNvSpPr>
          <p:nvPr>
            <p:custDataLst>
              <p:tags r:id="rId129"/>
            </p:custDataLst>
          </p:nvPr>
        </p:nvSpPr>
        <p:spPr bwMode="auto">
          <a:xfrm>
            <a:off x="6746875" y="4106863"/>
            <a:ext cx="26988" cy="1587"/>
          </a:xfrm>
          <a:custGeom>
            <a:avLst/>
            <a:gdLst>
              <a:gd name="T0" fmla="*/ 0 w 37"/>
              <a:gd name="T1" fmla="*/ 0 h 1587"/>
              <a:gd name="T2" fmla="*/ 0 w 37"/>
              <a:gd name="T3" fmla="*/ 0 h 1587"/>
              <a:gd name="T4" fmla="*/ 13129 w 37"/>
              <a:gd name="T5" fmla="*/ 0 h 1587"/>
              <a:gd name="T6" fmla="*/ 26988 w 37"/>
              <a:gd name="T7" fmla="*/ 0 h 1587"/>
              <a:gd name="T8" fmla="*/ 0 w 37"/>
              <a:gd name="T9" fmla="*/ 0 h 1587"/>
              <a:gd name="T10" fmla="*/ 0 60000 65536"/>
              <a:gd name="T11" fmla="*/ 0 60000 65536"/>
              <a:gd name="T12" fmla="*/ 0 60000 65536"/>
              <a:gd name="T13" fmla="*/ 0 60000 65536"/>
              <a:gd name="T14" fmla="*/ 0 60000 65536"/>
              <a:gd name="T15" fmla="*/ 0 w 37"/>
              <a:gd name="T16" fmla="*/ 0 h 1587"/>
              <a:gd name="T17" fmla="*/ 37 w 37"/>
              <a:gd name="T18" fmla="*/ 1587 h 1587"/>
            </a:gdLst>
            <a:ahLst/>
            <a:cxnLst>
              <a:cxn ang="T10">
                <a:pos x="T0" y="T1"/>
              </a:cxn>
              <a:cxn ang="T11">
                <a:pos x="T2" y="T3"/>
              </a:cxn>
              <a:cxn ang="T12">
                <a:pos x="T4" y="T5"/>
              </a:cxn>
              <a:cxn ang="T13">
                <a:pos x="T6" y="T7"/>
              </a:cxn>
              <a:cxn ang="T14">
                <a:pos x="T8" y="T9"/>
              </a:cxn>
            </a:cxnLst>
            <a:rect l="T15" t="T16" r="T17" b="T18"/>
            <a:pathLst>
              <a:path w="37" h="1587">
                <a:moveTo>
                  <a:pt x="0" y="0"/>
                </a:moveTo>
                <a:lnTo>
                  <a:pt x="0" y="0"/>
                </a:lnTo>
                <a:lnTo>
                  <a:pt x="18" y="0"/>
                </a:lnTo>
                <a:lnTo>
                  <a:pt x="3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10" name="Freeform 153"/>
          <p:cNvSpPr>
            <a:spLocks noChangeAspect="1"/>
          </p:cNvSpPr>
          <p:nvPr>
            <p:custDataLst>
              <p:tags r:id="rId130"/>
            </p:custDataLst>
          </p:nvPr>
        </p:nvSpPr>
        <p:spPr bwMode="auto">
          <a:xfrm>
            <a:off x="6553200" y="3951288"/>
            <a:ext cx="30163" cy="41275"/>
          </a:xfrm>
          <a:custGeom>
            <a:avLst/>
            <a:gdLst>
              <a:gd name="T0" fmla="*/ 0 w 35"/>
              <a:gd name="T1" fmla="*/ 12898 h 48"/>
              <a:gd name="T2" fmla="*/ 0 w 35"/>
              <a:gd name="T3" fmla="*/ 12898 h 48"/>
              <a:gd name="T4" fmla="*/ 15512 w 35"/>
              <a:gd name="T5" fmla="*/ 27517 h 48"/>
              <a:gd name="T6" fmla="*/ 30163 w 35"/>
              <a:gd name="T7" fmla="*/ 41275 h 48"/>
              <a:gd name="T8" fmla="*/ 30163 w 35"/>
              <a:gd name="T9" fmla="*/ 27517 h 48"/>
              <a:gd name="T10" fmla="*/ 15512 w 35"/>
              <a:gd name="T11" fmla="*/ 0 h 48"/>
              <a:gd name="T12" fmla="*/ 0 w 35"/>
              <a:gd name="T13" fmla="*/ 12898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11" name="Freeform 154"/>
          <p:cNvSpPr>
            <a:spLocks noChangeAspect="1"/>
          </p:cNvSpPr>
          <p:nvPr>
            <p:custDataLst>
              <p:tags r:id="rId131"/>
            </p:custDataLst>
          </p:nvPr>
        </p:nvSpPr>
        <p:spPr bwMode="auto">
          <a:xfrm>
            <a:off x="6594475" y="3978275"/>
            <a:ext cx="15875" cy="14288"/>
          </a:xfrm>
          <a:custGeom>
            <a:avLst/>
            <a:gdLst>
              <a:gd name="T0" fmla="*/ 0 w 18"/>
              <a:gd name="T1" fmla="*/ 14288 h 16"/>
              <a:gd name="T2" fmla="*/ 0 w 18"/>
              <a:gd name="T3" fmla="*/ 14288 h 16"/>
              <a:gd name="T4" fmla="*/ 15875 w 18"/>
              <a:gd name="T5" fmla="*/ 14288 h 16"/>
              <a:gd name="T6" fmla="*/ 15875 w 18"/>
              <a:gd name="T7" fmla="*/ 0 h 16"/>
              <a:gd name="T8" fmla="*/ 0 w 18"/>
              <a:gd name="T9" fmla="*/ 0 h 16"/>
              <a:gd name="T10" fmla="*/ 0 w 18"/>
              <a:gd name="T11" fmla="*/ 14288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9612" name="Freeform 155"/>
          <p:cNvSpPr>
            <a:spLocks noChangeAspect="1"/>
          </p:cNvSpPr>
          <p:nvPr>
            <p:custDataLst>
              <p:tags r:id="rId132"/>
            </p:custDataLst>
          </p:nvPr>
        </p:nvSpPr>
        <p:spPr bwMode="auto">
          <a:xfrm>
            <a:off x="6867525" y="3498850"/>
            <a:ext cx="80963" cy="127000"/>
          </a:xfrm>
          <a:custGeom>
            <a:avLst/>
            <a:gdLst>
              <a:gd name="T0" fmla="*/ 0 w 104"/>
              <a:gd name="T1" fmla="*/ 57727 h 143"/>
              <a:gd name="T2" fmla="*/ 0 w 104"/>
              <a:gd name="T3" fmla="*/ 57727 h 143"/>
              <a:gd name="T4" fmla="*/ 0 w 104"/>
              <a:gd name="T5" fmla="*/ 84371 h 143"/>
              <a:gd name="T6" fmla="*/ 13234 w 104"/>
              <a:gd name="T7" fmla="*/ 100357 h 143"/>
              <a:gd name="T8" fmla="*/ 13234 w 104"/>
              <a:gd name="T9" fmla="*/ 113678 h 143"/>
              <a:gd name="T10" fmla="*/ 26469 w 104"/>
              <a:gd name="T11" fmla="*/ 113678 h 143"/>
              <a:gd name="T12" fmla="*/ 40482 w 104"/>
              <a:gd name="T13" fmla="*/ 113678 h 143"/>
              <a:gd name="T14" fmla="*/ 53716 w 104"/>
              <a:gd name="T15" fmla="*/ 127000 h 143"/>
              <a:gd name="T16" fmla="*/ 53716 w 104"/>
              <a:gd name="T17" fmla="*/ 113678 h 143"/>
              <a:gd name="T18" fmla="*/ 66950 w 104"/>
              <a:gd name="T19" fmla="*/ 127000 h 143"/>
              <a:gd name="T20" fmla="*/ 80963 w 104"/>
              <a:gd name="T21" fmla="*/ 127000 h 143"/>
              <a:gd name="T22" fmla="*/ 66950 w 104"/>
              <a:gd name="T23" fmla="*/ 113678 h 143"/>
              <a:gd name="T24" fmla="*/ 80963 w 104"/>
              <a:gd name="T25" fmla="*/ 113678 h 143"/>
              <a:gd name="T26" fmla="*/ 53716 w 104"/>
              <a:gd name="T27" fmla="*/ 100357 h 143"/>
              <a:gd name="T28" fmla="*/ 40482 w 104"/>
              <a:gd name="T29" fmla="*/ 113678 h 143"/>
              <a:gd name="T30" fmla="*/ 26469 w 104"/>
              <a:gd name="T31" fmla="*/ 84371 h 143"/>
              <a:gd name="T32" fmla="*/ 53716 w 104"/>
              <a:gd name="T33" fmla="*/ 42629 h 143"/>
              <a:gd name="T34" fmla="*/ 40482 w 104"/>
              <a:gd name="T35" fmla="*/ 28420 h 143"/>
              <a:gd name="T36" fmla="*/ 53716 w 104"/>
              <a:gd name="T37" fmla="*/ 0 h 143"/>
              <a:gd name="T38" fmla="*/ 40482 w 104"/>
              <a:gd name="T39" fmla="*/ 15098 h 143"/>
              <a:gd name="T40" fmla="*/ 13234 w 104"/>
              <a:gd name="T41" fmla="*/ 0 h 143"/>
              <a:gd name="T42" fmla="*/ 0 w 104"/>
              <a:gd name="T43" fmla="*/ 5772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chemeClr val="bg1"/>
          </a:solidFill>
          <a:ln w="9525">
            <a:solidFill>
              <a:schemeClr val="bg2"/>
            </a:solidFill>
            <a:prstDash val="solid"/>
            <a:round/>
            <a:headEnd/>
            <a:tailEnd/>
          </a:ln>
        </p:spPr>
        <p:txBody>
          <a:bodyPr/>
          <a:lstStyle/>
          <a:p>
            <a:endParaRPr lang="en-US" dirty="0"/>
          </a:p>
        </p:txBody>
      </p:sp>
      <p:sp>
        <p:nvSpPr>
          <p:cNvPr id="19613" name="Freeform 156"/>
          <p:cNvSpPr>
            <a:spLocks noChangeAspect="1"/>
          </p:cNvSpPr>
          <p:nvPr>
            <p:custDataLst>
              <p:tags r:id="rId133"/>
            </p:custDataLst>
          </p:nvPr>
        </p:nvSpPr>
        <p:spPr bwMode="auto">
          <a:xfrm>
            <a:off x="6800850" y="3668713"/>
            <a:ext cx="53975" cy="69850"/>
          </a:xfrm>
          <a:custGeom>
            <a:avLst/>
            <a:gdLst>
              <a:gd name="T0" fmla="*/ 0 w 69"/>
              <a:gd name="T1" fmla="*/ 69850 h 81"/>
              <a:gd name="T2" fmla="*/ 0 w 69"/>
              <a:gd name="T3" fmla="*/ 69850 h 81"/>
              <a:gd name="T4" fmla="*/ 53975 w 69"/>
              <a:gd name="T5" fmla="*/ 15522 h 81"/>
              <a:gd name="T6" fmla="*/ 53975 w 69"/>
              <a:gd name="T7" fmla="*/ 0 h 81"/>
              <a:gd name="T8" fmla="*/ 0 w 69"/>
              <a:gd name="T9" fmla="*/ 69850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chemeClr val="bg1"/>
          </a:solidFill>
          <a:ln w="9525">
            <a:solidFill>
              <a:schemeClr val="bg2"/>
            </a:solidFill>
            <a:prstDash val="solid"/>
            <a:round/>
            <a:headEnd/>
            <a:tailEnd/>
          </a:ln>
        </p:spPr>
        <p:txBody>
          <a:bodyPr/>
          <a:lstStyle/>
          <a:p>
            <a:endParaRPr lang="en-US" dirty="0"/>
          </a:p>
        </p:txBody>
      </p:sp>
      <p:sp>
        <p:nvSpPr>
          <p:cNvPr id="19614" name="Freeform 157"/>
          <p:cNvSpPr>
            <a:spLocks noChangeAspect="1"/>
          </p:cNvSpPr>
          <p:nvPr>
            <p:custDataLst>
              <p:tags r:id="rId134"/>
            </p:custDataLst>
          </p:nvPr>
        </p:nvSpPr>
        <p:spPr bwMode="auto">
          <a:xfrm>
            <a:off x="6867525" y="3625850"/>
            <a:ext cx="30163" cy="28575"/>
          </a:xfrm>
          <a:custGeom>
            <a:avLst/>
            <a:gdLst>
              <a:gd name="T0" fmla="*/ 0 w 36"/>
              <a:gd name="T1" fmla="*/ 0 h 33"/>
              <a:gd name="T2" fmla="*/ 0 w 36"/>
              <a:gd name="T3" fmla="*/ 0 h 33"/>
              <a:gd name="T4" fmla="*/ 30163 w 36"/>
              <a:gd name="T5" fmla="*/ 28575 h 33"/>
              <a:gd name="T6" fmla="*/ 30163 w 36"/>
              <a:gd name="T7" fmla="*/ 15586 h 33"/>
              <a:gd name="T8" fmla="*/ 30163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15" name="Freeform 158"/>
          <p:cNvSpPr>
            <a:spLocks noChangeAspect="1"/>
          </p:cNvSpPr>
          <p:nvPr>
            <p:custDataLst>
              <p:tags r:id="rId135"/>
            </p:custDataLst>
          </p:nvPr>
        </p:nvSpPr>
        <p:spPr bwMode="auto">
          <a:xfrm>
            <a:off x="6910388" y="3654425"/>
            <a:ext cx="52387" cy="71438"/>
          </a:xfrm>
          <a:custGeom>
            <a:avLst/>
            <a:gdLst>
              <a:gd name="T0" fmla="*/ 0 w 71"/>
              <a:gd name="T1" fmla="*/ 29104 h 81"/>
              <a:gd name="T2" fmla="*/ 0 w 71"/>
              <a:gd name="T3" fmla="*/ 29104 h 81"/>
              <a:gd name="T4" fmla="*/ 14019 w 71"/>
              <a:gd name="T5" fmla="*/ 29104 h 81"/>
              <a:gd name="T6" fmla="*/ 14019 w 71"/>
              <a:gd name="T7" fmla="*/ 42334 h 81"/>
              <a:gd name="T8" fmla="*/ 26562 w 71"/>
              <a:gd name="T9" fmla="*/ 71438 h 81"/>
              <a:gd name="T10" fmla="*/ 26562 w 71"/>
              <a:gd name="T11" fmla="*/ 55563 h 81"/>
              <a:gd name="T12" fmla="*/ 26562 w 71"/>
              <a:gd name="T13" fmla="*/ 42334 h 81"/>
              <a:gd name="T14" fmla="*/ 52387 w 71"/>
              <a:gd name="T15" fmla="*/ 55563 h 81"/>
              <a:gd name="T16" fmla="*/ 52387 w 71"/>
              <a:gd name="T17" fmla="*/ 42334 h 81"/>
              <a:gd name="T18" fmla="*/ 39106 w 71"/>
              <a:gd name="T19" fmla="*/ 42334 h 81"/>
              <a:gd name="T20" fmla="*/ 39106 w 71"/>
              <a:gd name="T21" fmla="*/ 13229 h 81"/>
              <a:gd name="T22" fmla="*/ 26562 w 71"/>
              <a:gd name="T23" fmla="*/ 29104 h 81"/>
              <a:gd name="T24" fmla="*/ 26562 w 71"/>
              <a:gd name="T25" fmla="*/ 13229 h 81"/>
              <a:gd name="T26" fmla="*/ 14019 w 71"/>
              <a:gd name="T27" fmla="*/ 0 h 81"/>
              <a:gd name="T28" fmla="*/ 0 w 71"/>
              <a:gd name="T29" fmla="*/ 0 h 81"/>
              <a:gd name="T30" fmla="*/ 0 w 71"/>
              <a:gd name="T31" fmla="*/ 29104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9616" name="Freeform 159"/>
          <p:cNvSpPr>
            <a:spLocks noChangeAspect="1"/>
          </p:cNvSpPr>
          <p:nvPr>
            <p:custDataLst>
              <p:tags r:id="rId136"/>
            </p:custDataLst>
          </p:nvPr>
        </p:nvSpPr>
        <p:spPr bwMode="auto">
          <a:xfrm>
            <a:off x="6910388" y="3695700"/>
            <a:ext cx="95250" cy="100013"/>
          </a:xfrm>
          <a:custGeom>
            <a:avLst/>
            <a:gdLst>
              <a:gd name="T0" fmla="*/ 0 w 123"/>
              <a:gd name="T1" fmla="*/ 72982 h 111"/>
              <a:gd name="T2" fmla="*/ 0 w 123"/>
              <a:gd name="T3" fmla="*/ 72982 h 111"/>
              <a:gd name="T4" fmla="*/ 14713 w 123"/>
              <a:gd name="T5" fmla="*/ 56764 h 111"/>
              <a:gd name="T6" fmla="*/ 27878 w 123"/>
              <a:gd name="T7" fmla="*/ 56764 h 111"/>
              <a:gd name="T8" fmla="*/ 41043 w 123"/>
              <a:gd name="T9" fmla="*/ 56764 h 111"/>
              <a:gd name="T10" fmla="*/ 54982 w 123"/>
              <a:gd name="T11" fmla="*/ 56764 h 111"/>
              <a:gd name="T12" fmla="*/ 41043 w 123"/>
              <a:gd name="T13" fmla="*/ 86498 h 111"/>
              <a:gd name="T14" fmla="*/ 68146 w 123"/>
              <a:gd name="T15" fmla="*/ 100013 h 111"/>
              <a:gd name="T16" fmla="*/ 81311 w 123"/>
              <a:gd name="T17" fmla="*/ 86498 h 111"/>
              <a:gd name="T18" fmla="*/ 68146 w 123"/>
              <a:gd name="T19" fmla="*/ 72982 h 111"/>
              <a:gd name="T20" fmla="*/ 81311 w 123"/>
              <a:gd name="T21" fmla="*/ 56764 h 111"/>
              <a:gd name="T22" fmla="*/ 95250 w 123"/>
              <a:gd name="T23" fmla="*/ 86498 h 111"/>
              <a:gd name="T24" fmla="*/ 95250 w 123"/>
              <a:gd name="T25" fmla="*/ 56764 h 111"/>
              <a:gd name="T26" fmla="*/ 95250 w 123"/>
              <a:gd name="T27" fmla="*/ 29734 h 111"/>
              <a:gd name="T28" fmla="*/ 68146 w 123"/>
              <a:gd name="T29" fmla="*/ 0 h 111"/>
              <a:gd name="T30" fmla="*/ 68146 w 123"/>
              <a:gd name="T31" fmla="*/ 29734 h 111"/>
              <a:gd name="T32" fmla="*/ 54982 w 123"/>
              <a:gd name="T33" fmla="*/ 29734 h 111"/>
              <a:gd name="T34" fmla="*/ 41043 w 123"/>
              <a:gd name="T35" fmla="*/ 43249 h 111"/>
              <a:gd name="T36" fmla="*/ 27878 w 123"/>
              <a:gd name="T37" fmla="*/ 29734 h 111"/>
              <a:gd name="T38" fmla="*/ 0 w 123"/>
              <a:gd name="T39" fmla="*/ 56764 h 111"/>
              <a:gd name="T40" fmla="*/ 0 w 123"/>
              <a:gd name="T41" fmla="*/ 72982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chemeClr val="bg1"/>
          </a:solidFill>
          <a:ln w="9525">
            <a:solidFill>
              <a:schemeClr val="bg2"/>
            </a:solidFill>
            <a:prstDash val="solid"/>
            <a:round/>
            <a:headEnd/>
            <a:tailEnd/>
          </a:ln>
        </p:spPr>
        <p:txBody>
          <a:bodyPr/>
          <a:lstStyle/>
          <a:p>
            <a:endParaRPr lang="en-US" dirty="0"/>
          </a:p>
        </p:txBody>
      </p:sp>
      <p:sp>
        <p:nvSpPr>
          <p:cNvPr id="19617" name="Line 160"/>
          <p:cNvSpPr>
            <a:spLocks noChangeAspect="1" noChangeShapeType="1"/>
          </p:cNvSpPr>
          <p:nvPr>
            <p:custDataLst>
              <p:tags r:id="rId137"/>
            </p:custDataLst>
          </p:nvPr>
        </p:nvSpPr>
        <p:spPr bwMode="auto">
          <a:xfrm>
            <a:off x="6288088" y="3646488"/>
            <a:ext cx="1587" cy="14287"/>
          </a:xfrm>
          <a:prstGeom prst="line">
            <a:avLst/>
          </a:prstGeom>
          <a:noFill/>
          <a:ln w="9525">
            <a:solidFill>
              <a:schemeClr val="bg2"/>
            </a:solidFill>
            <a:round/>
            <a:headEnd/>
            <a:tailEnd/>
          </a:ln>
        </p:spPr>
        <p:txBody>
          <a:bodyPr/>
          <a:lstStyle/>
          <a:p>
            <a:endParaRPr lang="en-US" dirty="0"/>
          </a:p>
        </p:txBody>
      </p:sp>
      <p:sp>
        <p:nvSpPr>
          <p:cNvPr id="19618" name="Line 161"/>
          <p:cNvSpPr>
            <a:spLocks noChangeAspect="1" noChangeShapeType="1"/>
          </p:cNvSpPr>
          <p:nvPr>
            <p:custDataLst>
              <p:tags r:id="rId138"/>
            </p:custDataLst>
          </p:nvPr>
        </p:nvSpPr>
        <p:spPr bwMode="auto">
          <a:xfrm flipV="1">
            <a:off x="7040563" y="3308350"/>
            <a:ext cx="11112" cy="41275"/>
          </a:xfrm>
          <a:prstGeom prst="line">
            <a:avLst/>
          </a:prstGeom>
          <a:noFill/>
          <a:ln w="9525">
            <a:solidFill>
              <a:schemeClr val="bg2"/>
            </a:solidFill>
            <a:round/>
            <a:headEnd/>
            <a:tailEnd/>
          </a:ln>
        </p:spPr>
        <p:txBody>
          <a:bodyPr/>
          <a:lstStyle/>
          <a:p>
            <a:endParaRPr lang="en-US" dirty="0"/>
          </a:p>
        </p:txBody>
      </p:sp>
      <p:sp>
        <p:nvSpPr>
          <p:cNvPr id="19619" name="Line 162"/>
          <p:cNvSpPr>
            <a:spLocks noChangeAspect="1" noChangeShapeType="1"/>
          </p:cNvSpPr>
          <p:nvPr>
            <p:custDataLst>
              <p:tags r:id="rId139"/>
            </p:custDataLst>
          </p:nvPr>
        </p:nvSpPr>
        <p:spPr bwMode="auto">
          <a:xfrm flipV="1">
            <a:off x="7073900" y="3273425"/>
            <a:ext cx="1588" cy="26988"/>
          </a:xfrm>
          <a:prstGeom prst="line">
            <a:avLst/>
          </a:prstGeom>
          <a:noFill/>
          <a:ln w="9525">
            <a:solidFill>
              <a:schemeClr val="bg2"/>
            </a:solidFill>
            <a:round/>
            <a:headEnd/>
            <a:tailEnd/>
          </a:ln>
        </p:spPr>
        <p:txBody>
          <a:bodyPr/>
          <a:lstStyle/>
          <a:p>
            <a:endParaRPr lang="en-US" dirty="0"/>
          </a:p>
        </p:txBody>
      </p:sp>
      <p:sp>
        <p:nvSpPr>
          <p:cNvPr id="19620" name="Freeform 163"/>
          <p:cNvSpPr>
            <a:spLocks noChangeAspect="1"/>
          </p:cNvSpPr>
          <p:nvPr>
            <p:custDataLst>
              <p:tags r:id="rId140"/>
            </p:custDataLst>
          </p:nvPr>
        </p:nvSpPr>
        <p:spPr bwMode="auto">
          <a:xfrm>
            <a:off x="6962775" y="3640138"/>
            <a:ext cx="30163" cy="55562"/>
          </a:xfrm>
          <a:custGeom>
            <a:avLst/>
            <a:gdLst>
              <a:gd name="T0" fmla="*/ 0 w 34"/>
              <a:gd name="T1" fmla="*/ 0 h 63"/>
              <a:gd name="T2" fmla="*/ 0 w 34"/>
              <a:gd name="T3" fmla="*/ 0 h 63"/>
              <a:gd name="T4" fmla="*/ 15082 w 34"/>
              <a:gd name="T5" fmla="*/ 13229 h 63"/>
              <a:gd name="T6" fmla="*/ 0 w 34"/>
              <a:gd name="T7" fmla="*/ 26458 h 63"/>
              <a:gd name="T8" fmla="*/ 0 w 34"/>
              <a:gd name="T9" fmla="*/ 42333 h 63"/>
              <a:gd name="T10" fmla="*/ 0 w 34"/>
              <a:gd name="T11" fmla="*/ 55562 h 63"/>
              <a:gd name="T12" fmla="*/ 15082 w 34"/>
              <a:gd name="T13" fmla="*/ 55562 h 63"/>
              <a:gd name="T14" fmla="*/ 15082 w 34"/>
              <a:gd name="T15" fmla="*/ 26458 h 63"/>
              <a:gd name="T16" fmla="*/ 30163 w 34"/>
              <a:gd name="T17" fmla="*/ 26458 h 63"/>
              <a:gd name="T18" fmla="*/ 15082 w 34"/>
              <a:gd name="T19" fmla="*/ 13229 h 63"/>
              <a:gd name="T20" fmla="*/ 1508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21" name="Freeform 164"/>
          <p:cNvSpPr>
            <a:spLocks noChangeAspect="1"/>
          </p:cNvSpPr>
          <p:nvPr>
            <p:custDataLst>
              <p:tags r:id="rId141"/>
            </p:custDataLst>
          </p:nvPr>
        </p:nvSpPr>
        <p:spPr bwMode="auto">
          <a:xfrm>
            <a:off x="6488113" y="3597275"/>
            <a:ext cx="104775" cy="82550"/>
          </a:xfrm>
          <a:custGeom>
            <a:avLst/>
            <a:gdLst>
              <a:gd name="T0" fmla="*/ 39238 w 251"/>
              <a:gd name="T1" fmla="*/ 82550 h 175"/>
              <a:gd name="T2" fmla="*/ 39238 w 251"/>
              <a:gd name="T3" fmla="*/ 82550 h 175"/>
              <a:gd name="T4" fmla="*/ 65537 w 251"/>
              <a:gd name="T5" fmla="*/ 68870 h 175"/>
              <a:gd name="T6" fmla="*/ 78477 w 251"/>
              <a:gd name="T7" fmla="*/ 55191 h 175"/>
              <a:gd name="T8" fmla="*/ 104775 w 251"/>
              <a:gd name="T9" fmla="*/ 41983 h 175"/>
              <a:gd name="T10" fmla="*/ 104775 w 251"/>
              <a:gd name="T11" fmla="*/ 0 h 175"/>
              <a:gd name="T12" fmla="*/ 78477 w 251"/>
              <a:gd name="T13" fmla="*/ 0 h 175"/>
              <a:gd name="T14" fmla="*/ 78477 w 251"/>
              <a:gd name="T15" fmla="*/ 14623 h 175"/>
              <a:gd name="T16" fmla="*/ 65537 w 251"/>
              <a:gd name="T17" fmla="*/ 0 h 175"/>
              <a:gd name="T18" fmla="*/ 12523 w 251"/>
              <a:gd name="T19" fmla="*/ 0 h 175"/>
              <a:gd name="T20" fmla="*/ 0 w 251"/>
              <a:gd name="T21" fmla="*/ 28303 h 175"/>
              <a:gd name="T22" fmla="*/ 12523 w 251"/>
              <a:gd name="T23" fmla="*/ 55191 h 175"/>
              <a:gd name="T24" fmla="*/ 12523 w 251"/>
              <a:gd name="T25" fmla="*/ 68870 h 175"/>
              <a:gd name="T26" fmla="*/ 12523 w 251"/>
              <a:gd name="T27" fmla="*/ 82550 h 175"/>
              <a:gd name="T28" fmla="*/ 39238 w 251"/>
              <a:gd name="T29" fmla="*/ 82550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chemeClr val="bg1"/>
          </a:solidFill>
          <a:ln w="9525">
            <a:solidFill>
              <a:schemeClr val="bg2"/>
            </a:solidFill>
            <a:round/>
            <a:headEnd/>
            <a:tailEnd/>
          </a:ln>
        </p:spPr>
        <p:txBody>
          <a:bodyPr/>
          <a:lstStyle/>
          <a:p>
            <a:endParaRPr lang="en-US" dirty="0"/>
          </a:p>
        </p:txBody>
      </p:sp>
      <p:sp>
        <p:nvSpPr>
          <p:cNvPr id="19622" name="Freeform 165"/>
          <p:cNvSpPr>
            <a:spLocks noChangeAspect="1"/>
          </p:cNvSpPr>
          <p:nvPr>
            <p:custDataLst>
              <p:tags r:id="rId142"/>
            </p:custDataLst>
          </p:nvPr>
        </p:nvSpPr>
        <p:spPr bwMode="auto">
          <a:xfrm>
            <a:off x="6172200" y="3314700"/>
            <a:ext cx="109538" cy="127000"/>
          </a:xfrm>
          <a:custGeom>
            <a:avLst/>
            <a:gdLst>
              <a:gd name="T0" fmla="*/ 109538 w 140"/>
              <a:gd name="T1" fmla="*/ 113771 h 144"/>
              <a:gd name="T2" fmla="*/ 109538 w 140"/>
              <a:gd name="T3" fmla="*/ 113771 h 144"/>
              <a:gd name="T4" fmla="*/ 96237 w 140"/>
              <a:gd name="T5" fmla="*/ 71437 h 144"/>
              <a:gd name="T6" fmla="*/ 96237 w 140"/>
              <a:gd name="T7" fmla="*/ 56444 h 144"/>
              <a:gd name="T8" fmla="*/ 82153 w 140"/>
              <a:gd name="T9" fmla="*/ 71437 h 144"/>
              <a:gd name="T10" fmla="*/ 68852 w 140"/>
              <a:gd name="T11" fmla="*/ 71437 h 144"/>
              <a:gd name="T12" fmla="*/ 68852 w 140"/>
              <a:gd name="T13" fmla="*/ 56444 h 144"/>
              <a:gd name="T14" fmla="*/ 96237 w 140"/>
              <a:gd name="T15" fmla="*/ 29104 h 144"/>
              <a:gd name="T16" fmla="*/ 40686 w 140"/>
              <a:gd name="T17" fmla="*/ 29104 h 144"/>
              <a:gd name="T18" fmla="*/ 40686 w 140"/>
              <a:gd name="T19" fmla="*/ 0 h 144"/>
              <a:gd name="T20" fmla="*/ 26602 w 140"/>
              <a:gd name="T21" fmla="*/ 0 h 144"/>
              <a:gd name="T22" fmla="*/ 13301 w 140"/>
              <a:gd name="T23" fmla="*/ 0 h 144"/>
              <a:gd name="T24" fmla="*/ 13301 w 140"/>
              <a:gd name="T25" fmla="*/ 14111 h 144"/>
              <a:gd name="T26" fmla="*/ 0 w 140"/>
              <a:gd name="T27" fmla="*/ 42333 h 144"/>
              <a:gd name="T28" fmla="*/ 13301 w 140"/>
              <a:gd name="T29" fmla="*/ 42333 h 144"/>
              <a:gd name="T30" fmla="*/ 26602 w 140"/>
              <a:gd name="T31" fmla="*/ 113771 h 144"/>
              <a:gd name="T32" fmla="*/ 53987 w 140"/>
              <a:gd name="T33" fmla="*/ 113771 h 144"/>
              <a:gd name="T34" fmla="*/ 82153 w 140"/>
              <a:gd name="T35" fmla="*/ 84667 h 144"/>
              <a:gd name="T36" fmla="*/ 96237 w 140"/>
              <a:gd name="T37" fmla="*/ 127000 h 144"/>
              <a:gd name="T38" fmla="*/ 109538 w 140"/>
              <a:gd name="T39" fmla="*/ 113771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chemeClr val="bg1"/>
          </a:solidFill>
          <a:ln w="9525">
            <a:solidFill>
              <a:schemeClr val="bg2"/>
            </a:solidFill>
            <a:round/>
            <a:headEnd/>
            <a:tailEnd/>
          </a:ln>
        </p:spPr>
        <p:txBody>
          <a:bodyPr/>
          <a:lstStyle/>
          <a:p>
            <a:endParaRPr lang="en-US" dirty="0"/>
          </a:p>
        </p:txBody>
      </p:sp>
      <p:sp>
        <p:nvSpPr>
          <p:cNvPr id="19623" name="Freeform 166"/>
          <p:cNvSpPr>
            <a:spLocks noChangeAspect="1"/>
          </p:cNvSpPr>
          <p:nvPr>
            <p:custDataLst>
              <p:tags r:id="rId143"/>
            </p:custDataLst>
          </p:nvPr>
        </p:nvSpPr>
        <p:spPr bwMode="auto">
          <a:xfrm>
            <a:off x="6269038" y="3273425"/>
            <a:ext cx="187325" cy="438150"/>
          </a:xfrm>
          <a:custGeom>
            <a:avLst/>
            <a:gdLst>
              <a:gd name="T0" fmla="*/ 134250 w 240"/>
              <a:gd name="T1" fmla="*/ 438150 h 495"/>
              <a:gd name="T2" fmla="*/ 134250 w 240"/>
              <a:gd name="T3" fmla="*/ 438150 h 495"/>
              <a:gd name="T4" fmla="*/ 160007 w 240"/>
              <a:gd name="T5" fmla="*/ 382385 h 495"/>
              <a:gd name="T6" fmla="*/ 148299 w 240"/>
              <a:gd name="T7" fmla="*/ 339898 h 495"/>
              <a:gd name="T8" fmla="*/ 134250 w 240"/>
              <a:gd name="T9" fmla="*/ 310688 h 495"/>
              <a:gd name="T10" fmla="*/ 134250 w 240"/>
              <a:gd name="T11" fmla="*/ 284134 h 495"/>
              <a:gd name="T12" fmla="*/ 120981 w 240"/>
              <a:gd name="T13" fmla="*/ 241646 h 495"/>
              <a:gd name="T14" fmla="*/ 120981 w 240"/>
              <a:gd name="T15" fmla="*/ 212436 h 495"/>
              <a:gd name="T16" fmla="*/ 173276 w 240"/>
              <a:gd name="T17" fmla="*/ 184112 h 495"/>
              <a:gd name="T18" fmla="*/ 187325 w 240"/>
              <a:gd name="T19" fmla="*/ 156672 h 495"/>
              <a:gd name="T20" fmla="*/ 173276 w 240"/>
              <a:gd name="T21" fmla="*/ 156672 h 495"/>
              <a:gd name="T22" fmla="*/ 148299 w 240"/>
              <a:gd name="T23" fmla="*/ 141624 h 495"/>
              <a:gd name="T24" fmla="*/ 148299 w 240"/>
              <a:gd name="T25" fmla="*/ 127462 h 495"/>
              <a:gd name="T26" fmla="*/ 148299 w 240"/>
              <a:gd name="T27" fmla="*/ 114185 h 495"/>
              <a:gd name="T28" fmla="*/ 134250 w 240"/>
              <a:gd name="T29" fmla="*/ 99137 h 495"/>
              <a:gd name="T30" fmla="*/ 120981 w 240"/>
              <a:gd name="T31" fmla="*/ 99137 h 495"/>
              <a:gd name="T32" fmla="*/ 134250 w 240"/>
              <a:gd name="T33" fmla="*/ 29210 h 495"/>
              <a:gd name="T34" fmla="*/ 120981 w 240"/>
              <a:gd name="T35" fmla="*/ 0 h 495"/>
              <a:gd name="T36" fmla="*/ 107712 w 240"/>
              <a:gd name="T37" fmla="*/ 0 h 495"/>
              <a:gd name="T38" fmla="*/ 107712 w 240"/>
              <a:gd name="T39" fmla="*/ 29210 h 495"/>
              <a:gd name="T40" fmla="*/ 80394 w 240"/>
              <a:gd name="T41" fmla="*/ 29210 h 495"/>
              <a:gd name="T42" fmla="*/ 67125 w 240"/>
              <a:gd name="T43" fmla="*/ 42487 h 495"/>
              <a:gd name="T44" fmla="*/ 39807 w 240"/>
              <a:gd name="T45" fmla="*/ 99137 h 495"/>
              <a:gd name="T46" fmla="*/ 26538 w 240"/>
              <a:gd name="T47" fmla="*/ 114185 h 495"/>
              <a:gd name="T48" fmla="*/ 13269 w 240"/>
              <a:gd name="T49" fmla="*/ 141624 h 495"/>
              <a:gd name="T50" fmla="*/ 13269 w 240"/>
              <a:gd name="T51" fmla="*/ 156672 h 495"/>
              <a:gd name="T52" fmla="*/ 0 w 240"/>
              <a:gd name="T53" fmla="*/ 169949 h 495"/>
              <a:gd name="T54" fmla="*/ 26538 w 240"/>
              <a:gd name="T55" fmla="*/ 199159 h 495"/>
              <a:gd name="T56" fmla="*/ 39807 w 240"/>
              <a:gd name="T57" fmla="*/ 226599 h 495"/>
              <a:gd name="T58" fmla="*/ 53856 w 240"/>
              <a:gd name="T59" fmla="*/ 269086 h 495"/>
              <a:gd name="T60" fmla="*/ 39807 w 240"/>
              <a:gd name="T61" fmla="*/ 284134 h 495"/>
              <a:gd name="T62" fmla="*/ 67125 w 240"/>
              <a:gd name="T63" fmla="*/ 297411 h 495"/>
              <a:gd name="T64" fmla="*/ 94443 w 240"/>
              <a:gd name="T65" fmla="*/ 269086 h 495"/>
              <a:gd name="T66" fmla="*/ 107712 w 240"/>
              <a:gd name="T67" fmla="*/ 284134 h 495"/>
              <a:gd name="T68" fmla="*/ 134250 w 240"/>
              <a:gd name="T69" fmla="*/ 369108 h 495"/>
              <a:gd name="T70" fmla="*/ 134250 w 240"/>
              <a:gd name="T71" fmla="*/ 438150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chemeClr val="bg1"/>
          </a:solidFill>
          <a:ln w="9525">
            <a:solidFill>
              <a:schemeClr val="bg2"/>
            </a:solidFill>
            <a:round/>
            <a:headEnd/>
            <a:tailEnd/>
          </a:ln>
        </p:spPr>
        <p:txBody>
          <a:bodyPr/>
          <a:lstStyle/>
          <a:p>
            <a:endParaRPr lang="en-US" dirty="0"/>
          </a:p>
        </p:txBody>
      </p:sp>
      <p:sp>
        <p:nvSpPr>
          <p:cNvPr id="19624" name="Freeform 167"/>
          <p:cNvSpPr>
            <a:spLocks noChangeAspect="1"/>
          </p:cNvSpPr>
          <p:nvPr>
            <p:custDataLst>
              <p:tags r:id="rId144"/>
            </p:custDataLst>
          </p:nvPr>
        </p:nvSpPr>
        <p:spPr bwMode="auto">
          <a:xfrm>
            <a:off x="6445250" y="3414713"/>
            <a:ext cx="149225" cy="196850"/>
          </a:xfrm>
          <a:custGeom>
            <a:avLst/>
            <a:gdLst>
              <a:gd name="T0" fmla="*/ 149225 w 190"/>
              <a:gd name="T1" fmla="*/ 183668 h 224"/>
              <a:gd name="T2" fmla="*/ 149225 w 190"/>
              <a:gd name="T3" fmla="*/ 183668 h 224"/>
              <a:gd name="T4" fmla="*/ 149225 w 190"/>
              <a:gd name="T5" fmla="*/ 154668 h 224"/>
              <a:gd name="T6" fmla="*/ 122522 w 190"/>
              <a:gd name="T7" fmla="*/ 126546 h 224"/>
              <a:gd name="T8" fmla="*/ 122522 w 190"/>
              <a:gd name="T9" fmla="*/ 112486 h 224"/>
              <a:gd name="T10" fmla="*/ 68329 w 190"/>
              <a:gd name="T11" fmla="*/ 70304 h 224"/>
              <a:gd name="T12" fmla="*/ 95033 w 190"/>
              <a:gd name="T13" fmla="*/ 57122 h 224"/>
              <a:gd name="T14" fmla="*/ 81681 w 190"/>
              <a:gd name="T15" fmla="*/ 42182 h 224"/>
              <a:gd name="T16" fmla="*/ 54192 w 190"/>
              <a:gd name="T17" fmla="*/ 28121 h 224"/>
              <a:gd name="T18" fmla="*/ 40841 w 190"/>
              <a:gd name="T19" fmla="*/ 0 h 224"/>
              <a:gd name="T20" fmla="*/ 27489 w 190"/>
              <a:gd name="T21" fmla="*/ 0 h 224"/>
              <a:gd name="T22" fmla="*/ 27489 w 190"/>
              <a:gd name="T23" fmla="*/ 28121 h 224"/>
              <a:gd name="T24" fmla="*/ 14137 w 190"/>
              <a:gd name="T25" fmla="*/ 28121 h 224"/>
              <a:gd name="T26" fmla="*/ 14137 w 190"/>
              <a:gd name="T27" fmla="*/ 14940 h 224"/>
              <a:gd name="T28" fmla="*/ 0 w 190"/>
              <a:gd name="T29" fmla="*/ 42182 h 224"/>
              <a:gd name="T30" fmla="*/ 0 w 190"/>
              <a:gd name="T31" fmla="*/ 57122 h 224"/>
              <a:gd name="T32" fmla="*/ 14137 w 190"/>
              <a:gd name="T33" fmla="*/ 70304 h 224"/>
              <a:gd name="T34" fmla="*/ 14137 w 190"/>
              <a:gd name="T35" fmla="*/ 112486 h 224"/>
              <a:gd name="T36" fmla="*/ 40841 w 190"/>
              <a:gd name="T37" fmla="*/ 99304 h 224"/>
              <a:gd name="T38" fmla="*/ 68329 w 190"/>
              <a:gd name="T39" fmla="*/ 84364 h 224"/>
              <a:gd name="T40" fmla="*/ 81681 w 190"/>
              <a:gd name="T41" fmla="*/ 112486 h 224"/>
              <a:gd name="T42" fmla="*/ 95033 w 190"/>
              <a:gd name="T43" fmla="*/ 141486 h 224"/>
              <a:gd name="T44" fmla="*/ 108384 w 190"/>
              <a:gd name="T45" fmla="*/ 154668 h 224"/>
              <a:gd name="T46" fmla="*/ 108384 w 190"/>
              <a:gd name="T47" fmla="*/ 183668 h 224"/>
              <a:gd name="T48" fmla="*/ 122522 w 190"/>
              <a:gd name="T49" fmla="*/ 196850 h 224"/>
              <a:gd name="T50" fmla="*/ 122522 w 190"/>
              <a:gd name="T51" fmla="*/ 183668 h 224"/>
              <a:gd name="T52" fmla="*/ 149225 w 190"/>
              <a:gd name="T53" fmla="*/ 183668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chemeClr val="bg1"/>
          </a:solidFill>
          <a:ln w="9525">
            <a:solidFill>
              <a:schemeClr val="bg2"/>
            </a:solidFill>
            <a:round/>
            <a:headEnd/>
            <a:tailEnd/>
          </a:ln>
        </p:spPr>
        <p:txBody>
          <a:bodyPr/>
          <a:lstStyle/>
          <a:p>
            <a:endParaRPr lang="en-US" dirty="0"/>
          </a:p>
        </p:txBody>
      </p:sp>
      <p:sp>
        <p:nvSpPr>
          <p:cNvPr id="19625" name="Freeform 168"/>
          <p:cNvSpPr>
            <a:spLocks noChangeAspect="1"/>
          </p:cNvSpPr>
          <p:nvPr>
            <p:custDataLst>
              <p:tags r:id="rId145"/>
            </p:custDataLst>
          </p:nvPr>
        </p:nvSpPr>
        <p:spPr bwMode="auto">
          <a:xfrm>
            <a:off x="6486525" y="3398838"/>
            <a:ext cx="149225" cy="327025"/>
          </a:xfrm>
          <a:custGeom>
            <a:avLst/>
            <a:gdLst>
              <a:gd name="T0" fmla="*/ 0 w 190"/>
              <a:gd name="T1" fmla="*/ 14180 h 369"/>
              <a:gd name="T2" fmla="*/ 0 w 190"/>
              <a:gd name="T3" fmla="*/ 14180 h 369"/>
              <a:gd name="T4" fmla="*/ 0 w 190"/>
              <a:gd name="T5" fmla="*/ 0 h 369"/>
              <a:gd name="T6" fmla="*/ 13352 w 190"/>
              <a:gd name="T7" fmla="*/ 14180 h 369"/>
              <a:gd name="T8" fmla="*/ 67544 w 190"/>
              <a:gd name="T9" fmla="*/ 0 h 369"/>
              <a:gd name="T10" fmla="*/ 95033 w 190"/>
              <a:gd name="T11" fmla="*/ 0 h 369"/>
              <a:gd name="T12" fmla="*/ 95033 w 190"/>
              <a:gd name="T13" fmla="*/ 29246 h 369"/>
              <a:gd name="T14" fmla="*/ 122522 w 190"/>
              <a:gd name="T15" fmla="*/ 29246 h 369"/>
              <a:gd name="T16" fmla="*/ 95033 w 190"/>
              <a:gd name="T17" fmla="*/ 42540 h 369"/>
              <a:gd name="T18" fmla="*/ 81681 w 190"/>
              <a:gd name="T19" fmla="*/ 71786 h 369"/>
              <a:gd name="T20" fmla="*/ 67544 w 190"/>
              <a:gd name="T21" fmla="*/ 85080 h 369"/>
              <a:gd name="T22" fmla="*/ 135873 w 190"/>
              <a:gd name="T23" fmla="*/ 183453 h 369"/>
              <a:gd name="T24" fmla="*/ 149225 w 190"/>
              <a:gd name="T25" fmla="*/ 212699 h 369"/>
              <a:gd name="T26" fmla="*/ 135873 w 190"/>
              <a:gd name="T27" fmla="*/ 268533 h 369"/>
              <a:gd name="T28" fmla="*/ 108384 w 190"/>
              <a:gd name="T29" fmla="*/ 284485 h 369"/>
              <a:gd name="T30" fmla="*/ 95033 w 190"/>
              <a:gd name="T31" fmla="*/ 284485 h 369"/>
              <a:gd name="T32" fmla="*/ 81681 w 190"/>
              <a:gd name="T33" fmla="*/ 311073 h 369"/>
              <a:gd name="T34" fmla="*/ 54192 w 190"/>
              <a:gd name="T35" fmla="*/ 327025 h 369"/>
              <a:gd name="T36" fmla="*/ 54192 w 190"/>
              <a:gd name="T37" fmla="*/ 297779 h 369"/>
              <a:gd name="T38" fmla="*/ 40841 w 190"/>
              <a:gd name="T39" fmla="*/ 284485 h 369"/>
              <a:gd name="T40" fmla="*/ 67544 w 190"/>
              <a:gd name="T41" fmla="*/ 268533 h 369"/>
              <a:gd name="T42" fmla="*/ 81681 w 190"/>
              <a:gd name="T43" fmla="*/ 255239 h 369"/>
              <a:gd name="T44" fmla="*/ 108384 w 190"/>
              <a:gd name="T45" fmla="*/ 241945 h 369"/>
              <a:gd name="T46" fmla="*/ 108384 w 190"/>
              <a:gd name="T47" fmla="*/ 199405 h 369"/>
              <a:gd name="T48" fmla="*/ 108384 w 190"/>
              <a:gd name="T49" fmla="*/ 170159 h 369"/>
              <a:gd name="T50" fmla="*/ 81681 w 190"/>
              <a:gd name="T51" fmla="*/ 141799 h 369"/>
              <a:gd name="T52" fmla="*/ 81681 w 190"/>
              <a:gd name="T53" fmla="*/ 127620 h 369"/>
              <a:gd name="T54" fmla="*/ 27489 w 190"/>
              <a:gd name="T55" fmla="*/ 85080 h 369"/>
              <a:gd name="T56" fmla="*/ 54192 w 190"/>
              <a:gd name="T57" fmla="*/ 71786 h 369"/>
              <a:gd name="T58" fmla="*/ 40841 w 190"/>
              <a:gd name="T59" fmla="*/ 56720 h 369"/>
              <a:gd name="T60" fmla="*/ 13352 w 190"/>
              <a:gd name="T61" fmla="*/ 42540 h 369"/>
              <a:gd name="T62" fmla="*/ 0 w 190"/>
              <a:gd name="T63" fmla="*/ 14180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chemeClr val="bg1"/>
          </a:solidFill>
          <a:ln w="9525">
            <a:solidFill>
              <a:schemeClr val="bg2"/>
            </a:solidFill>
            <a:round/>
            <a:headEnd/>
            <a:tailEnd/>
          </a:ln>
        </p:spPr>
        <p:txBody>
          <a:bodyPr/>
          <a:lstStyle/>
          <a:p>
            <a:endParaRPr lang="en-US" dirty="0"/>
          </a:p>
        </p:txBody>
      </p:sp>
      <p:sp>
        <p:nvSpPr>
          <p:cNvPr id="19626" name="Freeform 169"/>
          <p:cNvSpPr>
            <a:spLocks noChangeAspect="1"/>
          </p:cNvSpPr>
          <p:nvPr>
            <p:custDataLst>
              <p:tags r:id="rId146"/>
            </p:custDataLst>
          </p:nvPr>
        </p:nvSpPr>
        <p:spPr bwMode="auto">
          <a:xfrm>
            <a:off x="5749925" y="3060700"/>
            <a:ext cx="625475" cy="677863"/>
          </a:xfrm>
          <a:custGeom>
            <a:avLst/>
            <a:gdLst>
              <a:gd name="T0" fmla="*/ 571189 w 795"/>
              <a:gd name="T1" fmla="*/ 183588 h 768"/>
              <a:gd name="T2" fmla="*/ 625475 w 795"/>
              <a:gd name="T3" fmla="*/ 211832 h 768"/>
              <a:gd name="T4" fmla="*/ 597938 w 795"/>
              <a:gd name="T5" fmla="*/ 240959 h 768"/>
              <a:gd name="T6" fmla="*/ 557814 w 795"/>
              <a:gd name="T7" fmla="*/ 310687 h 768"/>
              <a:gd name="T8" fmla="*/ 530277 w 795"/>
              <a:gd name="T9" fmla="*/ 353054 h 768"/>
              <a:gd name="T10" fmla="*/ 516902 w 795"/>
              <a:gd name="T11" fmla="*/ 325692 h 768"/>
              <a:gd name="T12" fmla="*/ 502740 w 795"/>
              <a:gd name="T13" fmla="*/ 325692 h 768"/>
              <a:gd name="T14" fmla="*/ 489365 w 795"/>
              <a:gd name="T15" fmla="*/ 310687 h 768"/>
              <a:gd name="T16" fmla="*/ 462616 w 795"/>
              <a:gd name="T17" fmla="*/ 283326 h 768"/>
              <a:gd name="T18" fmla="*/ 448454 w 795"/>
              <a:gd name="T19" fmla="*/ 254199 h 768"/>
              <a:gd name="T20" fmla="*/ 435079 w 795"/>
              <a:gd name="T21" fmla="*/ 268321 h 768"/>
              <a:gd name="T22" fmla="*/ 435079 w 795"/>
              <a:gd name="T23" fmla="*/ 296565 h 768"/>
              <a:gd name="T24" fmla="*/ 435079 w 795"/>
              <a:gd name="T25" fmla="*/ 368058 h 768"/>
              <a:gd name="T26" fmla="*/ 407542 w 795"/>
              <a:gd name="T27" fmla="*/ 368058 h 768"/>
              <a:gd name="T28" fmla="*/ 367417 w 795"/>
              <a:gd name="T29" fmla="*/ 423664 h 768"/>
              <a:gd name="T30" fmla="*/ 298969 w 795"/>
              <a:gd name="T31" fmla="*/ 495158 h 768"/>
              <a:gd name="T32" fmla="*/ 272219 w 795"/>
              <a:gd name="T33" fmla="*/ 508397 h 768"/>
              <a:gd name="T34" fmla="*/ 258058 w 795"/>
              <a:gd name="T35" fmla="*/ 521637 h 768"/>
              <a:gd name="T36" fmla="*/ 244683 w 795"/>
              <a:gd name="T37" fmla="*/ 593130 h 768"/>
              <a:gd name="T38" fmla="*/ 231308 w 795"/>
              <a:gd name="T39" fmla="*/ 648736 h 768"/>
              <a:gd name="T40" fmla="*/ 203771 w 795"/>
              <a:gd name="T41" fmla="*/ 677863 h 768"/>
              <a:gd name="T42" fmla="*/ 136110 w 795"/>
              <a:gd name="T43" fmla="*/ 537524 h 768"/>
              <a:gd name="T44" fmla="*/ 95198 w 795"/>
              <a:gd name="T45" fmla="*/ 410425 h 768"/>
              <a:gd name="T46" fmla="*/ 81823 w 795"/>
              <a:gd name="T47" fmla="*/ 381298 h 768"/>
              <a:gd name="T48" fmla="*/ 13375 w 795"/>
              <a:gd name="T49" fmla="*/ 353054 h 768"/>
              <a:gd name="T50" fmla="*/ 40912 w 795"/>
              <a:gd name="T51" fmla="*/ 338932 h 768"/>
              <a:gd name="T52" fmla="*/ 0 w 795"/>
              <a:gd name="T53" fmla="*/ 325692 h 768"/>
              <a:gd name="T54" fmla="*/ 54287 w 795"/>
              <a:gd name="T55" fmla="*/ 310687 h 768"/>
              <a:gd name="T56" fmla="*/ 54287 w 795"/>
              <a:gd name="T57" fmla="*/ 268321 h 768"/>
              <a:gd name="T58" fmla="*/ 40912 w 795"/>
              <a:gd name="T59" fmla="*/ 254199 h 768"/>
              <a:gd name="T60" fmla="*/ 27537 w 795"/>
              <a:gd name="T61" fmla="*/ 225954 h 768"/>
              <a:gd name="T62" fmla="*/ 54287 w 795"/>
              <a:gd name="T63" fmla="*/ 225954 h 768"/>
              <a:gd name="T64" fmla="*/ 149485 w 795"/>
              <a:gd name="T65" fmla="*/ 127099 h 768"/>
              <a:gd name="T66" fmla="*/ 149485 w 795"/>
              <a:gd name="T67" fmla="*/ 113860 h 768"/>
              <a:gd name="T68" fmla="*/ 122735 w 795"/>
              <a:gd name="T69" fmla="*/ 84733 h 768"/>
              <a:gd name="T70" fmla="*/ 122735 w 795"/>
              <a:gd name="T71" fmla="*/ 42366 h 768"/>
              <a:gd name="T72" fmla="*/ 162860 w 795"/>
              <a:gd name="T73" fmla="*/ 42366 h 768"/>
              <a:gd name="T74" fmla="*/ 203771 w 795"/>
              <a:gd name="T75" fmla="*/ 14122 h 768"/>
              <a:gd name="T76" fmla="*/ 258058 w 795"/>
              <a:gd name="T77" fmla="*/ 14122 h 768"/>
              <a:gd name="T78" fmla="*/ 231308 w 795"/>
              <a:gd name="T79" fmla="*/ 71493 h 768"/>
              <a:gd name="T80" fmla="*/ 217933 w 795"/>
              <a:gd name="T81" fmla="*/ 98855 h 768"/>
              <a:gd name="T82" fmla="*/ 272219 w 795"/>
              <a:gd name="T83" fmla="*/ 156226 h 768"/>
              <a:gd name="T84" fmla="*/ 285594 w 795"/>
              <a:gd name="T85" fmla="*/ 211832 h 768"/>
              <a:gd name="T86" fmla="*/ 421704 w 795"/>
              <a:gd name="T87" fmla="*/ 254199 h 768"/>
              <a:gd name="T88" fmla="*/ 421704 w 795"/>
              <a:gd name="T89" fmla="*/ 211832 h 768"/>
              <a:gd name="T90" fmla="*/ 448454 w 795"/>
              <a:gd name="T91" fmla="*/ 225954 h 768"/>
              <a:gd name="T92" fmla="*/ 502740 w 795"/>
              <a:gd name="T93" fmla="*/ 240959 h 768"/>
              <a:gd name="T94" fmla="*/ 502740 w 795"/>
              <a:gd name="T95" fmla="*/ 211832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5" h="768">
                <a:moveTo>
                  <a:pt x="726" y="208"/>
                </a:moveTo>
                <a:lnTo>
                  <a:pt x="726" y="208"/>
                </a:lnTo>
                <a:lnTo>
                  <a:pt x="760" y="208"/>
                </a:lnTo>
                <a:lnTo>
                  <a:pt x="795" y="240"/>
                </a:lnTo>
                <a:lnTo>
                  <a:pt x="795" y="273"/>
                </a:lnTo>
                <a:lnTo>
                  <a:pt x="760" y="273"/>
                </a:lnTo>
                <a:lnTo>
                  <a:pt x="743" y="288"/>
                </a:lnTo>
                <a:lnTo>
                  <a:pt x="709" y="352"/>
                </a:lnTo>
                <a:lnTo>
                  <a:pt x="691" y="369"/>
                </a:lnTo>
                <a:lnTo>
                  <a:pt x="674" y="400"/>
                </a:lnTo>
                <a:lnTo>
                  <a:pt x="674" y="417"/>
                </a:lnTo>
                <a:lnTo>
                  <a:pt x="657" y="369"/>
                </a:lnTo>
                <a:lnTo>
                  <a:pt x="657" y="352"/>
                </a:lnTo>
                <a:lnTo>
                  <a:pt x="639" y="369"/>
                </a:lnTo>
                <a:lnTo>
                  <a:pt x="622" y="369"/>
                </a:lnTo>
                <a:lnTo>
                  <a:pt x="622" y="352"/>
                </a:lnTo>
                <a:lnTo>
                  <a:pt x="657" y="321"/>
                </a:lnTo>
                <a:lnTo>
                  <a:pt x="588" y="321"/>
                </a:lnTo>
                <a:lnTo>
                  <a:pt x="588" y="288"/>
                </a:lnTo>
                <a:lnTo>
                  <a:pt x="570" y="288"/>
                </a:lnTo>
                <a:lnTo>
                  <a:pt x="553" y="288"/>
                </a:lnTo>
                <a:lnTo>
                  <a:pt x="553" y="304"/>
                </a:lnTo>
                <a:lnTo>
                  <a:pt x="536" y="336"/>
                </a:lnTo>
                <a:lnTo>
                  <a:pt x="553" y="336"/>
                </a:lnTo>
                <a:lnTo>
                  <a:pt x="570" y="417"/>
                </a:lnTo>
                <a:lnTo>
                  <a:pt x="553" y="417"/>
                </a:lnTo>
                <a:lnTo>
                  <a:pt x="553" y="400"/>
                </a:lnTo>
                <a:lnTo>
                  <a:pt x="518" y="417"/>
                </a:lnTo>
                <a:lnTo>
                  <a:pt x="501" y="465"/>
                </a:lnTo>
                <a:lnTo>
                  <a:pt x="467" y="480"/>
                </a:lnTo>
                <a:lnTo>
                  <a:pt x="380" y="544"/>
                </a:lnTo>
                <a:lnTo>
                  <a:pt x="380" y="561"/>
                </a:lnTo>
                <a:lnTo>
                  <a:pt x="363" y="561"/>
                </a:lnTo>
                <a:lnTo>
                  <a:pt x="346" y="576"/>
                </a:lnTo>
                <a:lnTo>
                  <a:pt x="328" y="576"/>
                </a:lnTo>
                <a:lnTo>
                  <a:pt x="328" y="591"/>
                </a:lnTo>
                <a:lnTo>
                  <a:pt x="328" y="639"/>
                </a:lnTo>
                <a:lnTo>
                  <a:pt x="311" y="672"/>
                </a:lnTo>
                <a:lnTo>
                  <a:pt x="311" y="720"/>
                </a:lnTo>
                <a:lnTo>
                  <a:pt x="294" y="735"/>
                </a:lnTo>
                <a:lnTo>
                  <a:pt x="277" y="753"/>
                </a:lnTo>
                <a:lnTo>
                  <a:pt x="259" y="768"/>
                </a:lnTo>
                <a:lnTo>
                  <a:pt x="225" y="753"/>
                </a:lnTo>
                <a:lnTo>
                  <a:pt x="173" y="609"/>
                </a:lnTo>
                <a:lnTo>
                  <a:pt x="138" y="561"/>
                </a:lnTo>
                <a:lnTo>
                  <a:pt x="121" y="465"/>
                </a:lnTo>
                <a:lnTo>
                  <a:pt x="121" y="400"/>
                </a:lnTo>
                <a:lnTo>
                  <a:pt x="104" y="432"/>
                </a:lnTo>
                <a:lnTo>
                  <a:pt x="69" y="448"/>
                </a:lnTo>
                <a:lnTo>
                  <a:pt x="17" y="400"/>
                </a:lnTo>
                <a:lnTo>
                  <a:pt x="52" y="400"/>
                </a:lnTo>
                <a:lnTo>
                  <a:pt x="52" y="384"/>
                </a:lnTo>
                <a:lnTo>
                  <a:pt x="35" y="384"/>
                </a:lnTo>
                <a:lnTo>
                  <a:pt x="0" y="369"/>
                </a:lnTo>
                <a:lnTo>
                  <a:pt x="17" y="352"/>
                </a:lnTo>
                <a:lnTo>
                  <a:pt x="69" y="352"/>
                </a:lnTo>
                <a:lnTo>
                  <a:pt x="69" y="336"/>
                </a:lnTo>
                <a:lnTo>
                  <a:pt x="69" y="304"/>
                </a:lnTo>
                <a:lnTo>
                  <a:pt x="52" y="304"/>
                </a:lnTo>
                <a:lnTo>
                  <a:pt x="52" y="288"/>
                </a:lnTo>
                <a:lnTo>
                  <a:pt x="35" y="288"/>
                </a:lnTo>
                <a:lnTo>
                  <a:pt x="35" y="256"/>
                </a:lnTo>
                <a:lnTo>
                  <a:pt x="52" y="240"/>
                </a:lnTo>
                <a:lnTo>
                  <a:pt x="69" y="256"/>
                </a:lnTo>
                <a:lnTo>
                  <a:pt x="104" y="240"/>
                </a:lnTo>
                <a:lnTo>
                  <a:pt x="190" y="144"/>
                </a:lnTo>
                <a:lnTo>
                  <a:pt x="173" y="129"/>
                </a:lnTo>
                <a:lnTo>
                  <a:pt x="190" y="129"/>
                </a:lnTo>
                <a:lnTo>
                  <a:pt x="190" y="112"/>
                </a:lnTo>
                <a:lnTo>
                  <a:pt x="156" y="96"/>
                </a:lnTo>
                <a:lnTo>
                  <a:pt x="173" y="64"/>
                </a:lnTo>
                <a:lnTo>
                  <a:pt x="156" y="48"/>
                </a:lnTo>
                <a:lnTo>
                  <a:pt x="173" y="33"/>
                </a:lnTo>
                <a:lnTo>
                  <a:pt x="207" y="48"/>
                </a:lnTo>
                <a:lnTo>
                  <a:pt x="242" y="33"/>
                </a:lnTo>
                <a:lnTo>
                  <a:pt x="259" y="16"/>
                </a:lnTo>
                <a:lnTo>
                  <a:pt x="311" y="0"/>
                </a:lnTo>
                <a:lnTo>
                  <a:pt x="328" y="16"/>
                </a:lnTo>
                <a:lnTo>
                  <a:pt x="328" y="48"/>
                </a:lnTo>
                <a:lnTo>
                  <a:pt x="294" y="81"/>
                </a:lnTo>
                <a:lnTo>
                  <a:pt x="311" y="112"/>
                </a:lnTo>
                <a:lnTo>
                  <a:pt x="277" y="112"/>
                </a:lnTo>
                <a:lnTo>
                  <a:pt x="294" y="160"/>
                </a:lnTo>
                <a:lnTo>
                  <a:pt x="346" y="177"/>
                </a:lnTo>
                <a:lnTo>
                  <a:pt x="328" y="225"/>
                </a:lnTo>
                <a:lnTo>
                  <a:pt x="363" y="240"/>
                </a:lnTo>
                <a:lnTo>
                  <a:pt x="518" y="288"/>
                </a:lnTo>
                <a:lnTo>
                  <a:pt x="536" y="288"/>
                </a:lnTo>
                <a:lnTo>
                  <a:pt x="536" y="273"/>
                </a:lnTo>
                <a:lnTo>
                  <a:pt x="536" y="240"/>
                </a:lnTo>
                <a:lnTo>
                  <a:pt x="553" y="240"/>
                </a:lnTo>
                <a:lnTo>
                  <a:pt x="570" y="256"/>
                </a:lnTo>
                <a:lnTo>
                  <a:pt x="570" y="273"/>
                </a:lnTo>
                <a:lnTo>
                  <a:pt x="639" y="273"/>
                </a:lnTo>
                <a:lnTo>
                  <a:pt x="657" y="273"/>
                </a:lnTo>
                <a:lnTo>
                  <a:pt x="639" y="240"/>
                </a:lnTo>
                <a:lnTo>
                  <a:pt x="726" y="208"/>
                </a:lnTo>
                <a:close/>
              </a:path>
            </a:pathLst>
          </a:custGeom>
          <a:solidFill>
            <a:srgbClr val="000080"/>
          </a:solidFill>
          <a:ln w="9525">
            <a:solidFill>
              <a:schemeClr val="bg2"/>
            </a:solidFill>
            <a:round/>
            <a:headEnd/>
            <a:tailEnd/>
          </a:ln>
        </p:spPr>
        <p:txBody>
          <a:bodyPr/>
          <a:lstStyle/>
          <a:p>
            <a:endParaRPr lang="en-US" dirty="0"/>
          </a:p>
        </p:txBody>
      </p:sp>
      <p:sp>
        <p:nvSpPr>
          <p:cNvPr id="19627" name="Freeform 170"/>
          <p:cNvSpPr>
            <a:spLocks noChangeAspect="1"/>
          </p:cNvSpPr>
          <p:nvPr>
            <p:custDataLst>
              <p:tags r:id="rId147"/>
            </p:custDataLst>
          </p:nvPr>
        </p:nvSpPr>
        <p:spPr bwMode="auto">
          <a:xfrm>
            <a:off x="6445250" y="3767138"/>
            <a:ext cx="80963" cy="127000"/>
          </a:xfrm>
          <a:custGeom>
            <a:avLst/>
            <a:gdLst>
              <a:gd name="T0" fmla="*/ 40482 w 104"/>
              <a:gd name="T1" fmla="*/ 13229 h 144"/>
              <a:gd name="T2" fmla="*/ 40482 w 104"/>
              <a:gd name="T3" fmla="*/ 13229 h 144"/>
              <a:gd name="T4" fmla="*/ 27247 w 104"/>
              <a:gd name="T5" fmla="*/ 26458 h 144"/>
              <a:gd name="T6" fmla="*/ 14013 w 104"/>
              <a:gd name="T7" fmla="*/ 13229 h 144"/>
              <a:gd name="T8" fmla="*/ 0 w 104"/>
              <a:gd name="T9" fmla="*/ 0 h 144"/>
              <a:gd name="T10" fmla="*/ 0 w 104"/>
              <a:gd name="T11" fmla="*/ 13229 h 144"/>
              <a:gd name="T12" fmla="*/ 0 w 104"/>
              <a:gd name="T13" fmla="*/ 55562 h 144"/>
              <a:gd name="T14" fmla="*/ 27247 w 104"/>
              <a:gd name="T15" fmla="*/ 84667 h 144"/>
              <a:gd name="T16" fmla="*/ 67729 w 104"/>
              <a:gd name="T17" fmla="*/ 127000 h 144"/>
              <a:gd name="T18" fmla="*/ 80963 w 104"/>
              <a:gd name="T19" fmla="*/ 127000 h 144"/>
              <a:gd name="T20" fmla="*/ 67729 w 104"/>
              <a:gd name="T21" fmla="*/ 84667 h 144"/>
              <a:gd name="T22" fmla="*/ 67729 w 104"/>
              <a:gd name="T23" fmla="*/ 42333 h 144"/>
              <a:gd name="T24" fmla="*/ 40482 w 104"/>
              <a:gd name="T25" fmla="*/ 13229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chemeClr val="bg1"/>
          </a:solidFill>
          <a:ln w="9525">
            <a:solidFill>
              <a:schemeClr val="bg2"/>
            </a:solidFill>
            <a:round/>
            <a:headEnd/>
            <a:tailEnd/>
          </a:ln>
        </p:spPr>
        <p:txBody>
          <a:bodyPr/>
          <a:lstStyle/>
          <a:p>
            <a:endParaRPr lang="en-US" dirty="0"/>
          </a:p>
        </p:txBody>
      </p:sp>
      <p:sp>
        <p:nvSpPr>
          <p:cNvPr id="19628" name="Freeform 171"/>
          <p:cNvSpPr>
            <a:spLocks noChangeAspect="1"/>
          </p:cNvSpPr>
          <p:nvPr>
            <p:custDataLst>
              <p:tags r:id="rId148"/>
            </p:custDataLst>
          </p:nvPr>
        </p:nvSpPr>
        <p:spPr bwMode="auto">
          <a:xfrm>
            <a:off x="6391275" y="3455988"/>
            <a:ext cx="161925" cy="339725"/>
          </a:xfrm>
          <a:custGeom>
            <a:avLst/>
            <a:gdLst>
              <a:gd name="T0" fmla="*/ 53975 w 207"/>
              <a:gd name="T1" fmla="*/ 0 h 383"/>
              <a:gd name="T2" fmla="*/ 53975 w 207"/>
              <a:gd name="T3" fmla="*/ 0 h 383"/>
              <a:gd name="T4" fmla="*/ 0 w 207"/>
              <a:gd name="T5" fmla="*/ 28384 h 383"/>
              <a:gd name="T6" fmla="*/ 0 w 207"/>
              <a:gd name="T7" fmla="*/ 57656 h 383"/>
              <a:gd name="T8" fmla="*/ 13298 w 207"/>
              <a:gd name="T9" fmla="*/ 100232 h 383"/>
              <a:gd name="T10" fmla="*/ 13298 w 207"/>
              <a:gd name="T11" fmla="*/ 126843 h 383"/>
              <a:gd name="T12" fmla="*/ 27379 w 207"/>
              <a:gd name="T13" fmla="*/ 156114 h 383"/>
              <a:gd name="T14" fmla="*/ 40677 w 207"/>
              <a:gd name="T15" fmla="*/ 198690 h 383"/>
              <a:gd name="T16" fmla="*/ 13298 w 207"/>
              <a:gd name="T17" fmla="*/ 254572 h 383"/>
              <a:gd name="T18" fmla="*/ 13298 w 207"/>
              <a:gd name="T19" fmla="*/ 270538 h 383"/>
              <a:gd name="T20" fmla="*/ 13298 w 207"/>
              <a:gd name="T21" fmla="*/ 283843 h 383"/>
              <a:gd name="T22" fmla="*/ 53975 w 207"/>
              <a:gd name="T23" fmla="*/ 326420 h 383"/>
              <a:gd name="T24" fmla="*/ 53975 w 207"/>
              <a:gd name="T25" fmla="*/ 313115 h 383"/>
              <a:gd name="T26" fmla="*/ 68055 w 207"/>
              <a:gd name="T27" fmla="*/ 326420 h 383"/>
              <a:gd name="T28" fmla="*/ 81354 w 207"/>
              <a:gd name="T29" fmla="*/ 339725 h 383"/>
              <a:gd name="T30" fmla="*/ 94652 w 207"/>
              <a:gd name="T31" fmla="*/ 326420 h 383"/>
              <a:gd name="T32" fmla="*/ 81354 w 207"/>
              <a:gd name="T33" fmla="*/ 313115 h 383"/>
              <a:gd name="T34" fmla="*/ 53975 w 207"/>
              <a:gd name="T35" fmla="*/ 313115 h 383"/>
              <a:gd name="T36" fmla="*/ 40677 w 207"/>
              <a:gd name="T37" fmla="*/ 254572 h 383"/>
              <a:gd name="T38" fmla="*/ 27379 w 207"/>
              <a:gd name="T39" fmla="*/ 254572 h 383"/>
              <a:gd name="T40" fmla="*/ 27379 w 207"/>
              <a:gd name="T41" fmla="*/ 241267 h 383"/>
              <a:gd name="T42" fmla="*/ 40677 w 207"/>
              <a:gd name="T43" fmla="*/ 198690 h 383"/>
              <a:gd name="T44" fmla="*/ 40677 w 207"/>
              <a:gd name="T45" fmla="*/ 169419 h 383"/>
              <a:gd name="T46" fmla="*/ 68055 w 207"/>
              <a:gd name="T47" fmla="*/ 169419 h 383"/>
              <a:gd name="T48" fmla="*/ 68055 w 207"/>
              <a:gd name="T49" fmla="*/ 185385 h 383"/>
              <a:gd name="T50" fmla="*/ 81354 w 207"/>
              <a:gd name="T51" fmla="*/ 185385 h 383"/>
              <a:gd name="T52" fmla="*/ 107950 w 207"/>
              <a:gd name="T53" fmla="*/ 211995 h 383"/>
              <a:gd name="T54" fmla="*/ 107950 w 207"/>
              <a:gd name="T55" fmla="*/ 198690 h 383"/>
              <a:gd name="T56" fmla="*/ 94652 w 207"/>
              <a:gd name="T57" fmla="*/ 169419 h 383"/>
              <a:gd name="T58" fmla="*/ 107950 w 207"/>
              <a:gd name="T59" fmla="*/ 142809 h 383"/>
              <a:gd name="T60" fmla="*/ 161925 w 207"/>
              <a:gd name="T61" fmla="*/ 142809 h 383"/>
              <a:gd name="T62" fmla="*/ 161925 w 207"/>
              <a:gd name="T63" fmla="*/ 113537 h 383"/>
              <a:gd name="T64" fmla="*/ 148627 w 207"/>
              <a:gd name="T65" fmla="*/ 100232 h 383"/>
              <a:gd name="T66" fmla="*/ 135329 w 207"/>
              <a:gd name="T67" fmla="*/ 70961 h 383"/>
              <a:gd name="T68" fmla="*/ 122030 w 207"/>
              <a:gd name="T69" fmla="*/ 42577 h 383"/>
              <a:gd name="T70" fmla="*/ 94652 w 207"/>
              <a:gd name="T71" fmla="*/ 57656 h 383"/>
              <a:gd name="T72" fmla="*/ 68055 w 207"/>
              <a:gd name="T73" fmla="*/ 70961 h 383"/>
              <a:gd name="T74" fmla="*/ 68055 w 207"/>
              <a:gd name="T75" fmla="*/ 28384 h 383"/>
              <a:gd name="T76" fmla="*/ 53975 w 207"/>
              <a:gd name="T77" fmla="*/ 15079 h 383"/>
              <a:gd name="T78" fmla="*/ 53975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chemeClr val="bg1"/>
          </a:solidFill>
          <a:ln w="9525">
            <a:solidFill>
              <a:schemeClr val="bg2"/>
            </a:solidFill>
            <a:round/>
            <a:headEnd/>
            <a:tailEnd/>
          </a:ln>
        </p:spPr>
        <p:txBody>
          <a:bodyPr/>
          <a:lstStyle/>
          <a:p>
            <a:endParaRPr lang="en-US" dirty="0"/>
          </a:p>
        </p:txBody>
      </p:sp>
      <p:sp>
        <p:nvSpPr>
          <p:cNvPr id="19629" name="Freeform 172"/>
          <p:cNvSpPr>
            <a:spLocks noChangeAspect="1"/>
          </p:cNvSpPr>
          <p:nvPr/>
        </p:nvSpPr>
        <p:spPr bwMode="auto">
          <a:xfrm>
            <a:off x="6200775" y="3273425"/>
            <a:ext cx="66675" cy="26988"/>
          </a:xfrm>
          <a:custGeom>
            <a:avLst/>
            <a:gdLst>
              <a:gd name="T0" fmla="*/ 54124 w 85"/>
              <a:gd name="T1" fmla="*/ 0 h 33"/>
              <a:gd name="T2" fmla="*/ 54124 w 85"/>
              <a:gd name="T3" fmla="*/ 0 h 33"/>
              <a:gd name="T4" fmla="*/ 14119 w 85"/>
              <a:gd name="T5" fmla="*/ 0 h 33"/>
              <a:gd name="T6" fmla="*/ 0 w 85"/>
              <a:gd name="T7" fmla="*/ 13085 h 33"/>
              <a:gd name="T8" fmla="*/ 0 w 85"/>
              <a:gd name="T9" fmla="*/ 26988 h 33"/>
              <a:gd name="T10" fmla="*/ 54124 w 85"/>
              <a:gd name="T11" fmla="*/ 26988 h 33"/>
              <a:gd name="T12" fmla="*/ 66675 w 85"/>
              <a:gd name="T13" fmla="*/ 26988 h 33"/>
              <a:gd name="T14" fmla="*/ 54124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chemeClr val="bg1"/>
          </a:solidFill>
          <a:ln w="9525">
            <a:solidFill>
              <a:schemeClr val="bg2"/>
            </a:solidFill>
            <a:round/>
            <a:headEnd/>
            <a:tailEnd/>
          </a:ln>
        </p:spPr>
        <p:txBody>
          <a:bodyPr/>
          <a:lstStyle/>
          <a:p>
            <a:endParaRPr lang="en-US" dirty="0"/>
          </a:p>
        </p:txBody>
      </p:sp>
      <p:sp>
        <p:nvSpPr>
          <p:cNvPr id="19630" name="Freeform 173"/>
          <p:cNvSpPr>
            <a:spLocks noChangeAspect="1"/>
          </p:cNvSpPr>
          <p:nvPr/>
        </p:nvSpPr>
        <p:spPr bwMode="auto">
          <a:xfrm>
            <a:off x="6010275" y="3217863"/>
            <a:ext cx="163513" cy="96837"/>
          </a:xfrm>
          <a:custGeom>
            <a:avLst/>
            <a:gdLst>
              <a:gd name="T0" fmla="*/ 14015 w 210"/>
              <a:gd name="T1" fmla="*/ 0 h 111"/>
              <a:gd name="T2" fmla="*/ 14015 w 210"/>
              <a:gd name="T3" fmla="*/ 0 h 111"/>
              <a:gd name="T4" fmla="*/ 0 w 210"/>
              <a:gd name="T5" fmla="*/ 41875 h 111"/>
              <a:gd name="T6" fmla="*/ 27252 w 210"/>
              <a:gd name="T7" fmla="*/ 54962 h 111"/>
              <a:gd name="T8" fmla="*/ 149498 w 210"/>
              <a:gd name="T9" fmla="*/ 96837 h 111"/>
              <a:gd name="T10" fmla="*/ 163513 w 210"/>
              <a:gd name="T11" fmla="*/ 96837 h 111"/>
              <a:gd name="T12" fmla="*/ 163513 w 210"/>
              <a:gd name="T13" fmla="*/ 83751 h 111"/>
              <a:gd name="T14" fmla="*/ 163513 w 210"/>
              <a:gd name="T15" fmla="*/ 54962 h 111"/>
              <a:gd name="T16" fmla="*/ 123024 w 210"/>
              <a:gd name="T17" fmla="*/ 54962 h 111"/>
              <a:gd name="T18" fmla="*/ 94215 w 210"/>
              <a:gd name="T19" fmla="*/ 41875 h 111"/>
              <a:gd name="T20" fmla="*/ 80978 w 210"/>
              <a:gd name="T21" fmla="*/ 27045 h 111"/>
              <a:gd name="T22" fmla="*/ 67741 w 210"/>
              <a:gd name="T23" fmla="*/ 27045 h 111"/>
              <a:gd name="T24" fmla="*/ 40489 w 210"/>
              <a:gd name="T25" fmla="*/ 0 h 111"/>
              <a:gd name="T26" fmla="*/ 1401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chemeClr val="bg1"/>
          </a:solidFill>
          <a:ln w="9525">
            <a:solidFill>
              <a:schemeClr val="bg2"/>
            </a:solidFill>
            <a:round/>
            <a:headEnd/>
            <a:tailEnd/>
          </a:ln>
        </p:spPr>
        <p:txBody>
          <a:bodyPr/>
          <a:lstStyle/>
          <a:p>
            <a:endParaRPr lang="en-US" dirty="0"/>
          </a:p>
        </p:txBody>
      </p:sp>
      <p:sp>
        <p:nvSpPr>
          <p:cNvPr id="19631" name="Freeform 174"/>
          <p:cNvSpPr>
            <a:spLocks noChangeAspect="1"/>
          </p:cNvSpPr>
          <p:nvPr/>
        </p:nvSpPr>
        <p:spPr bwMode="auto">
          <a:xfrm>
            <a:off x="7005638" y="2990850"/>
            <a:ext cx="68262" cy="111125"/>
          </a:xfrm>
          <a:custGeom>
            <a:avLst/>
            <a:gdLst>
              <a:gd name="T0" fmla="*/ 0 w 86"/>
              <a:gd name="T1" fmla="*/ 27781 h 128"/>
              <a:gd name="T2" fmla="*/ 0 w 86"/>
              <a:gd name="T3" fmla="*/ 27781 h 128"/>
              <a:gd name="T4" fmla="*/ 40481 w 86"/>
              <a:gd name="T5" fmla="*/ 0 h 128"/>
              <a:gd name="T6" fmla="*/ 54768 w 86"/>
              <a:gd name="T7" fmla="*/ 27781 h 128"/>
              <a:gd name="T8" fmla="*/ 68262 w 86"/>
              <a:gd name="T9" fmla="*/ 69453 h 128"/>
              <a:gd name="T10" fmla="*/ 54768 w 86"/>
              <a:gd name="T11" fmla="*/ 98103 h 128"/>
              <a:gd name="T12" fmla="*/ 0 w 86"/>
              <a:gd name="T13" fmla="*/ 111125 h 128"/>
              <a:gd name="T14" fmla="*/ 0 w 86"/>
              <a:gd name="T15" fmla="*/ 98103 h 128"/>
              <a:gd name="T16" fmla="*/ 0 w 86"/>
              <a:gd name="T17" fmla="*/ 83344 h 128"/>
              <a:gd name="T18" fmla="*/ 0 w 86"/>
              <a:gd name="T19" fmla="*/ 41672 h 128"/>
              <a:gd name="T20" fmla="*/ 0 w 86"/>
              <a:gd name="T21" fmla="*/ 27781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chemeClr val="bg1"/>
          </a:solidFill>
          <a:ln w="9525">
            <a:solidFill>
              <a:schemeClr val="bg2"/>
            </a:solidFill>
            <a:round/>
            <a:headEnd/>
            <a:tailEnd/>
          </a:ln>
        </p:spPr>
        <p:txBody>
          <a:bodyPr/>
          <a:lstStyle/>
          <a:p>
            <a:endParaRPr lang="en-US" dirty="0"/>
          </a:p>
        </p:txBody>
      </p:sp>
      <p:sp>
        <p:nvSpPr>
          <p:cNvPr id="19632" name="Freeform 175"/>
          <p:cNvSpPr>
            <a:spLocks noChangeAspect="1"/>
          </p:cNvSpPr>
          <p:nvPr/>
        </p:nvSpPr>
        <p:spPr bwMode="auto">
          <a:xfrm>
            <a:off x="6962775" y="2878138"/>
            <a:ext cx="138113" cy="139700"/>
          </a:xfrm>
          <a:custGeom>
            <a:avLst/>
            <a:gdLst>
              <a:gd name="T0" fmla="*/ 138113 w 172"/>
              <a:gd name="T1" fmla="*/ 0 h 159"/>
              <a:gd name="T2" fmla="*/ 138113 w 172"/>
              <a:gd name="T3" fmla="*/ 0 h 159"/>
              <a:gd name="T4" fmla="*/ 124462 w 172"/>
              <a:gd name="T5" fmla="*/ 0 h 159"/>
              <a:gd name="T6" fmla="*/ 97161 w 172"/>
              <a:gd name="T7" fmla="*/ 14058 h 159"/>
              <a:gd name="T8" fmla="*/ 82707 w 172"/>
              <a:gd name="T9" fmla="*/ 14058 h 159"/>
              <a:gd name="T10" fmla="*/ 69057 w 172"/>
              <a:gd name="T11" fmla="*/ 27237 h 159"/>
              <a:gd name="T12" fmla="*/ 55406 w 172"/>
              <a:gd name="T13" fmla="*/ 27237 h 159"/>
              <a:gd name="T14" fmla="*/ 0 w 172"/>
              <a:gd name="T15" fmla="*/ 69411 h 159"/>
              <a:gd name="T16" fmla="*/ 0 w 172"/>
              <a:gd name="T17" fmla="*/ 84347 h 159"/>
              <a:gd name="T18" fmla="*/ 13651 w 172"/>
              <a:gd name="T19" fmla="*/ 84347 h 159"/>
              <a:gd name="T20" fmla="*/ 0 w 172"/>
              <a:gd name="T21" fmla="*/ 126521 h 159"/>
              <a:gd name="T22" fmla="*/ 13651 w 172"/>
              <a:gd name="T23" fmla="*/ 139700 h 159"/>
              <a:gd name="T24" fmla="*/ 27301 w 172"/>
              <a:gd name="T25" fmla="*/ 139700 h 159"/>
              <a:gd name="T26" fmla="*/ 41755 w 172"/>
              <a:gd name="T27" fmla="*/ 139700 h 159"/>
              <a:gd name="T28" fmla="*/ 82707 w 172"/>
              <a:gd name="T29" fmla="*/ 111584 h 159"/>
              <a:gd name="T30" fmla="*/ 55406 w 172"/>
              <a:gd name="T31" fmla="*/ 98405 h 159"/>
              <a:gd name="T32" fmla="*/ 55406 w 172"/>
              <a:gd name="T33" fmla="*/ 84347 h 159"/>
              <a:gd name="T34" fmla="*/ 110812 w 172"/>
              <a:gd name="T35" fmla="*/ 56231 h 159"/>
              <a:gd name="T36" fmla="*/ 110812 w 172"/>
              <a:gd name="T37" fmla="*/ 27237 h 159"/>
              <a:gd name="T38" fmla="*/ 138113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chemeClr val="bg1"/>
          </a:solidFill>
          <a:ln w="9525">
            <a:solidFill>
              <a:schemeClr val="bg2"/>
            </a:solidFill>
            <a:prstDash val="solid"/>
            <a:round/>
            <a:headEnd/>
            <a:tailEnd/>
          </a:ln>
        </p:spPr>
        <p:txBody>
          <a:bodyPr/>
          <a:lstStyle/>
          <a:p>
            <a:endParaRPr lang="en-US" dirty="0"/>
          </a:p>
        </p:txBody>
      </p:sp>
      <p:sp>
        <p:nvSpPr>
          <p:cNvPr id="19633" name="Freeform 176"/>
          <p:cNvSpPr>
            <a:spLocks noChangeAspect="1"/>
          </p:cNvSpPr>
          <p:nvPr/>
        </p:nvSpPr>
        <p:spPr bwMode="auto">
          <a:xfrm>
            <a:off x="7073900" y="3116263"/>
            <a:ext cx="53975" cy="85725"/>
          </a:xfrm>
          <a:custGeom>
            <a:avLst/>
            <a:gdLst>
              <a:gd name="T0" fmla="*/ 0 w 69"/>
              <a:gd name="T1" fmla="*/ 15180 h 96"/>
              <a:gd name="T2" fmla="*/ 0 w 69"/>
              <a:gd name="T3" fmla="*/ 15180 h 96"/>
              <a:gd name="T4" fmla="*/ 0 w 69"/>
              <a:gd name="T5" fmla="*/ 28575 h 96"/>
              <a:gd name="T6" fmla="*/ 13298 w 69"/>
              <a:gd name="T7" fmla="*/ 28575 h 96"/>
              <a:gd name="T8" fmla="*/ 13298 w 69"/>
              <a:gd name="T9" fmla="*/ 71438 h 96"/>
              <a:gd name="T10" fmla="*/ 26596 w 69"/>
              <a:gd name="T11" fmla="*/ 85725 h 96"/>
              <a:gd name="T12" fmla="*/ 40677 w 69"/>
              <a:gd name="T13" fmla="*/ 71438 h 96"/>
              <a:gd name="T14" fmla="*/ 53975 w 69"/>
              <a:gd name="T15" fmla="*/ 28575 h 96"/>
              <a:gd name="T16" fmla="*/ 40677 w 69"/>
              <a:gd name="T17" fmla="*/ 15180 h 96"/>
              <a:gd name="T18" fmla="*/ 13298 w 69"/>
              <a:gd name="T19" fmla="*/ 0 h 96"/>
              <a:gd name="T20" fmla="*/ 0 w 69"/>
              <a:gd name="T21" fmla="*/ 1518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rgbClr val="000080"/>
          </a:solidFill>
          <a:ln w="9525">
            <a:solidFill>
              <a:schemeClr val="bg2"/>
            </a:solidFill>
            <a:prstDash val="solid"/>
            <a:round/>
            <a:headEnd/>
            <a:tailEnd/>
          </a:ln>
        </p:spPr>
        <p:txBody>
          <a:bodyPr/>
          <a:lstStyle/>
          <a:p>
            <a:endParaRPr lang="en-US" dirty="0"/>
          </a:p>
        </p:txBody>
      </p:sp>
      <p:sp>
        <p:nvSpPr>
          <p:cNvPr id="19634" name="Freeform 177"/>
          <p:cNvSpPr>
            <a:spLocks noChangeAspect="1"/>
          </p:cNvSpPr>
          <p:nvPr/>
        </p:nvSpPr>
        <p:spPr bwMode="auto">
          <a:xfrm>
            <a:off x="7127875" y="3116263"/>
            <a:ext cx="57150" cy="30162"/>
          </a:xfrm>
          <a:custGeom>
            <a:avLst/>
            <a:gdLst>
              <a:gd name="T0" fmla="*/ 0 w 71"/>
              <a:gd name="T1" fmla="*/ 16024 h 32"/>
              <a:gd name="T2" fmla="*/ 0 w 71"/>
              <a:gd name="T3" fmla="*/ 16024 h 32"/>
              <a:gd name="T4" fmla="*/ 0 w 71"/>
              <a:gd name="T5" fmla="*/ 30162 h 32"/>
              <a:gd name="T6" fmla="*/ 13684 w 71"/>
              <a:gd name="T7" fmla="*/ 30162 h 32"/>
              <a:gd name="T8" fmla="*/ 28173 w 71"/>
              <a:gd name="T9" fmla="*/ 16024 h 32"/>
              <a:gd name="T10" fmla="*/ 43466 w 71"/>
              <a:gd name="T11" fmla="*/ 16024 h 32"/>
              <a:gd name="T12" fmla="*/ 57150 w 71"/>
              <a:gd name="T13" fmla="*/ 0 h 32"/>
              <a:gd name="T14" fmla="*/ 28173 w 71"/>
              <a:gd name="T15" fmla="*/ 0 h 32"/>
              <a:gd name="T16" fmla="*/ 0 w 71"/>
              <a:gd name="T17" fmla="*/ 16024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rgbClr val="000080"/>
          </a:solidFill>
          <a:ln w="9525">
            <a:solidFill>
              <a:schemeClr val="bg2"/>
            </a:solidFill>
            <a:prstDash val="solid"/>
            <a:round/>
            <a:headEnd/>
            <a:tailEnd/>
          </a:ln>
        </p:spPr>
        <p:txBody>
          <a:bodyPr/>
          <a:lstStyle/>
          <a:p>
            <a:endParaRPr lang="en-US" dirty="0"/>
          </a:p>
        </p:txBody>
      </p:sp>
      <p:sp>
        <p:nvSpPr>
          <p:cNvPr id="19635" name="Freeform 178"/>
          <p:cNvSpPr>
            <a:spLocks noChangeAspect="1"/>
          </p:cNvSpPr>
          <p:nvPr/>
        </p:nvSpPr>
        <p:spPr bwMode="auto">
          <a:xfrm>
            <a:off x="7104063" y="2906713"/>
            <a:ext cx="231775" cy="227012"/>
          </a:xfrm>
          <a:custGeom>
            <a:avLst/>
            <a:gdLst>
              <a:gd name="T0" fmla="*/ 0 w 294"/>
              <a:gd name="T1" fmla="*/ 197863 h 257"/>
              <a:gd name="T2" fmla="*/ 0 w 294"/>
              <a:gd name="T3" fmla="*/ 197863 h 257"/>
              <a:gd name="T4" fmla="*/ 0 w 294"/>
              <a:gd name="T5" fmla="*/ 211996 h 257"/>
              <a:gd name="T6" fmla="*/ 27592 w 294"/>
              <a:gd name="T7" fmla="*/ 211996 h 257"/>
              <a:gd name="T8" fmla="*/ 81988 w 294"/>
              <a:gd name="T9" fmla="*/ 184613 h 257"/>
              <a:gd name="T10" fmla="*/ 95390 w 294"/>
              <a:gd name="T11" fmla="*/ 197863 h 257"/>
              <a:gd name="T12" fmla="*/ 95390 w 294"/>
              <a:gd name="T13" fmla="*/ 211996 h 257"/>
              <a:gd name="T14" fmla="*/ 109581 w 294"/>
              <a:gd name="T15" fmla="*/ 227012 h 257"/>
              <a:gd name="T16" fmla="*/ 122983 w 294"/>
              <a:gd name="T17" fmla="*/ 197863 h 257"/>
              <a:gd name="T18" fmla="*/ 122983 w 294"/>
              <a:gd name="T19" fmla="*/ 184613 h 257"/>
              <a:gd name="T20" fmla="*/ 136385 w 294"/>
              <a:gd name="T21" fmla="*/ 197863 h 257"/>
              <a:gd name="T22" fmla="*/ 149787 w 294"/>
              <a:gd name="T23" fmla="*/ 197863 h 257"/>
              <a:gd name="T24" fmla="*/ 163977 w 294"/>
              <a:gd name="T25" fmla="*/ 184613 h 257"/>
              <a:gd name="T26" fmla="*/ 177379 w 294"/>
              <a:gd name="T27" fmla="*/ 197863 h 257"/>
              <a:gd name="T28" fmla="*/ 177379 w 294"/>
              <a:gd name="T29" fmla="*/ 184613 h 257"/>
              <a:gd name="T30" fmla="*/ 190781 w 294"/>
              <a:gd name="T31" fmla="*/ 169596 h 257"/>
              <a:gd name="T32" fmla="*/ 190781 w 294"/>
              <a:gd name="T33" fmla="*/ 184613 h 257"/>
              <a:gd name="T34" fmla="*/ 204971 w 294"/>
              <a:gd name="T35" fmla="*/ 184613 h 257"/>
              <a:gd name="T36" fmla="*/ 218373 w 294"/>
              <a:gd name="T37" fmla="*/ 169596 h 257"/>
              <a:gd name="T38" fmla="*/ 218373 w 294"/>
              <a:gd name="T39" fmla="*/ 99815 h 257"/>
              <a:gd name="T40" fmla="*/ 231775 w 294"/>
              <a:gd name="T41" fmla="*/ 99815 h 257"/>
              <a:gd name="T42" fmla="*/ 231775 w 294"/>
              <a:gd name="T43" fmla="*/ 71549 h 257"/>
              <a:gd name="T44" fmla="*/ 231775 w 294"/>
              <a:gd name="T45" fmla="*/ 15016 h 257"/>
              <a:gd name="T46" fmla="*/ 218373 w 294"/>
              <a:gd name="T47" fmla="*/ 0 h 257"/>
              <a:gd name="T48" fmla="*/ 218373 w 294"/>
              <a:gd name="T49" fmla="*/ 15016 h 257"/>
              <a:gd name="T50" fmla="*/ 204971 w 294"/>
              <a:gd name="T51" fmla="*/ 15016 h 257"/>
              <a:gd name="T52" fmla="*/ 190781 w 294"/>
              <a:gd name="T53" fmla="*/ 71549 h 257"/>
              <a:gd name="T54" fmla="*/ 163977 w 294"/>
              <a:gd name="T55" fmla="*/ 113064 h 257"/>
              <a:gd name="T56" fmla="*/ 136385 w 294"/>
              <a:gd name="T57" fmla="*/ 142214 h 257"/>
              <a:gd name="T58" fmla="*/ 136385 w 294"/>
              <a:gd name="T59" fmla="*/ 113064 h 257"/>
              <a:gd name="T60" fmla="*/ 122983 w 294"/>
              <a:gd name="T61" fmla="*/ 127197 h 257"/>
              <a:gd name="T62" fmla="*/ 109581 w 294"/>
              <a:gd name="T63" fmla="*/ 169596 h 257"/>
              <a:gd name="T64" fmla="*/ 95390 w 294"/>
              <a:gd name="T65" fmla="*/ 169596 h 257"/>
              <a:gd name="T66" fmla="*/ 40994 w 294"/>
              <a:gd name="T67" fmla="*/ 169596 h 257"/>
              <a:gd name="T68" fmla="*/ 0 w 294"/>
              <a:gd name="T69" fmla="*/ 19786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rgbClr val="000080"/>
          </a:solidFill>
          <a:ln w="9525">
            <a:solidFill>
              <a:schemeClr val="bg2"/>
            </a:solidFill>
            <a:prstDash val="solid"/>
            <a:round/>
            <a:headEnd/>
            <a:tailEnd/>
          </a:ln>
        </p:spPr>
        <p:txBody>
          <a:bodyPr/>
          <a:lstStyle/>
          <a:p>
            <a:endParaRPr lang="en-US" dirty="0"/>
          </a:p>
        </p:txBody>
      </p:sp>
      <p:sp>
        <p:nvSpPr>
          <p:cNvPr id="19636" name="Freeform 179"/>
          <p:cNvSpPr>
            <a:spLocks noChangeAspect="1"/>
          </p:cNvSpPr>
          <p:nvPr/>
        </p:nvSpPr>
        <p:spPr bwMode="auto">
          <a:xfrm>
            <a:off x="7292975" y="2778125"/>
            <a:ext cx="136525" cy="128588"/>
          </a:xfrm>
          <a:custGeom>
            <a:avLst/>
            <a:gdLst>
              <a:gd name="T0" fmla="*/ 0 w 173"/>
              <a:gd name="T1" fmla="*/ 100906 h 144"/>
              <a:gd name="T2" fmla="*/ 0 w 173"/>
              <a:gd name="T3" fmla="*/ 100906 h 144"/>
              <a:gd name="T4" fmla="*/ 0 w 173"/>
              <a:gd name="T5" fmla="*/ 128588 h 144"/>
              <a:gd name="T6" fmla="*/ 27621 w 173"/>
              <a:gd name="T7" fmla="*/ 115193 h 144"/>
              <a:gd name="T8" fmla="*/ 14205 w 173"/>
              <a:gd name="T9" fmla="*/ 115193 h 144"/>
              <a:gd name="T10" fmla="*/ 14205 w 173"/>
              <a:gd name="T11" fmla="*/ 100906 h 144"/>
              <a:gd name="T12" fmla="*/ 27621 w 173"/>
              <a:gd name="T13" fmla="*/ 100906 h 144"/>
              <a:gd name="T14" fmla="*/ 41036 w 173"/>
              <a:gd name="T15" fmla="*/ 100906 h 144"/>
              <a:gd name="T16" fmla="*/ 82073 w 173"/>
              <a:gd name="T17" fmla="*/ 115193 h 144"/>
              <a:gd name="T18" fmla="*/ 95489 w 173"/>
              <a:gd name="T19" fmla="*/ 85725 h 144"/>
              <a:gd name="T20" fmla="*/ 109694 w 173"/>
              <a:gd name="T21" fmla="*/ 85725 h 144"/>
              <a:gd name="T22" fmla="*/ 136525 w 173"/>
              <a:gd name="T23" fmla="*/ 72331 h 144"/>
              <a:gd name="T24" fmla="*/ 123109 w 173"/>
              <a:gd name="T25" fmla="*/ 72331 h 144"/>
              <a:gd name="T26" fmla="*/ 109694 w 173"/>
              <a:gd name="T27" fmla="*/ 58043 h 144"/>
              <a:gd name="T28" fmla="*/ 123109 w 173"/>
              <a:gd name="T29" fmla="*/ 42863 h 144"/>
              <a:gd name="T30" fmla="*/ 109694 w 173"/>
              <a:gd name="T31" fmla="*/ 58043 h 144"/>
              <a:gd name="T32" fmla="*/ 82073 w 173"/>
              <a:gd name="T33" fmla="*/ 42863 h 144"/>
              <a:gd name="T34" fmla="*/ 41036 w 173"/>
              <a:gd name="T35" fmla="*/ 0 h 144"/>
              <a:gd name="T36" fmla="*/ 41036 w 173"/>
              <a:gd name="T37" fmla="*/ 15181 h 144"/>
              <a:gd name="T38" fmla="*/ 41036 w 173"/>
              <a:gd name="T39" fmla="*/ 29468 h 144"/>
              <a:gd name="T40" fmla="*/ 27621 w 173"/>
              <a:gd name="T41" fmla="*/ 85725 h 144"/>
              <a:gd name="T42" fmla="*/ 14205 w 173"/>
              <a:gd name="T43" fmla="*/ 72331 h 144"/>
              <a:gd name="T44" fmla="*/ 14205 w 173"/>
              <a:gd name="T45" fmla="*/ 85725 h 144"/>
              <a:gd name="T46" fmla="*/ 0 w 173"/>
              <a:gd name="T47" fmla="*/ 100906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000080"/>
          </a:solidFill>
          <a:ln w="9525">
            <a:solidFill>
              <a:schemeClr val="bg2"/>
            </a:solidFill>
            <a:round/>
            <a:headEnd/>
            <a:tailEnd/>
          </a:ln>
        </p:spPr>
        <p:txBody>
          <a:bodyPr/>
          <a:lstStyle/>
          <a:p>
            <a:endParaRPr lang="en-US" dirty="0"/>
          </a:p>
        </p:txBody>
      </p:sp>
      <p:sp>
        <p:nvSpPr>
          <p:cNvPr id="19637" name="Freeform 180"/>
          <p:cNvSpPr>
            <a:spLocks noChangeAspect="1"/>
          </p:cNvSpPr>
          <p:nvPr/>
        </p:nvSpPr>
        <p:spPr bwMode="auto">
          <a:xfrm>
            <a:off x="7621588" y="2606675"/>
            <a:ext cx="25400" cy="30163"/>
          </a:xfrm>
          <a:custGeom>
            <a:avLst/>
            <a:gdLst>
              <a:gd name="T0" fmla="*/ 0 w 35"/>
              <a:gd name="T1" fmla="*/ 15539 h 33"/>
              <a:gd name="T2" fmla="*/ 0 w 35"/>
              <a:gd name="T3" fmla="*/ 15539 h 33"/>
              <a:gd name="T4" fmla="*/ 0 w 35"/>
              <a:gd name="T5" fmla="*/ 30163 h 33"/>
              <a:gd name="T6" fmla="*/ 12337 w 35"/>
              <a:gd name="T7" fmla="*/ 15539 h 33"/>
              <a:gd name="T8" fmla="*/ 25400 w 35"/>
              <a:gd name="T9" fmla="*/ 0 h 33"/>
              <a:gd name="T10" fmla="*/ 0 w 35"/>
              <a:gd name="T11" fmla="*/ 15539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chemeClr val="accent1"/>
          </a:solidFill>
          <a:ln w="9525">
            <a:solidFill>
              <a:schemeClr val="bg2"/>
            </a:solidFill>
            <a:prstDash val="solid"/>
            <a:round/>
            <a:headEnd/>
            <a:tailEnd/>
          </a:ln>
        </p:spPr>
        <p:txBody>
          <a:bodyPr/>
          <a:lstStyle/>
          <a:p>
            <a:endParaRPr lang="en-US" dirty="0"/>
          </a:p>
        </p:txBody>
      </p:sp>
      <p:sp>
        <p:nvSpPr>
          <p:cNvPr id="19638" name="Freeform 181"/>
          <p:cNvSpPr>
            <a:spLocks noChangeAspect="1"/>
          </p:cNvSpPr>
          <p:nvPr/>
        </p:nvSpPr>
        <p:spPr bwMode="auto">
          <a:xfrm>
            <a:off x="7335838" y="2481263"/>
            <a:ext cx="52387" cy="296862"/>
          </a:xfrm>
          <a:custGeom>
            <a:avLst/>
            <a:gdLst>
              <a:gd name="T0" fmla="*/ 0 w 69"/>
              <a:gd name="T1" fmla="*/ 29156 h 336"/>
              <a:gd name="T2" fmla="*/ 0 w 69"/>
              <a:gd name="T3" fmla="*/ 29156 h 336"/>
              <a:gd name="T4" fmla="*/ 0 w 69"/>
              <a:gd name="T5" fmla="*/ 99838 h 336"/>
              <a:gd name="T6" fmla="*/ 12907 w 69"/>
              <a:gd name="T7" fmla="*/ 113974 h 336"/>
              <a:gd name="T8" fmla="*/ 0 w 69"/>
              <a:gd name="T9" fmla="*/ 198791 h 336"/>
              <a:gd name="T10" fmla="*/ 12907 w 69"/>
              <a:gd name="T11" fmla="*/ 227064 h 336"/>
              <a:gd name="T12" fmla="*/ 0 w 69"/>
              <a:gd name="T13" fmla="*/ 269473 h 336"/>
              <a:gd name="T14" fmla="*/ 12907 w 69"/>
              <a:gd name="T15" fmla="*/ 296862 h 336"/>
              <a:gd name="T16" fmla="*/ 12907 w 69"/>
              <a:gd name="T17" fmla="*/ 269473 h 336"/>
              <a:gd name="T18" fmla="*/ 39480 w 69"/>
              <a:gd name="T19" fmla="*/ 283609 h 336"/>
              <a:gd name="T20" fmla="*/ 39480 w 69"/>
              <a:gd name="T21" fmla="*/ 269473 h 336"/>
              <a:gd name="T22" fmla="*/ 12907 w 69"/>
              <a:gd name="T23" fmla="*/ 227064 h 336"/>
              <a:gd name="T24" fmla="*/ 26573 w 69"/>
              <a:gd name="T25" fmla="*/ 184655 h 336"/>
              <a:gd name="T26" fmla="*/ 39480 w 69"/>
              <a:gd name="T27" fmla="*/ 184655 h 336"/>
              <a:gd name="T28" fmla="*/ 52387 w 69"/>
              <a:gd name="T29" fmla="*/ 184655 h 336"/>
              <a:gd name="T30" fmla="*/ 26573 w 69"/>
              <a:gd name="T31" fmla="*/ 84818 h 336"/>
              <a:gd name="T32" fmla="*/ 26573 w 69"/>
              <a:gd name="T33" fmla="*/ 15020 h 336"/>
              <a:gd name="T34" fmla="*/ 26573 w 69"/>
              <a:gd name="T35" fmla="*/ 0 h 336"/>
              <a:gd name="T36" fmla="*/ 12907 w 69"/>
              <a:gd name="T37" fmla="*/ 0 h 336"/>
              <a:gd name="T38" fmla="*/ 12907 w 69"/>
              <a:gd name="T39" fmla="*/ 15020 h 336"/>
              <a:gd name="T40" fmla="*/ 0 w 69"/>
              <a:gd name="T41" fmla="*/ 29156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rgbClr val="000080"/>
          </a:solidFill>
          <a:ln w="9525">
            <a:solidFill>
              <a:schemeClr val="bg2"/>
            </a:solidFill>
            <a:prstDash val="solid"/>
            <a:round/>
            <a:headEnd/>
            <a:tailEnd/>
          </a:ln>
        </p:spPr>
        <p:txBody>
          <a:bodyPr/>
          <a:lstStyle/>
          <a:p>
            <a:endParaRPr lang="en-US" dirty="0"/>
          </a:p>
        </p:txBody>
      </p:sp>
      <p:sp>
        <p:nvSpPr>
          <p:cNvPr id="19639" name="Line 182"/>
          <p:cNvSpPr>
            <a:spLocks noChangeAspect="1" noChangeShapeType="1"/>
          </p:cNvSpPr>
          <p:nvPr/>
        </p:nvSpPr>
        <p:spPr bwMode="auto">
          <a:xfrm flipV="1">
            <a:off x="7504113" y="2770188"/>
            <a:ext cx="26987" cy="42862"/>
          </a:xfrm>
          <a:prstGeom prst="line">
            <a:avLst/>
          </a:prstGeom>
          <a:noFill/>
          <a:ln w="9525">
            <a:solidFill>
              <a:schemeClr val="bg2"/>
            </a:solidFill>
            <a:round/>
            <a:headEnd/>
            <a:tailEnd/>
          </a:ln>
        </p:spPr>
        <p:txBody>
          <a:bodyPr/>
          <a:lstStyle/>
          <a:p>
            <a:endParaRPr lang="en-US" dirty="0"/>
          </a:p>
        </p:txBody>
      </p:sp>
      <p:sp>
        <p:nvSpPr>
          <p:cNvPr id="19640" name="Freeform 183"/>
          <p:cNvSpPr>
            <a:spLocks noChangeAspect="1"/>
          </p:cNvSpPr>
          <p:nvPr/>
        </p:nvSpPr>
        <p:spPr bwMode="auto">
          <a:xfrm>
            <a:off x="5872163" y="2509838"/>
            <a:ext cx="1312862" cy="946150"/>
          </a:xfrm>
          <a:custGeom>
            <a:avLst/>
            <a:gdLst>
              <a:gd name="T0" fmla="*/ 301390 w 1664"/>
              <a:gd name="T1" fmla="*/ 155483 h 1071"/>
              <a:gd name="T2" fmla="*/ 369242 w 1664"/>
              <a:gd name="T3" fmla="*/ 225274 h 1071"/>
              <a:gd name="T4" fmla="*/ 492323 w 1664"/>
              <a:gd name="T5" fmla="*/ 352487 h 1071"/>
              <a:gd name="T6" fmla="*/ 669055 w 1664"/>
              <a:gd name="T7" fmla="*/ 394892 h 1071"/>
              <a:gd name="T8" fmla="*/ 820539 w 1664"/>
              <a:gd name="T9" fmla="*/ 325101 h 1071"/>
              <a:gd name="T10" fmla="*/ 861566 w 1664"/>
              <a:gd name="T11" fmla="*/ 296831 h 1071"/>
              <a:gd name="T12" fmla="*/ 983858 w 1664"/>
              <a:gd name="T13" fmla="*/ 240292 h 1071"/>
              <a:gd name="T14" fmla="*/ 929418 w 1664"/>
              <a:gd name="T15" fmla="*/ 212022 h 1071"/>
              <a:gd name="T16" fmla="*/ 916005 w 1664"/>
              <a:gd name="T17" fmla="*/ 127213 h 1071"/>
              <a:gd name="T18" fmla="*/ 998059 w 1664"/>
              <a:gd name="T19" fmla="*/ 70674 h 1071"/>
              <a:gd name="T20" fmla="*/ 998059 w 1664"/>
              <a:gd name="T21" fmla="*/ 42404 h 1071"/>
              <a:gd name="T22" fmla="*/ 1106938 w 1664"/>
              <a:gd name="T23" fmla="*/ 13251 h 1071"/>
              <a:gd name="T24" fmla="*/ 1188992 w 1664"/>
              <a:gd name="T25" fmla="*/ 140465 h 1071"/>
              <a:gd name="T26" fmla="*/ 1258422 w 1664"/>
              <a:gd name="T27" fmla="*/ 197888 h 1071"/>
              <a:gd name="T28" fmla="*/ 1271835 w 1664"/>
              <a:gd name="T29" fmla="*/ 296831 h 1071"/>
              <a:gd name="T30" fmla="*/ 1245010 w 1664"/>
              <a:gd name="T31" fmla="*/ 339236 h 1071"/>
              <a:gd name="T32" fmla="*/ 1188992 w 1664"/>
              <a:gd name="T33" fmla="*/ 381640 h 1071"/>
              <a:gd name="T34" fmla="*/ 1147965 w 1664"/>
              <a:gd name="T35" fmla="*/ 394892 h 1071"/>
              <a:gd name="T36" fmla="*/ 1065911 w 1664"/>
              <a:gd name="T37" fmla="*/ 452314 h 1071"/>
              <a:gd name="T38" fmla="*/ 1024885 w 1664"/>
              <a:gd name="T39" fmla="*/ 452314 h 1071"/>
              <a:gd name="T40" fmla="*/ 983858 w 1664"/>
              <a:gd name="T41" fmla="*/ 452314 h 1071"/>
              <a:gd name="T42" fmla="*/ 943620 w 1664"/>
              <a:gd name="T43" fmla="*/ 479701 h 1071"/>
              <a:gd name="T44" fmla="*/ 1052499 w 1664"/>
              <a:gd name="T45" fmla="*/ 522105 h 1071"/>
              <a:gd name="T46" fmla="*/ 1011472 w 1664"/>
              <a:gd name="T47" fmla="*/ 537123 h 1071"/>
              <a:gd name="T48" fmla="*/ 1011472 w 1664"/>
              <a:gd name="T49" fmla="*/ 649319 h 1071"/>
              <a:gd name="T50" fmla="*/ 1039086 w 1664"/>
              <a:gd name="T51" fmla="*/ 691723 h 1071"/>
              <a:gd name="T52" fmla="*/ 1024885 w 1664"/>
              <a:gd name="T53" fmla="*/ 762397 h 1071"/>
              <a:gd name="T54" fmla="*/ 983858 w 1664"/>
              <a:gd name="T55" fmla="*/ 818936 h 1071"/>
              <a:gd name="T56" fmla="*/ 957032 w 1664"/>
              <a:gd name="T57" fmla="*/ 861341 h 1071"/>
              <a:gd name="T58" fmla="*/ 874978 w 1664"/>
              <a:gd name="T59" fmla="*/ 903745 h 1071"/>
              <a:gd name="T60" fmla="*/ 848153 w 1664"/>
              <a:gd name="T61" fmla="*/ 903745 h 1071"/>
              <a:gd name="T62" fmla="*/ 779512 w 1664"/>
              <a:gd name="T63" fmla="*/ 918764 h 1071"/>
              <a:gd name="T64" fmla="*/ 710082 w 1664"/>
              <a:gd name="T65" fmla="*/ 918764 h 1071"/>
              <a:gd name="T66" fmla="*/ 628028 w 1664"/>
              <a:gd name="T67" fmla="*/ 903745 h 1071"/>
              <a:gd name="T68" fmla="*/ 601202 w 1664"/>
              <a:gd name="T69" fmla="*/ 903745 h 1071"/>
              <a:gd name="T70" fmla="*/ 587790 w 1664"/>
              <a:gd name="T71" fmla="*/ 918764 h 1071"/>
              <a:gd name="T72" fmla="*/ 546763 w 1664"/>
              <a:gd name="T73" fmla="*/ 889611 h 1071"/>
              <a:gd name="T74" fmla="*/ 519149 w 1664"/>
              <a:gd name="T75" fmla="*/ 861341 h 1071"/>
              <a:gd name="T76" fmla="*/ 505736 w 1664"/>
              <a:gd name="T77" fmla="*/ 762397 h 1071"/>
              <a:gd name="T78" fmla="*/ 382655 w 1664"/>
              <a:gd name="T79" fmla="*/ 762397 h 1071"/>
              <a:gd name="T80" fmla="*/ 314803 w 1664"/>
              <a:gd name="T81" fmla="*/ 762397 h 1071"/>
              <a:gd name="T82" fmla="*/ 232749 w 1664"/>
              <a:gd name="T83" fmla="*/ 749146 h 1071"/>
              <a:gd name="T84" fmla="*/ 176731 w 1664"/>
              <a:gd name="T85" fmla="*/ 706741 h 1071"/>
              <a:gd name="T86" fmla="*/ 95467 w 1664"/>
              <a:gd name="T87" fmla="*/ 649319 h 1071"/>
              <a:gd name="T88" fmla="*/ 135704 w 1664"/>
              <a:gd name="T89" fmla="*/ 592779 h 1071"/>
              <a:gd name="T90" fmla="*/ 81265 w 1664"/>
              <a:gd name="T91" fmla="*/ 564510 h 1071"/>
              <a:gd name="T92" fmla="*/ 13413 w 1664"/>
              <a:gd name="T93" fmla="*/ 522105 h 1071"/>
              <a:gd name="T94" fmla="*/ 0 w 1664"/>
              <a:gd name="T95" fmla="*/ 479701 h 1071"/>
              <a:gd name="T96" fmla="*/ 54440 w 1664"/>
              <a:gd name="T97" fmla="*/ 424045 h 1071"/>
              <a:gd name="T98" fmla="*/ 135704 w 1664"/>
              <a:gd name="T99" fmla="*/ 381640 h 1071"/>
              <a:gd name="T100" fmla="*/ 135704 w 1664"/>
              <a:gd name="T101" fmla="*/ 282697 h 1071"/>
              <a:gd name="T102" fmla="*/ 232749 w 1664"/>
              <a:gd name="T103" fmla="*/ 225274 h 1071"/>
              <a:gd name="T104" fmla="*/ 273776 w 1664"/>
              <a:gd name="T105" fmla="*/ 169618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000080"/>
          </a:solidFill>
          <a:ln w="9525">
            <a:solidFill>
              <a:schemeClr val="bg2"/>
            </a:solidFill>
            <a:round/>
            <a:headEnd/>
            <a:tailEnd/>
          </a:ln>
        </p:spPr>
        <p:txBody>
          <a:bodyPr/>
          <a:lstStyle/>
          <a:p>
            <a:endParaRPr lang="en-US" dirty="0"/>
          </a:p>
        </p:txBody>
      </p:sp>
      <p:sp>
        <p:nvSpPr>
          <p:cNvPr id="19641" name="Freeform 184"/>
          <p:cNvSpPr>
            <a:spLocks noChangeAspect="1"/>
          </p:cNvSpPr>
          <p:nvPr/>
        </p:nvSpPr>
        <p:spPr bwMode="auto">
          <a:xfrm>
            <a:off x="7443788" y="2778125"/>
            <a:ext cx="41275" cy="41275"/>
          </a:xfrm>
          <a:custGeom>
            <a:avLst/>
            <a:gdLst>
              <a:gd name="T0" fmla="*/ 0 w 52"/>
              <a:gd name="T1" fmla="*/ 41275 h 48"/>
              <a:gd name="T2" fmla="*/ 0 w 52"/>
              <a:gd name="T3" fmla="*/ 41275 h 48"/>
              <a:gd name="T4" fmla="*/ 41275 w 52"/>
              <a:gd name="T5" fmla="*/ 0 h 48"/>
              <a:gd name="T6" fmla="*/ 27781 w 52"/>
              <a:gd name="T7" fmla="*/ 14618 h 48"/>
              <a:gd name="T8" fmla="*/ 0 w 52"/>
              <a:gd name="T9" fmla="*/ 4127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000080"/>
          </a:solidFill>
          <a:ln w="9525">
            <a:solidFill>
              <a:schemeClr val="bg2"/>
            </a:solidFill>
            <a:prstDash val="solid"/>
            <a:round/>
            <a:headEnd/>
            <a:tailEnd/>
          </a:ln>
        </p:spPr>
        <p:txBody>
          <a:bodyPr/>
          <a:lstStyle/>
          <a:p>
            <a:endParaRPr lang="en-US" dirty="0"/>
          </a:p>
        </p:txBody>
      </p:sp>
      <p:sp>
        <p:nvSpPr>
          <p:cNvPr id="19642" name="Line 185"/>
          <p:cNvSpPr>
            <a:spLocks noChangeAspect="1" noChangeShapeType="1"/>
          </p:cNvSpPr>
          <p:nvPr/>
        </p:nvSpPr>
        <p:spPr bwMode="auto">
          <a:xfrm flipV="1">
            <a:off x="7421563" y="2828925"/>
            <a:ext cx="15875" cy="41275"/>
          </a:xfrm>
          <a:prstGeom prst="line">
            <a:avLst/>
          </a:prstGeom>
          <a:noFill/>
          <a:ln w="9525">
            <a:solidFill>
              <a:schemeClr val="bg2"/>
            </a:solidFill>
            <a:round/>
            <a:headEnd/>
            <a:tailEnd/>
          </a:ln>
        </p:spPr>
        <p:txBody>
          <a:bodyPr/>
          <a:lstStyle/>
          <a:p>
            <a:endParaRPr lang="en-US" dirty="0"/>
          </a:p>
        </p:txBody>
      </p:sp>
      <p:sp>
        <p:nvSpPr>
          <p:cNvPr id="19643" name="Freeform 186"/>
          <p:cNvSpPr>
            <a:spLocks noChangeAspect="1"/>
          </p:cNvSpPr>
          <p:nvPr/>
        </p:nvSpPr>
        <p:spPr bwMode="auto">
          <a:xfrm>
            <a:off x="7237413" y="2454275"/>
            <a:ext cx="12700" cy="14288"/>
          </a:xfrm>
          <a:custGeom>
            <a:avLst/>
            <a:gdLst>
              <a:gd name="T0" fmla="*/ 0 w 18"/>
              <a:gd name="T1" fmla="*/ 0 h 15"/>
              <a:gd name="T2" fmla="*/ 0 w 18"/>
              <a:gd name="T3" fmla="*/ 0 h 15"/>
              <a:gd name="T4" fmla="*/ 12700 w 18"/>
              <a:gd name="T5" fmla="*/ 14288 h 15"/>
              <a:gd name="T6" fmla="*/ 1270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644" name="Freeform 187"/>
          <p:cNvSpPr>
            <a:spLocks noChangeAspect="1"/>
          </p:cNvSpPr>
          <p:nvPr/>
        </p:nvSpPr>
        <p:spPr bwMode="auto">
          <a:xfrm>
            <a:off x="6172200" y="2565400"/>
            <a:ext cx="682625" cy="341313"/>
          </a:xfrm>
          <a:custGeom>
            <a:avLst/>
            <a:gdLst>
              <a:gd name="T0" fmla="*/ 450359 w 867"/>
              <a:gd name="T1" fmla="*/ 85328 h 384"/>
              <a:gd name="T2" fmla="*/ 450359 w 867"/>
              <a:gd name="T3" fmla="*/ 85328 h 384"/>
              <a:gd name="T4" fmla="*/ 368476 w 867"/>
              <a:gd name="T5" fmla="*/ 42664 h 384"/>
              <a:gd name="T6" fmla="*/ 341706 w 867"/>
              <a:gd name="T7" fmla="*/ 57774 h 384"/>
              <a:gd name="T8" fmla="*/ 327534 w 867"/>
              <a:gd name="T9" fmla="*/ 57774 h 384"/>
              <a:gd name="T10" fmla="*/ 300764 w 867"/>
              <a:gd name="T11" fmla="*/ 15110 h 384"/>
              <a:gd name="T12" fmla="*/ 246438 w 867"/>
              <a:gd name="T13" fmla="*/ 0 h 384"/>
              <a:gd name="T14" fmla="*/ 218881 w 867"/>
              <a:gd name="T15" fmla="*/ 15110 h 384"/>
              <a:gd name="T16" fmla="*/ 218881 w 867"/>
              <a:gd name="T17" fmla="*/ 42664 h 384"/>
              <a:gd name="T18" fmla="*/ 218881 w 867"/>
              <a:gd name="T19" fmla="*/ 71996 h 384"/>
              <a:gd name="T20" fmla="*/ 162980 w 867"/>
              <a:gd name="T21" fmla="*/ 71996 h 384"/>
              <a:gd name="T22" fmla="*/ 136210 w 867"/>
              <a:gd name="T23" fmla="*/ 57774 h 384"/>
              <a:gd name="T24" fmla="*/ 81096 w 867"/>
              <a:gd name="T25" fmla="*/ 42664 h 384"/>
              <a:gd name="T26" fmla="*/ 13385 w 867"/>
              <a:gd name="T27" fmla="*/ 85328 h 384"/>
              <a:gd name="T28" fmla="*/ 0 w 867"/>
              <a:gd name="T29" fmla="*/ 100438 h 384"/>
              <a:gd name="T30" fmla="*/ 26770 w 867"/>
              <a:gd name="T31" fmla="*/ 143103 h 384"/>
              <a:gd name="T32" fmla="*/ 54327 w 867"/>
              <a:gd name="T33" fmla="*/ 143103 h 384"/>
              <a:gd name="T34" fmla="*/ 67711 w 867"/>
              <a:gd name="T35" fmla="*/ 170657 h 384"/>
              <a:gd name="T36" fmla="*/ 67711 w 867"/>
              <a:gd name="T37" fmla="*/ 228431 h 384"/>
              <a:gd name="T38" fmla="*/ 149595 w 867"/>
              <a:gd name="T39" fmla="*/ 255985 h 384"/>
              <a:gd name="T40" fmla="*/ 192111 w 867"/>
              <a:gd name="T41" fmla="*/ 298649 h 384"/>
              <a:gd name="T42" fmla="*/ 273207 w 867"/>
              <a:gd name="T43" fmla="*/ 298649 h 384"/>
              <a:gd name="T44" fmla="*/ 314149 w 867"/>
              <a:gd name="T45" fmla="*/ 327980 h 384"/>
              <a:gd name="T46" fmla="*/ 368476 w 867"/>
              <a:gd name="T47" fmla="*/ 341313 h 384"/>
              <a:gd name="T48" fmla="*/ 422802 w 867"/>
              <a:gd name="T49" fmla="*/ 313759 h 384"/>
              <a:gd name="T50" fmla="*/ 477129 w 867"/>
              <a:gd name="T51" fmla="*/ 313759 h 384"/>
              <a:gd name="T52" fmla="*/ 519645 w 867"/>
              <a:gd name="T53" fmla="*/ 271095 h 384"/>
              <a:gd name="T54" fmla="*/ 504686 w 867"/>
              <a:gd name="T55" fmla="*/ 255985 h 384"/>
              <a:gd name="T56" fmla="*/ 533030 w 867"/>
              <a:gd name="T57" fmla="*/ 228431 h 384"/>
              <a:gd name="T58" fmla="*/ 560587 w 867"/>
              <a:gd name="T59" fmla="*/ 242652 h 384"/>
              <a:gd name="T60" fmla="*/ 601529 w 867"/>
              <a:gd name="T61" fmla="*/ 213321 h 384"/>
              <a:gd name="T62" fmla="*/ 628298 w 867"/>
              <a:gd name="T63" fmla="*/ 185767 h 384"/>
              <a:gd name="T64" fmla="*/ 682625 w 867"/>
              <a:gd name="T65" fmla="*/ 185767 h 384"/>
              <a:gd name="T66" fmla="*/ 669240 w 867"/>
              <a:gd name="T67" fmla="*/ 157324 h 384"/>
              <a:gd name="T68" fmla="*/ 655855 w 867"/>
              <a:gd name="T69" fmla="*/ 143103 h 384"/>
              <a:gd name="T70" fmla="*/ 628298 w 867"/>
              <a:gd name="T71" fmla="*/ 157324 h 384"/>
              <a:gd name="T72" fmla="*/ 601529 w 867"/>
              <a:gd name="T73" fmla="*/ 157324 h 384"/>
              <a:gd name="T74" fmla="*/ 601529 w 867"/>
              <a:gd name="T75" fmla="*/ 100438 h 384"/>
              <a:gd name="T76" fmla="*/ 614914 w 867"/>
              <a:gd name="T77" fmla="*/ 71996 h 384"/>
              <a:gd name="T78" fmla="*/ 573972 w 867"/>
              <a:gd name="T79" fmla="*/ 57774 h 384"/>
              <a:gd name="T80" fmla="*/ 547202 w 867"/>
              <a:gd name="T81" fmla="*/ 85328 h 384"/>
              <a:gd name="T82" fmla="*/ 491301 w 867"/>
              <a:gd name="T83" fmla="*/ 100438 h 384"/>
              <a:gd name="T84" fmla="*/ 450359 w 867"/>
              <a:gd name="T85" fmla="*/ 85328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chemeClr val="bg1"/>
          </a:solidFill>
          <a:ln w="9525">
            <a:solidFill>
              <a:schemeClr val="bg2"/>
            </a:solidFill>
            <a:round/>
            <a:headEnd/>
            <a:tailEnd/>
          </a:ln>
        </p:spPr>
        <p:txBody>
          <a:bodyPr/>
          <a:lstStyle/>
          <a:p>
            <a:endParaRPr lang="en-US" dirty="0"/>
          </a:p>
        </p:txBody>
      </p:sp>
      <p:sp>
        <p:nvSpPr>
          <p:cNvPr id="19645" name="Freeform 188"/>
          <p:cNvSpPr>
            <a:spLocks noChangeAspect="1"/>
          </p:cNvSpPr>
          <p:nvPr/>
        </p:nvSpPr>
        <p:spPr bwMode="auto">
          <a:xfrm>
            <a:off x="6692900" y="1379538"/>
            <a:ext cx="23813" cy="41275"/>
          </a:xfrm>
          <a:custGeom>
            <a:avLst/>
            <a:gdLst>
              <a:gd name="T0" fmla="*/ 23813 w 33"/>
              <a:gd name="T1" fmla="*/ 41275 h 48"/>
              <a:gd name="T2" fmla="*/ 23813 w 33"/>
              <a:gd name="T3" fmla="*/ 41275 h 48"/>
              <a:gd name="T4" fmla="*/ 23813 w 33"/>
              <a:gd name="T5" fmla="*/ 14618 h 48"/>
              <a:gd name="T6" fmla="*/ 0 w 33"/>
              <a:gd name="T7" fmla="*/ 0 h 48"/>
              <a:gd name="T8" fmla="*/ 0 w 33"/>
              <a:gd name="T9" fmla="*/ 14618 h 48"/>
              <a:gd name="T10" fmla="*/ 23813 w 33"/>
              <a:gd name="T11" fmla="*/ 41275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chemeClr val="accent1"/>
          </a:solidFill>
          <a:ln w="9525">
            <a:solidFill>
              <a:schemeClr val="bg2"/>
            </a:solidFill>
            <a:prstDash val="solid"/>
            <a:round/>
            <a:headEnd/>
            <a:tailEnd/>
          </a:ln>
        </p:spPr>
        <p:txBody>
          <a:bodyPr/>
          <a:lstStyle/>
          <a:p>
            <a:endParaRPr lang="en-US" dirty="0"/>
          </a:p>
        </p:txBody>
      </p:sp>
      <p:sp>
        <p:nvSpPr>
          <p:cNvPr id="19646" name="Freeform 189"/>
          <p:cNvSpPr>
            <a:spLocks noChangeAspect="1"/>
          </p:cNvSpPr>
          <p:nvPr/>
        </p:nvSpPr>
        <p:spPr bwMode="auto">
          <a:xfrm>
            <a:off x="4860925" y="1082675"/>
            <a:ext cx="3524250" cy="1824038"/>
          </a:xfrm>
          <a:custGeom>
            <a:avLst/>
            <a:gdLst>
              <a:gd name="T0" fmla="*/ 1734918 w 4469"/>
              <a:gd name="T1" fmla="*/ 368698 h 2063"/>
              <a:gd name="T2" fmla="*/ 1734918 w 4469"/>
              <a:gd name="T3" fmla="*/ 71618 h 2063"/>
              <a:gd name="T4" fmla="*/ 1435250 w 4469"/>
              <a:gd name="T5" fmla="*/ 156498 h 2063"/>
              <a:gd name="T6" fmla="*/ 1175013 w 4469"/>
              <a:gd name="T7" fmla="*/ 524311 h 2063"/>
              <a:gd name="T8" fmla="*/ 1038585 w 4469"/>
              <a:gd name="T9" fmla="*/ 466841 h 2063"/>
              <a:gd name="T10" fmla="*/ 1038585 w 4469"/>
              <a:gd name="T11" fmla="*/ 778952 h 2063"/>
              <a:gd name="T12" fmla="*/ 970766 w 4469"/>
              <a:gd name="T13" fmla="*/ 524311 h 2063"/>
              <a:gd name="T14" fmla="*/ 861939 w 4469"/>
              <a:gd name="T15" fmla="*/ 651632 h 2063"/>
              <a:gd name="T16" fmla="*/ 712105 w 4469"/>
              <a:gd name="T17" fmla="*/ 707334 h 2063"/>
              <a:gd name="T18" fmla="*/ 451079 w 4469"/>
              <a:gd name="T19" fmla="*/ 806361 h 2063"/>
              <a:gd name="T20" fmla="*/ 369853 w 4469"/>
              <a:gd name="T21" fmla="*/ 806361 h 2063"/>
              <a:gd name="T22" fmla="*/ 205824 w 4469"/>
              <a:gd name="T23" fmla="*/ 933681 h 2063"/>
              <a:gd name="T24" fmla="*/ 138005 w 4469"/>
              <a:gd name="T25" fmla="*/ 821392 h 2063"/>
              <a:gd name="T26" fmla="*/ 110404 w 4469"/>
              <a:gd name="T27" fmla="*/ 636601 h 2063"/>
              <a:gd name="T28" fmla="*/ 54413 w 4469"/>
              <a:gd name="T29" fmla="*/ 806361 h 2063"/>
              <a:gd name="T30" fmla="*/ 54413 w 4469"/>
              <a:gd name="T31" fmla="*/ 1102557 h 2063"/>
              <a:gd name="T32" fmla="*/ 14195 w 4469"/>
              <a:gd name="T33" fmla="*/ 1245792 h 2063"/>
              <a:gd name="T34" fmla="*/ 83592 w 4469"/>
              <a:gd name="T35" fmla="*/ 1373112 h 2063"/>
              <a:gd name="T36" fmla="*/ 151411 w 4469"/>
              <a:gd name="T37" fmla="*/ 1471255 h 2063"/>
              <a:gd name="T38" fmla="*/ 220019 w 4469"/>
              <a:gd name="T39" fmla="*/ 1526957 h 2063"/>
              <a:gd name="T40" fmla="*/ 274433 w 4469"/>
              <a:gd name="T41" fmla="*/ 1654277 h 2063"/>
              <a:gd name="T42" fmla="*/ 342252 w 4469"/>
              <a:gd name="T43" fmla="*/ 1768335 h 2063"/>
              <a:gd name="T44" fmla="*/ 437673 w 4469"/>
              <a:gd name="T45" fmla="*/ 1781598 h 2063"/>
              <a:gd name="T46" fmla="*/ 465274 w 4469"/>
              <a:gd name="T47" fmla="*/ 1669308 h 2063"/>
              <a:gd name="T48" fmla="*/ 478680 w 4469"/>
              <a:gd name="T49" fmla="*/ 1556135 h 2063"/>
              <a:gd name="T50" fmla="*/ 641920 w 4469"/>
              <a:gd name="T51" fmla="*/ 1513695 h 2063"/>
              <a:gd name="T52" fmla="*/ 725511 w 4469"/>
              <a:gd name="T53" fmla="*/ 1457108 h 2063"/>
              <a:gd name="T54" fmla="*/ 943165 w 4469"/>
              <a:gd name="T55" fmla="*/ 1357197 h 2063"/>
              <a:gd name="T56" fmla="*/ 1051991 w 4469"/>
              <a:gd name="T57" fmla="*/ 1399637 h 2063"/>
              <a:gd name="T58" fmla="*/ 1258604 w 4469"/>
              <a:gd name="T59" fmla="*/ 1556135 h 2063"/>
              <a:gd name="T60" fmla="*/ 1394243 w 4469"/>
              <a:gd name="T61" fmla="*/ 1526957 h 2063"/>
              <a:gd name="T62" fmla="*/ 1612685 w 4469"/>
              <a:gd name="T63" fmla="*/ 1499548 h 2063"/>
              <a:gd name="T64" fmla="*/ 1886329 w 4469"/>
              <a:gd name="T65" fmla="*/ 1541988 h 2063"/>
              <a:gd name="T66" fmla="*/ 2009351 w 4469"/>
              <a:gd name="T67" fmla="*/ 1471255 h 2063"/>
              <a:gd name="T68" fmla="*/ 2240410 w 4469"/>
              <a:gd name="T69" fmla="*/ 1598575 h 2063"/>
              <a:gd name="T70" fmla="*/ 2240410 w 4469"/>
              <a:gd name="T71" fmla="*/ 1725895 h 2063"/>
              <a:gd name="T72" fmla="*/ 2322425 w 4469"/>
              <a:gd name="T73" fmla="*/ 1768335 h 2063"/>
              <a:gd name="T74" fmla="*/ 2404439 w 4469"/>
              <a:gd name="T75" fmla="*/ 1428815 h 2063"/>
              <a:gd name="T76" fmla="*/ 2376838 w 4469"/>
              <a:gd name="T77" fmla="*/ 1330672 h 2063"/>
              <a:gd name="T78" fmla="*/ 2678083 w 4469"/>
              <a:gd name="T79" fmla="*/ 1187437 h 2063"/>
              <a:gd name="T80" fmla="*/ 2868924 w 4469"/>
              <a:gd name="T81" fmla="*/ 1076032 h 2063"/>
              <a:gd name="T82" fmla="*/ 2937532 w 4469"/>
              <a:gd name="T83" fmla="*/ 1131735 h 2063"/>
              <a:gd name="T84" fmla="*/ 2855517 w 4469"/>
              <a:gd name="T85" fmla="*/ 1442077 h 2063"/>
              <a:gd name="T86" fmla="*/ 2937532 w 4469"/>
              <a:gd name="T87" fmla="*/ 1330672 h 2063"/>
              <a:gd name="T88" fmla="*/ 2937532 w 4469"/>
              <a:gd name="T89" fmla="*/ 1203352 h 2063"/>
              <a:gd name="T90" fmla="*/ 3088943 w 4469"/>
              <a:gd name="T91" fmla="*/ 1174175 h 2063"/>
              <a:gd name="T92" fmla="*/ 3252183 w 4469"/>
              <a:gd name="T93" fmla="*/ 933681 h 2063"/>
              <a:gd name="T94" fmla="*/ 3361010 w 4469"/>
              <a:gd name="T95" fmla="*/ 891241 h 2063"/>
              <a:gd name="T96" fmla="*/ 3484031 w 4469"/>
              <a:gd name="T97" fmla="*/ 821392 h 2063"/>
              <a:gd name="T98" fmla="*/ 3047935 w 4469"/>
              <a:gd name="T99" fmla="*/ 679041 h 2063"/>
              <a:gd name="T100" fmla="*/ 2882330 w 4469"/>
              <a:gd name="T101" fmla="*/ 651632 h 2063"/>
              <a:gd name="T102" fmla="*/ 2664676 w 4469"/>
              <a:gd name="T103" fmla="*/ 537574 h 2063"/>
              <a:gd name="T104" fmla="*/ 2363432 w 4469"/>
              <a:gd name="T105" fmla="*/ 524311 h 2063"/>
              <a:gd name="T106" fmla="*/ 2213598 w 4469"/>
              <a:gd name="T107" fmla="*/ 439431 h 2063"/>
              <a:gd name="T108" fmla="*/ 1981750 w 4469"/>
              <a:gd name="T109" fmla="*/ 368698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chemeClr val="bg1"/>
          </a:solidFill>
          <a:ln w="9525">
            <a:solidFill>
              <a:schemeClr val="bg2"/>
            </a:solidFill>
            <a:round/>
            <a:headEnd/>
            <a:tailEnd/>
          </a:ln>
        </p:spPr>
        <p:txBody>
          <a:bodyPr/>
          <a:lstStyle/>
          <a:p>
            <a:endParaRPr lang="en-US" dirty="0"/>
          </a:p>
        </p:txBody>
      </p:sp>
      <p:sp>
        <p:nvSpPr>
          <p:cNvPr id="19647" name="Freeform 190"/>
          <p:cNvSpPr>
            <a:spLocks noChangeAspect="1"/>
          </p:cNvSpPr>
          <p:nvPr/>
        </p:nvSpPr>
        <p:spPr bwMode="auto">
          <a:xfrm>
            <a:off x="5392738" y="1154113"/>
            <a:ext cx="369887" cy="522287"/>
          </a:xfrm>
          <a:custGeom>
            <a:avLst/>
            <a:gdLst>
              <a:gd name="T0" fmla="*/ 0 w 468"/>
              <a:gd name="T1" fmla="*/ 452472 h 591"/>
              <a:gd name="T2" fmla="*/ 0 w 468"/>
              <a:gd name="T3" fmla="*/ 452472 h 591"/>
              <a:gd name="T4" fmla="*/ 41099 w 468"/>
              <a:gd name="T5" fmla="*/ 508147 h 591"/>
              <a:gd name="T6" fmla="*/ 110650 w 468"/>
              <a:gd name="T7" fmla="*/ 522287 h 591"/>
              <a:gd name="T8" fmla="*/ 124086 w 468"/>
              <a:gd name="T9" fmla="*/ 508147 h 591"/>
              <a:gd name="T10" fmla="*/ 97214 w 468"/>
              <a:gd name="T11" fmla="*/ 479868 h 591"/>
              <a:gd name="T12" fmla="*/ 82197 w 468"/>
              <a:gd name="T13" fmla="*/ 452472 h 591"/>
              <a:gd name="T14" fmla="*/ 82197 w 468"/>
              <a:gd name="T15" fmla="*/ 380889 h 591"/>
              <a:gd name="T16" fmla="*/ 97214 w 468"/>
              <a:gd name="T17" fmla="*/ 352610 h 591"/>
              <a:gd name="T18" fmla="*/ 192847 w 468"/>
              <a:gd name="T19" fmla="*/ 182933 h 591"/>
              <a:gd name="T20" fmla="*/ 260818 w 468"/>
              <a:gd name="T21" fmla="*/ 127258 h 591"/>
              <a:gd name="T22" fmla="*/ 369887 w 468"/>
              <a:gd name="T23" fmla="*/ 70699 h 591"/>
              <a:gd name="T24" fmla="*/ 369887 w 468"/>
              <a:gd name="T25" fmla="*/ 13256 h 591"/>
              <a:gd name="T26" fmla="*/ 343015 w 468"/>
              <a:gd name="T27" fmla="*/ 0 h 591"/>
              <a:gd name="T28" fmla="*/ 315352 w 468"/>
              <a:gd name="T29" fmla="*/ 28280 h 591"/>
              <a:gd name="T30" fmla="*/ 288480 w 468"/>
              <a:gd name="T31" fmla="*/ 55675 h 591"/>
              <a:gd name="T32" fmla="*/ 247382 w 468"/>
              <a:gd name="T33" fmla="*/ 70699 h 591"/>
              <a:gd name="T34" fmla="*/ 206283 w 468"/>
              <a:gd name="T35" fmla="*/ 70699 h 591"/>
              <a:gd name="T36" fmla="*/ 165185 w 468"/>
              <a:gd name="T37" fmla="*/ 98094 h 591"/>
              <a:gd name="T38" fmla="*/ 124086 w 468"/>
              <a:gd name="T39" fmla="*/ 155537 h 591"/>
              <a:gd name="T40" fmla="*/ 82197 w 468"/>
              <a:gd name="T41" fmla="*/ 182933 h 591"/>
              <a:gd name="T42" fmla="*/ 82197 w 468"/>
              <a:gd name="T43" fmla="*/ 212096 h 591"/>
              <a:gd name="T44" fmla="*/ 67971 w 468"/>
              <a:gd name="T45" fmla="*/ 254515 h 591"/>
              <a:gd name="T46" fmla="*/ 41099 w 468"/>
              <a:gd name="T47" fmla="*/ 282795 h 591"/>
              <a:gd name="T48" fmla="*/ 54535 w 468"/>
              <a:gd name="T49" fmla="*/ 310191 h 591"/>
              <a:gd name="T50" fmla="*/ 41099 w 468"/>
              <a:gd name="T51" fmla="*/ 339354 h 591"/>
              <a:gd name="T52" fmla="*/ 13436 w 468"/>
              <a:gd name="T53" fmla="*/ 367633 h 591"/>
              <a:gd name="T54" fmla="*/ 27662 w 468"/>
              <a:gd name="T55" fmla="*/ 395029 h 591"/>
              <a:gd name="T56" fmla="*/ 0 w 468"/>
              <a:gd name="T57" fmla="*/ 410053 h 591"/>
              <a:gd name="T58" fmla="*/ 0 w 468"/>
              <a:gd name="T59" fmla="*/ 452472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chemeClr val="bg1"/>
          </a:solidFill>
          <a:ln w="9525">
            <a:solidFill>
              <a:schemeClr val="bg2"/>
            </a:solidFill>
            <a:round/>
            <a:headEnd/>
            <a:tailEnd/>
          </a:ln>
        </p:spPr>
        <p:txBody>
          <a:bodyPr/>
          <a:lstStyle/>
          <a:p>
            <a:endParaRPr lang="en-US" dirty="0"/>
          </a:p>
        </p:txBody>
      </p:sp>
      <p:sp>
        <p:nvSpPr>
          <p:cNvPr id="19648" name="Freeform 191"/>
          <p:cNvSpPr>
            <a:spLocks noChangeAspect="1"/>
          </p:cNvSpPr>
          <p:nvPr/>
        </p:nvSpPr>
        <p:spPr bwMode="auto">
          <a:xfrm>
            <a:off x="5324475" y="1733550"/>
            <a:ext cx="41275" cy="57150"/>
          </a:xfrm>
          <a:custGeom>
            <a:avLst/>
            <a:gdLst>
              <a:gd name="T0" fmla="*/ 0 w 52"/>
              <a:gd name="T1" fmla="*/ 57150 h 63"/>
              <a:gd name="T2" fmla="*/ 0 w 52"/>
              <a:gd name="T3" fmla="*/ 57150 h 63"/>
              <a:gd name="T4" fmla="*/ 26988 w 52"/>
              <a:gd name="T5" fmla="*/ 43543 h 63"/>
              <a:gd name="T6" fmla="*/ 41275 w 52"/>
              <a:gd name="T7" fmla="*/ 28121 h 63"/>
              <a:gd name="T8" fmla="*/ 13494 w 52"/>
              <a:gd name="T9" fmla="*/ 0 h 63"/>
              <a:gd name="T10" fmla="*/ 0 w 52"/>
              <a:gd name="T11" fmla="*/ 28121 h 63"/>
              <a:gd name="T12" fmla="*/ 0 w 52"/>
              <a:gd name="T13" fmla="*/ 57150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chemeClr val="bg1"/>
          </a:solidFill>
          <a:ln w="9525">
            <a:solidFill>
              <a:schemeClr val="bg2"/>
            </a:solidFill>
            <a:prstDash val="solid"/>
            <a:round/>
            <a:headEnd/>
            <a:tailEnd/>
          </a:ln>
        </p:spPr>
        <p:txBody>
          <a:bodyPr/>
          <a:lstStyle/>
          <a:p>
            <a:endParaRPr lang="en-US" dirty="0"/>
          </a:p>
        </p:txBody>
      </p:sp>
      <p:sp>
        <p:nvSpPr>
          <p:cNvPr id="19649" name="Freeform 192"/>
          <p:cNvSpPr>
            <a:spLocks noChangeAspect="1"/>
          </p:cNvSpPr>
          <p:nvPr/>
        </p:nvSpPr>
        <p:spPr bwMode="auto">
          <a:xfrm>
            <a:off x="5207000" y="1144588"/>
            <a:ext cx="153988" cy="47625"/>
          </a:xfrm>
          <a:custGeom>
            <a:avLst/>
            <a:gdLst>
              <a:gd name="T0" fmla="*/ 126490 w 196"/>
              <a:gd name="T1" fmla="*/ 14458 h 56"/>
              <a:gd name="T2" fmla="*/ 113134 w 196"/>
              <a:gd name="T3" fmla="*/ 14458 h 56"/>
              <a:gd name="T4" fmla="*/ 98207 w 196"/>
              <a:gd name="T5" fmla="*/ 14458 h 56"/>
              <a:gd name="T6" fmla="*/ 98207 w 196"/>
              <a:gd name="T7" fmla="*/ 31467 h 56"/>
              <a:gd name="T8" fmla="*/ 84065 w 196"/>
              <a:gd name="T9" fmla="*/ 47625 h 56"/>
              <a:gd name="T10" fmla="*/ 84065 w 196"/>
              <a:gd name="T11" fmla="*/ 31467 h 56"/>
              <a:gd name="T12" fmla="*/ 70709 w 196"/>
              <a:gd name="T13" fmla="*/ 31467 h 56"/>
              <a:gd name="T14" fmla="*/ 57353 w 196"/>
              <a:gd name="T15" fmla="*/ 14458 h 56"/>
              <a:gd name="T16" fmla="*/ 70709 w 196"/>
              <a:gd name="T17" fmla="*/ 14458 h 56"/>
              <a:gd name="T18" fmla="*/ 84065 w 196"/>
              <a:gd name="T19" fmla="*/ 14458 h 56"/>
              <a:gd name="T20" fmla="*/ 70709 w 196"/>
              <a:gd name="T21" fmla="*/ 14458 h 56"/>
              <a:gd name="T22" fmla="*/ 57353 w 196"/>
              <a:gd name="T23" fmla="*/ 14458 h 56"/>
              <a:gd name="T24" fmla="*/ 70709 w 196"/>
              <a:gd name="T25" fmla="*/ 14458 h 56"/>
              <a:gd name="T26" fmla="*/ 57353 w 196"/>
              <a:gd name="T27" fmla="*/ 0 h 56"/>
              <a:gd name="T28" fmla="*/ 42425 w 196"/>
              <a:gd name="T29" fmla="*/ 14458 h 56"/>
              <a:gd name="T30" fmla="*/ 28284 w 196"/>
              <a:gd name="T31" fmla="*/ 14458 h 56"/>
              <a:gd name="T32" fmla="*/ 14927 w 196"/>
              <a:gd name="T33" fmla="*/ 14458 h 56"/>
              <a:gd name="T34" fmla="*/ 0 w 196"/>
              <a:gd name="T35" fmla="*/ 14458 h 56"/>
              <a:gd name="T36" fmla="*/ 14927 w 196"/>
              <a:gd name="T37" fmla="*/ 0 h 56"/>
              <a:gd name="T38" fmla="*/ 42425 w 196"/>
              <a:gd name="T39" fmla="*/ 0 h 56"/>
              <a:gd name="T40" fmla="*/ 70709 w 196"/>
              <a:gd name="T41" fmla="*/ 0 h 56"/>
              <a:gd name="T42" fmla="*/ 84065 w 196"/>
              <a:gd name="T43" fmla="*/ 0 h 56"/>
              <a:gd name="T44" fmla="*/ 113134 w 196"/>
              <a:gd name="T45" fmla="*/ 0 h 56"/>
              <a:gd name="T46" fmla="*/ 126490 w 196"/>
              <a:gd name="T47" fmla="*/ 0 h 56"/>
              <a:gd name="T48" fmla="*/ 139846 w 196"/>
              <a:gd name="T49" fmla="*/ 0 h 56"/>
              <a:gd name="T50" fmla="*/ 153988 w 196"/>
              <a:gd name="T51" fmla="*/ 0 h 56"/>
              <a:gd name="T52" fmla="*/ 153988 w 196"/>
              <a:gd name="T53" fmla="*/ 14458 h 56"/>
              <a:gd name="T54" fmla="*/ 139846 w 196"/>
              <a:gd name="T55" fmla="*/ 14458 h 56"/>
              <a:gd name="T56" fmla="*/ 126490 w 196"/>
              <a:gd name="T57" fmla="*/ 14458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chemeClr val="bg1"/>
          </a:solidFill>
          <a:ln w="9525">
            <a:solidFill>
              <a:schemeClr val="bg2"/>
            </a:solidFill>
            <a:prstDash val="solid"/>
            <a:round/>
            <a:headEnd/>
            <a:tailEnd/>
          </a:ln>
        </p:spPr>
        <p:txBody>
          <a:bodyPr/>
          <a:lstStyle/>
          <a:p>
            <a:endParaRPr lang="en-US" dirty="0"/>
          </a:p>
        </p:txBody>
      </p:sp>
      <p:sp>
        <p:nvSpPr>
          <p:cNvPr id="19650" name="Freeform 193"/>
          <p:cNvSpPr>
            <a:spLocks noChangeAspect="1"/>
          </p:cNvSpPr>
          <p:nvPr/>
        </p:nvSpPr>
        <p:spPr bwMode="auto">
          <a:xfrm>
            <a:off x="5432425" y="1079500"/>
            <a:ext cx="87313" cy="79375"/>
          </a:xfrm>
          <a:custGeom>
            <a:avLst/>
            <a:gdLst>
              <a:gd name="T0" fmla="*/ 72093 w 109"/>
              <a:gd name="T1" fmla="*/ 62982 h 92"/>
              <a:gd name="T2" fmla="*/ 58476 w 109"/>
              <a:gd name="T3" fmla="*/ 62982 h 92"/>
              <a:gd name="T4" fmla="*/ 43256 w 109"/>
              <a:gd name="T5" fmla="*/ 79375 h 92"/>
              <a:gd name="T6" fmla="*/ 28837 w 109"/>
              <a:gd name="T7" fmla="*/ 79375 h 92"/>
              <a:gd name="T8" fmla="*/ 0 w 109"/>
              <a:gd name="T9" fmla="*/ 62982 h 92"/>
              <a:gd name="T10" fmla="*/ 0 w 109"/>
              <a:gd name="T11" fmla="*/ 48315 h 92"/>
              <a:gd name="T12" fmla="*/ 15220 w 109"/>
              <a:gd name="T13" fmla="*/ 48315 h 92"/>
              <a:gd name="T14" fmla="*/ 43256 w 109"/>
              <a:gd name="T15" fmla="*/ 48315 h 92"/>
              <a:gd name="T16" fmla="*/ 43256 w 109"/>
              <a:gd name="T17" fmla="*/ 31923 h 92"/>
              <a:gd name="T18" fmla="*/ 28837 w 109"/>
              <a:gd name="T19" fmla="*/ 48315 h 92"/>
              <a:gd name="T20" fmla="*/ 28837 w 109"/>
              <a:gd name="T21" fmla="*/ 31923 h 92"/>
              <a:gd name="T22" fmla="*/ 43256 w 109"/>
              <a:gd name="T23" fmla="*/ 31923 h 92"/>
              <a:gd name="T24" fmla="*/ 58476 w 109"/>
              <a:gd name="T25" fmla="*/ 31923 h 92"/>
              <a:gd name="T26" fmla="*/ 72093 w 109"/>
              <a:gd name="T27" fmla="*/ 17255 h 92"/>
              <a:gd name="T28" fmla="*/ 87313 w 109"/>
              <a:gd name="T29" fmla="*/ 17255 h 92"/>
              <a:gd name="T30" fmla="*/ 87313 w 109"/>
              <a:gd name="T31" fmla="*/ 0 h 92"/>
              <a:gd name="T32" fmla="*/ 87313 w 109"/>
              <a:gd name="T33" fmla="*/ 17255 h 92"/>
              <a:gd name="T34" fmla="*/ 87313 w 109"/>
              <a:gd name="T35" fmla="*/ 31923 h 92"/>
              <a:gd name="T36" fmla="*/ 72093 w 109"/>
              <a:gd name="T37" fmla="*/ 31923 h 92"/>
              <a:gd name="T38" fmla="*/ 58476 w 109"/>
              <a:gd name="T39" fmla="*/ 31923 h 92"/>
              <a:gd name="T40" fmla="*/ 43256 w 109"/>
              <a:gd name="T41" fmla="*/ 48315 h 92"/>
              <a:gd name="T42" fmla="*/ 58476 w 109"/>
              <a:gd name="T43" fmla="*/ 48315 h 92"/>
              <a:gd name="T44" fmla="*/ 87313 w 109"/>
              <a:gd name="T45" fmla="*/ 48315 h 92"/>
              <a:gd name="T46" fmla="*/ 87313 w 109"/>
              <a:gd name="T47" fmla="*/ 62982 h 92"/>
              <a:gd name="T48" fmla="*/ 72093 w 109"/>
              <a:gd name="T49" fmla="*/ 62982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chemeClr val="bg1"/>
          </a:solidFill>
          <a:ln w="9525">
            <a:solidFill>
              <a:schemeClr val="bg2"/>
            </a:solidFill>
            <a:prstDash val="solid"/>
            <a:round/>
            <a:headEnd/>
            <a:tailEnd/>
          </a:ln>
        </p:spPr>
        <p:txBody>
          <a:bodyPr/>
          <a:lstStyle/>
          <a:p>
            <a:endParaRPr lang="en-US" dirty="0"/>
          </a:p>
        </p:txBody>
      </p:sp>
      <p:sp>
        <p:nvSpPr>
          <p:cNvPr id="19651" name="Freeform 194"/>
          <p:cNvSpPr>
            <a:spLocks noChangeAspect="1"/>
          </p:cNvSpPr>
          <p:nvPr/>
        </p:nvSpPr>
        <p:spPr bwMode="auto">
          <a:xfrm>
            <a:off x="4503738" y="1192213"/>
            <a:ext cx="280987" cy="180975"/>
          </a:xfrm>
          <a:custGeom>
            <a:avLst/>
            <a:gdLst>
              <a:gd name="T0" fmla="*/ 225104 w 357"/>
              <a:gd name="T1" fmla="*/ 131942 h 203"/>
              <a:gd name="T2" fmla="*/ 198344 w 357"/>
              <a:gd name="T3" fmla="*/ 131942 h 203"/>
              <a:gd name="T4" fmla="*/ 211724 w 357"/>
              <a:gd name="T5" fmla="*/ 114112 h 203"/>
              <a:gd name="T6" fmla="*/ 198344 w 357"/>
              <a:gd name="T7" fmla="*/ 82018 h 203"/>
              <a:gd name="T8" fmla="*/ 198344 w 357"/>
              <a:gd name="T9" fmla="*/ 82018 h 203"/>
              <a:gd name="T10" fmla="*/ 167648 w 357"/>
              <a:gd name="T11" fmla="*/ 82018 h 203"/>
              <a:gd name="T12" fmla="*/ 154267 w 357"/>
              <a:gd name="T13" fmla="*/ 131942 h 203"/>
              <a:gd name="T14" fmla="*/ 140887 w 357"/>
              <a:gd name="T15" fmla="*/ 164036 h 203"/>
              <a:gd name="T16" fmla="*/ 125933 w 357"/>
              <a:gd name="T17" fmla="*/ 180975 h 203"/>
              <a:gd name="T18" fmla="*/ 83430 w 357"/>
              <a:gd name="T19" fmla="*/ 164036 h 203"/>
              <a:gd name="T20" fmla="*/ 83430 w 357"/>
              <a:gd name="T21" fmla="*/ 131942 h 203"/>
              <a:gd name="T22" fmla="*/ 111765 w 357"/>
              <a:gd name="T23" fmla="*/ 131942 h 203"/>
              <a:gd name="T24" fmla="*/ 83430 w 357"/>
              <a:gd name="T25" fmla="*/ 131942 h 203"/>
              <a:gd name="T26" fmla="*/ 55883 w 357"/>
              <a:gd name="T27" fmla="*/ 131942 h 203"/>
              <a:gd name="T28" fmla="*/ 70050 w 357"/>
              <a:gd name="T29" fmla="*/ 97174 h 203"/>
              <a:gd name="T30" fmla="*/ 98385 w 357"/>
              <a:gd name="T31" fmla="*/ 97174 h 203"/>
              <a:gd name="T32" fmla="*/ 111765 w 357"/>
              <a:gd name="T33" fmla="*/ 82018 h 203"/>
              <a:gd name="T34" fmla="*/ 83430 w 357"/>
              <a:gd name="T35" fmla="*/ 82018 h 203"/>
              <a:gd name="T36" fmla="*/ 55883 w 357"/>
              <a:gd name="T37" fmla="*/ 97174 h 203"/>
              <a:gd name="T38" fmla="*/ 42502 w 357"/>
              <a:gd name="T39" fmla="*/ 82018 h 203"/>
              <a:gd name="T40" fmla="*/ 42502 w 357"/>
              <a:gd name="T41" fmla="*/ 82018 h 203"/>
              <a:gd name="T42" fmla="*/ 13380 w 357"/>
              <a:gd name="T43" fmla="*/ 65080 h 203"/>
              <a:gd name="T44" fmla="*/ 0 w 357"/>
              <a:gd name="T45" fmla="*/ 48141 h 203"/>
              <a:gd name="T46" fmla="*/ 0 w 357"/>
              <a:gd name="T47" fmla="*/ 16939 h 203"/>
              <a:gd name="T48" fmla="*/ 27548 w 357"/>
              <a:gd name="T49" fmla="*/ 16939 h 203"/>
              <a:gd name="T50" fmla="*/ 55883 w 357"/>
              <a:gd name="T51" fmla="*/ 16939 h 203"/>
              <a:gd name="T52" fmla="*/ 55883 w 357"/>
              <a:gd name="T53" fmla="*/ 16939 h 203"/>
              <a:gd name="T54" fmla="*/ 55883 w 357"/>
              <a:gd name="T55" fmla="*/ 32094 h 203"/>
              <a:gd name="T56" fmla="*/ 70050 w 357"/>
              <a:gd name="T57" fmla="*/ 16939 h 203"/>
              <a:gd name="T58" fmla="*/ 98385 w 357"/>
              <a:gd name="T59" fmla="*/ 32094 h 203"/>
              <a:gd name="T60" fmla="*/ 98385 w 357"/>
              <a:gd name="T61" fmla="*/ 32094 h 203"/>
              <a:gd name="T62" fmla="*/ 98385 w 357"/>
              <a:gd name="T63" fmla="*/ 0 h 203"/>
              <a:gd name="T64" fmla="*/ 125933 w 357"/>
              <a:gd name="T65" fmla="*/ 0 h 203"/>
              <a:gd name="T66" fmla="*/ 140887 w 357"/>
              <a:gd name="T67" fmla="*/ 16939 h 203"/>
              <a:gd name="T68" fmla="*/ 167648 w 357"/>
              <a:gd name="T69" fmla="*/ 16939 h 203"/>
              <a:gd name="T70" fmla="*/ 167648 w 357"/>
              <a:gd name="T71" fmla="*/ 48141 h 203"/>
              <a:gd name="T72" fmla="*/ 225104 w 357"/>
              <a:gd name="T73" fmla="*/ 82018 h 203"/>
              <a:gd name="T74" fmla="*/ 254226 w 357"/>
              <a:gd name="T75" fmla="*/ 82018 h 203"/>
              <a:gd name="T76" fmla="*/ 280987 w 357"/>
              <a:gd name="T77" fmla="*/ 131942 h 203"/>
              <a:gd name="T78" fmla="*/ 254226 w 357"/>
              <a:gd name="T79" fmla="*/ 148881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chemeClr val="bg1"/>
          </a:solidFill>
          <a:ln w="9525">
            <a:solidFill>
              <a:schemeClr val="bg2"/>
            </a:solidFill>
            <a:round/>
            <a:headEnd/>
            <a:tailEnd/>
          </a:ln>
        </p:spPr>
        <p:txBody>
          <a:bodyPr/>
          <a:lstStyle/>
          <a:p>
            <a:endParaRPr lang="en-US" dirty="0"/>
          </a:p>
        </p:txBody>
      </p:sp>
      <p:sp>
        <p:nvSpPr>
          <p:cNvPr id="19652" name="Freeform 195"/>
          <p:cNvSpPr>
            <a:spLocks noChangeAspect="1"/>
          </p:cNvSpPr>
          <p:nvPr/>
        </p:nvSpPr>
        <p:spPr bwMode="auto">
          <a:xfrm>
            <a:off x="4646613" y="1158875"/>
            <a:ext cx="196850" cy="80963"/>
          </a:xfrm>
          <a:custGeom>
            <a:avLst/>
            <a:gdLst>
              <a:gd name="T0" fmla="*/ 196850 w 249"/>
              <a:gd name="T1" fmla="*/ 33952 h 93"/>
              <a:gd name="T2" fmla="*/ 168390 w 249"/>
              <a:gd name="T3" fmla="*/ 48752 h 93"/>
              <a:gd name="T4" fmla="*/ 140720 w 249"/>
              <a:gd name="T5" fmla="*/ 65293 h 93"/>
              <a:gd name="T6" fmla="*/ 112260 w 249"/>
              <a:gd name="T7" fmla="*/ 80963 h 93"/>
              <a:gd name="T8" fmla="*/ 98030 w 249"/>
              <a:gd name="T9" fmla="*/ 80963 h 93"/>
              <a:gd name="T10" fmla="*/ 98030 w 249"/>
              <a:gd name="T11" fmla="*/ 65293 h 93"/>
              <a:gd name="T12" fmla="*/ 84590 w 249"/>
              <a:gd name="T13" fmla="*/ 65293 h 93"/>
              <a:gd name="T14" fmla="*/ 56130 w 249"/>
              <a:gd name="T15" fmla="*/ 65293 h 93"/>
              <a:gd name="T16" fmla="*/ 40319 w 249"/>
              <a:gd name="T17" fmla="*/ 65293 h 93"/>
              <a:gd name="T18" fmla="*/ 26879 w 249"/>
              <a:gd name="T19" fmla="*/ 48752 h 93"/>
              <a:gd name="T20" fmla="*/ 40319 w 249"/>
              <a:gd name="T21" fmla="*/ 48752 h 93"/>
              <a:gd name="T22" fmla="*/ 56130 w 249"/>
              <a:gd name="T23" fmla="*/ 48752 h 93"/>
              <a:gd name="T24" fmla="*/ 71151 w 249"/>
              <a:gd name="T25" fmla="*/ 48752 h 93"/>
              <a:gd name="T26" fmla="*/ 56130 w 249"/>
              <a:gd name="T27" fmla="*/ 48752 h 93"/>
              <a:gd name="T28" fmla="*/ 40319 w 249"/>
              <a:gd name="T29" fmla="*/ 48752 h 93"/>
              <a:gd name="T30" fmla="*/ 26879 w 249"/>
              <a:gd name="T31" fmla="*/ 48752 h 93"/>
              <a:gd name="T32" fmla="*/ 13440 w 249"/>
              <a:gd name="T33" fmla="*/ 33952 h 93"/>
              <a:gd name="T34" fmla="*/ 0 w 249"/>
              <a:gd name="T35" fmla="*/ 17411 h 93"/>
              <a:gd name="T36" fmla="*/ 0 w 249"/>
              <a:gd name="T37" fmla="*/ 0 h 93"/>
              <a:gd name="T38" fmla="*/ 13440 w 249"/>
              <a:gd name="T39" fmla="*/ 0 h 93"/>
              <a:gd name="T40" fmla="*/ 26879 w 249"/>
              <a:gd name="T41" fmla="*/ 17411 h 93"/>
              <a:gd name="T42" fmla="*/ 26879 w 249"/>
              <a:gd name="T43" fmla="*/ 0 h 93"/>
              <a:gd name="T44" fmla="*/ 40319 w 249"/>
              <a:gd name="T45" fmla="*/ 0 h 93"/>
              <a:gd name="T46" fmla="*/ 56130 w 249"/>
              <a:gd name="T47" fmla="*/ 0 h 93"/>
              <a:gd name="T48" fmla="*/ 84590 w 249"/>
              <a:gd name="T49" fmla="*/ 17411 h 93"/>
              <a:gd name="T50" fmla="*/ 98030 w 249"/>
              <a:gd name="T51" fmla="*/ 0 h 93"/>
              <a:gd name="T52" fmla="*/ 112260 w 249"/>
              <a:gd name="T53" fmla="*/ 0 h 93"/>
              <a:gd name="T54" fmla="*/ 112260 w 249"/>
              <a:gd name="T55" fmla="*/ 17411 h 93"/>
              <a:gd name="T56" fmla="*/ 127281 w 249"/>
              <a:gd name="T57" fmla="*/ 17411 h 93"/>
              <a:gd name="T58" fmla="*/ 127281 w 249"/>
              <a:gd name="T59" fmla="*/ 0 h 93"/>
              <a:gd name="T60" fmla="*/ 140720 w 249"/>
              <a:gd name="T61" fmla="*/ 0 h 93"/>
              <a:gd name="T62" fmla="*/ 154160 w 249"/>
              <a:gd name="T63" fmla="*/ 0 h 93"/>
              <a:gd name="T64" fmla="*/ 168390 w 249"/>
              <a:gd name="T65" fmla="*/ 0 h 93"/>
              <a:gd name="T66" fmla="*/ 168390 w 249"/>
              <a:gd name="T67" fmla="*/ 17411 h 93"/>
              <a:gd name="T68" fmla="*/ 183410 w 249"/>
              <a:gd name="T69" fmla="*/ 17411 h 93"/>
              <a:gd name="T70" fmla="*/ 196850 w 249"/>
              <a:gd name="T71" fmla="*/ 33952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chemeClr val="bg1"/>
          </a:solidFill>
          <a:ln w="9525">
            <a:solidFill>
              <a:schemeClr val="bg2"/>
            </a:solidFill>
            <a:prstDash val="solid"/>
            <a:round/>
            <a:headEnd/>
            <a:tailEnd/>
          </a:ln>
        </p:spPr>
        <p:txBody>
          <a:bodyPr/>
          <a:lstStyle/>
          <a:p>
            <a:endParaRPr lang="en-US" dirty="0"/>
          </a:p>
        </p:txBody>
      </p:sp>
      <p:sp>
        <p:nvSpPr>
          <p:cNvPr id="19653" name="Freeform 196"/>
          <p:cNvSpPr>
            <a:spLocks noChangeAspect="1"/>
          </p:cNvSpPr>
          <p:nvPr/>
        </p:nvSpPr>
        <p:spPr bwMode="auto">
          <a:xfrm>
            <a:off x="4487863" y="1257300"/>
            <a:ext cx="28575" cy="33338"/>
          </a:xfrm>
          <a:custGeom>
            <a:avLst/>
            <a:gdLst>
              <a:gd name="T0" fmla="*/ 15081 w 36"/>
              <a:gd name="T1" fmla="*/ 0 h 36"/>
              <a:gd name="T2" fmla="*/ 15081 w 36"/>
              <a:gd name="T3" fmla="*/ 17595 h 36"/>
              <a:gd name="T4" fmla="*/ 28575 w 36"/>
              <a:gd name="T5" fmla="*/ 33338 h 36"/>
              <a:gd name="T6" fmla="*/ 15081 w 36"/>
              <a:gd name="T7" fmla="*/ 17595 h 36"/>
              <a:gd name="T8" fmla="*/ 0 w 36"/>
              <a:gd name="T9" fmla="*/ 17595 h 36"/>
              <a:gd name="T10" fmla="*/ 15081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chemeClr val="bg1"/>
          </a:solidFill>
          <a:ln w="9525">
            <a:solidFill>
              <a:schemeClr val="bg2"/>
            </a:solidFill>
            <a:prstDash val="solid"/>
            <a:round/>
            <a:headEnd/>
            <a:tailEnd/>
          </a:ln>
        </p:spPr>
        <p:txBody>
          <a:bodyPr/>
          <a:lstStyle/>
          <a:p>
            <a:endParaRPr lang="en-US" dirty="0"/>
          </a:p>
        </p:txBody>
      </p:sp>
      <p:sp>
        <p:nvSpPr>
          <p:cNvPr id="19654" name="Freeform 197"/>
          <p:cNvSpPr>
            <a:spLocks noChangeAspect="1"/>
          </p:cNvSpPr>
          <p:nvPr/>
        </p:nvSpPr>
        <p:spPr bwMode="auto">
          <a:xfrm>
            <a:off x="4695825" y="2438400"/>
            <a:ext cx="68263" cy="42863"/>
          </a:xfrm>
          <a:custGeom>
            <a:avLst/>
            <a:gdLst>
              <a:gd name="T0" fmla="*/ 68263 w 86"/>
              <a:gd name="T1" fmla="*/ 0 h 48"/>
              <a:gd name="T2" fmla="*/ 68263 w 86"/>
              <a:gd name="T3" fmla="*/ 0 h 48"/>
              <a:gd name="T4" fmla="*/ 68263 w 86"/>
              <a:gd name="T5" fmla="*/ 42863 h 48"/>
              <a:gd name="T6" fmla="*/ 41275 w 86"/>
              <a:gd name="T7" fmla="*/ 42863 h 48"/>
              <a:gd name="T8" fmla="*/ 0 w 86"/>
              <a:gd name="T9" fmla="*/ 29468 h 48"/>
              <a:gd name="T10" fmla="*/ 26988 w 86"/>
              <a:gd name="T11" fmla="*/ 16074 h 48"/>
              <a:gd name="T12" fmla="*/ 41275 w 86"/>
              <a:gd name="T13" fmla="*/ 0 h 48"/>
              <a:gd name="T14" fmla="*/ 68263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chemeClr val="bg1"/>
          </a:solidFill>
          <a:ln w="9525">
            <a:solidFill>
              <a:schemeClr val="bg2"/>
            </a:solidFill>
            <a:prstDash val="solid"/>
            <a:round/>
            <a:headEnd/>
            <a:tailEnd/>
          </a:ln>
        </p:spPr>
        <p:txBody>
          <a:bodyPr/>
          <a:lstStyle/>
          <a:p>
            <a:endParaRPr lang="en-US" dirty="0"/>
          </a:p>
        </p:txBody>
      </p:sp>
      <p:sp>
        <p:nvSpPr>
          <p:cNvPr id="19655" name="Freeform 198"/>
          <p:cNvSpPr>
            <a:spLocks noChangeAspect="1"/>
          </p:cNvSpPr>
          <p:nvPr/>
        </p:nvSpPr>
        <p:spPr bwMode="auto">
          <a:xfrm>
            <a:off x="4491038" y="2424113"/>
            <a:ext cx="14287" cy="30162"/>
          </a:xfrm>
          <a:custGeom>
            <a:avLst/>
            <a:gdLst>
              <a:gd name="T0" fmla="*/ 0 w 19"/>
              <a:gd name="T1" fmla="*/ 13710 h 33"/>
              <a:gd name="T2" fmla="*/ 0 w 19"/>
              <a:gd name="T3" fmla="*/ 13710 h 33"/>
              <a:gd name="T4" fmla="*/ 0 w 19"/>
              <a:gd name="T5" fmla="*/ 30162 h 33"/>
              <a:gd name="T6" fmla="*/ 14287 w 19"/>
              <a:gd name="T7" fmla="*/ 30162 h 33"/>
              <a:gd name="T8" fmla="*/ 14287 w 19"/>
              <a:gd name="T9" fmla="*/ 13710 h 33"/>
              <a:gd name="T10" fmla="*/ 14287 w 19"/>
              <a:gd name="T11" fmla="*/ 0 h 33"/>
              <a:gd name="T12" fmla="*/ 0 w 19"/>
              <a:gd name="T13" fmla="*/ 13710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noFill/>
          <a:ln w="9525">
            <a:solidFill>
              <a:schemeClr val="bg2"/>
            </a:solidFill>
            <a:prstDash val="solid"/>
            <a:round/>
            <a:headEnd/>
            <a:tailEnd/>
          </a:ln>
        </p:spPr>
        <p:txBody>
          <a:bodyPr/>
          <a:lstStyle/>
          <a:p>
            <a:endParaRPr lang="en-US" dirty="0"/>
          </a:p>
        </p:txBody>
      </p:sp>
      <p:sp>
        <p:nvSpPr>
          <p:cNvPr id="19656" name="Freeform 199"/>
          <p:cNvSpPr>
            <a:spLocks noChangeAspect="1"/>
          </p:cNvSpPr>
          <p:nvPr/>
        </p:nvSpPr>
        <p:spPr bwMode="auto">
          <a:xfrm>
            <a:off x="4518025" y="2413000"/>
            <a:ext cx="28575" cy="25400"/>
          </a:xfrm>
          <a:custGeom>
            <a:avLst/>
            <a:gdLst>
              <a:gd name="T0" fmla="*/ 0 w 37"/>
              <a:gd name="T1" fmla="*/ 12700 h 30"/>
              <a:gd name="T2" fmla="*/ 0 w 37"/>
              <a:gd name="T3" fmla="*/ 12700 h 30"/>
              <a:gd name="T4" fmla="*/ 0 w 37"/>
              <a:gd name="T5" fmla="*/ 25400 h 30"/>
              <a:gd name="T6" fmla="*/ 28575 w 37"/>
              <a:gd name="T7" fmla="*/ 25400 h 30"/>
              <a:gd name="T8" fmla="*/ 28575 w 37"/>
              <a:gd name="T9" fmla="*/ 12700 h 30"/>
              <a:gd name="T10" fmla="*/ 28575 w 37"/>
              <a:gd name="T11" fmla="*/ 0 h 30"/>
              <a:gd name="T12" fmla="*/ 0 w 37"/>
              <a:gd name="T13" fmla="*/ 12700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noFill/>
          <a:ln w="9525">
            <a:solidFill>
              <a:schemeClr val="bg2"/>
            </a:solidFill>
            <a:prstDash val="solid"/>
            <a:round/>
            <a:headEnd/>
            <a:tailEnd/>
          </a:ln>
        </p:spPr>
        <p:txBody>
          <a:bodyPr/>
          <a:lstStyle/>
          <a:p>
            <a:endParaRPr lang="en-US" dirty="0"/>
          </a:p>
        </p:txBody>
      </p:sp>
      <p:sp>
        <p:nvSpPr>
          <p:cNvPr id="19657" name="Freeform 200"/>
          <p:cNvSpPr>
            <a:spLocks noChangeAspect="1"/>
          </p:cNvSpPr>
          <p:nvPr/>
        </p:nvSpPr>
        <p:spPr bwMode="auto">
          <a:xfrm>
            <a:off x="4518025" y="2454275"/>
            <a:ext cx="28575" cy="14288"/>
          </a:xfrm>
          <a:custGeom>
            <a:avLst/>
            <a:gdLst>
              <a:gd name="T0" fmla="*/ 0 w 37"/>
              <a:gd name="T1" fmla="*/ 0 h 15"/>
              <a:gd name="T2" fmla="*/ 0 w 37"/>
              <a:gd name="T3" fmla="*/ 0 h 15"/>
              <a:gd name="T4" fmla="*/ 0 w 37"/>
              <a:gd name="T5" fmla="*/ 14288 h 15"/>
              <a:gd name="T6" fmla="*/ 28575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noFill/>
          <a:ln w="9525">
            <a:solidFill>
              <a:schemeClr val="bg2"/>
            </a:solidFill>
            <a:prstDash val="solid"/>
            <a:round/>
            <a:headEnd/>
            <a:tailEnd/>
          </a:ln>
        </p:spPr>
        <p:txBody>
          <a:bodyPr/>
          <a:lstStyle/>
          <a:p>
            <a:endParaRPr lang="en-US" dirty="0"/>
          </a:p>
        </p:txBody>
      </p:sp>
      <p:sp>
        <p:nvSpPr>
          <p:cNvPr id="19658" name="Freeform 201"/>
          <p:cNvSpPr>
            <a:spLocks noChangeAspect="1"/>
          </p:cNvSpPr>
          <p:nvPr/>
        </p:nvSpPr>
        <p:spPr bwMode="auto">
          <a:xfrm>
            <a:off x="4667250" y="2339975"/>
            <a:ext cx="28575" cy="30163"/>
          </a:xfrm>
          <a:custGeom>
            <a:avLst/>
            <a:gdLst>
              <a:gd name="T0" fmla="*/ 0 w 37"/>
              <a:gd name="T1" fmla="*/ 13710 h 33"/>
              <a:gd name="T2" fmla="*/ 0 w 37"/>
              <a:gd name="T3" fmla="*/ 13710 h 33"/>
              <a:gd name="T4" fmla="*/ 0 w 37"/>
              <a:gd name="T5" fmla="*/ 30163 h 33"/>
              <a:gd name="T6" fmla="*/ 13901 w 37"/>
              <a:gd name="T7" fmla="*/ 30163 h 33"/>
              <a:gd name="T8" fmla="*/ 13901 w 37"/>
              <a:gd name="T9" fmla="*/ 0 h 33"/>
              <a:gd name="T10" fmla="*/ 28575 w 37"/>
              <a:gd name="T11" fmla="*/ 0 h 33"/>
              <a:gd name="T12" fmla="*/ 0 w 37"/>
              <a:gd name="T13" fmla="*/ 13710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59" name="Freeform 202"/>
          <p:cNvSpPr>
            <a:spLocks noChangeAspect="1"/>
          </p:cNvSpPr>
          <p:nvPr/>
        </p:nvSpPr>
        <p:spPr bwMode="auto">
          <a:xfrm>
            <a:off x="4749800" y="2311400"/>
            <a:ext cx="26988" cy="15875"/>
          </a:xfrm>
          <a:custGeom>
            <a:avLst/>
            <a:gdLst>
              <a:gd name="T0" fmla="*/ 0 w 37"/>
              <a:gd name="T1" fmla="*/ 0 h 18"/>
              <a:gd name="T2" fmla="*/ 0 w 37"/>
              <a:gd name="T3" fmla="*/ 0 h 18"/>
              <a:gd name="T4" fmla="*/ 0 w 37"/>
              <a:gd name="T5" fmla="*/ 15875 h 18"/>
              <a:gd name="T6" fmla="*/ 26988 w 37"/>
              <a:gd name="T7" fmla="*/ 0 h 18"/>
              <a:gd name="T8" fmla="*/ 1385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60" name="Freeform 203"/>
          <p:cNvSpPr>
            <a:spLocks noChangeAspect="1"/>
          </p:cNvSpPr>
          <p:nvPr/>
        </p:nvSpPr>
        <p:spPr bwMode="auto">
          <a:xfrm>
            <a:off x="4764088" y="2286000"/>
            <a:ext cx="12700" cy="11113"/>
          </a:xfrm>
          <a:custGeom>
            <a:avLst/>
            <a:gdLst>
              <a:gd name="T0" fmla="*/ 0 w 18"/>
              <a:gd name="T1" fmla="*/ 11113 h 15"/>
              <a:gd name="T2" fmla="*/ 0 w 18"/>
              <a:gd name="T3" fmla="*/ 11113 h 15"/>
              <a:gd name="T4" fmla="*/ 12700 w 18"/>
              <a:gd name="T5" fmla="*/ 11113 h 15"/>
              <a:gd name="T6" fmla="*/ 0 w 18"/>
              <a:gd name="T7" fmla="*/ 0 h 15"/>
              <a:gd name="T8" fmla="*/ 0 w 18"/>
              <a:gd name="T9" fmla="*/ 11113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61" name="Freeform 204"/>
          <p:cNvSpPr>
            <a:spLocks noChangeAspect="1"/>
          </p:cNvSpPr>
          <p:nvPr/>
        </p:nvSpPr>
        <p:spPr bwMode="auto">
          <a:xfrm>
            <a:off x="5286375" y="2438400"/>
            <a:ext cx="871538" cy="482600"/>
          </a:xfrm>
          <a:custGeom>
            <a:avLst/>
            <a:gdLst>
              <a:gd name="T0" fmla="*/ 858178 w 1109"/>
              <a:gd name="T1" fmla="*/ 241743 h 545"/>
              <a:gd name="T2" fmla="*/ 829887 w 1109"/>
              <a:gd name="T3" fmla="*/ 297530 h 545"/>
              <a:gd name="T4" fmla="*/ 775661 w 1109"/>
              <a:gd name="T5" fmla="*/ 297530 h 545"/>
              <a:gd name="T6" fmla="*/ 720649 w 1109"/>
              <a:gd name="T7" fmla="*/ 355087 h 545"/>
              <a:gd name="T8" fmla="*/ 734795 w 1109"/>
              <a:gd name="T9" fmla="*/ 425042 h 545"/>
              <a:gd name="T10" fmla="*/ 693930 w 1109"/>
              <a:gd name="T11" fmla="*/ 425042 h 545"/>
              <a:gd name="T12" fmla="*/ 585479 w 1109"/>
              <a:gd name="T13" fmla="*/ 411760 h 545"/>
              <a:gd name="T14" fmla="*/ 571333 w 1109"/>
              <a:gd name="T15" fmla="*/ 440096 h 545"/>
              <a:gd name="T16" fmla="*/ 517107 w 1109"/>
              <a:gd name="T17" fmla="*/ 440096 h 545"/>
              <a:gd name="T18" fmla="*/ 462882 w 1109"/>
              <a:gd name="T19" fmla="*/ 467546 h 545"/>
              <a:gd name="T20" fmla="*/ 436162 w 1109"/>
              <a:gd name="T21" fmla="*/ 454264 h 545"/>
              <a:gd name="T22" fmla="*/ 422016 w 1109"/>
              <a:gd name="T23" fmla="*/ 425042 h 545"/>
              <a:gd name="T24" fmla="*/ 325353 w 1109"/>
              <a:gd name="T25" fmla="*/ 397591 h 545"/>
              <a:gd name="T26" fmla="*/ 257768 w 1109"/>
              <a:gd name="T27" fmla="*/ 340034 h 545"/>
              <a:gd name="T28" fmla="*/ 203542 w 1109"/>
              <a:gd name="T29" fmla="*/ 467546 h 545"/>
              <a:gd name="T30" fmla="*/ 162677 w 1109"/>
              <a:gd name="T31" fmla="*/ 440096 h 545"/>
              <a:gd name="T32" fmla="*/ 121811 w 1109"/>
              <a:gd name="T33" fmla="*/ 425042 h 545"/>
              <a:gd name="T34" fmla="*/ 95091 w 1109"/>
              <a:gd name="T35" fmla="*/ 382538 h 545"/>
              <a:gd name="T36" fmla="*/ 108451 w 1109"/>
              <a:gd name="T37" fmla="*/ 382538 h 545"/>
              <a:gd name="T38" fmla="*/ 108451 w 1109"/>
              <a:gd name="T39" fmla="*/ 355087 h 545"/>
              <a:gd name="T40" fmla="*/ 149317 w 1109"/>
              <a:gd name="T41" fmla="*/ 312583 h 545"/>
              <a:gd name="T42" fmla="*/ 95091 w 1109"/>
              <a:gd name="T43" fmla="*/ 284247 h 545"/>
              <a:gd name="T44" fmla="*/ 40866 w 1109"/>
              <a:gd name="T45" fmla="*/ 312583 h 545"/>
              <a:gd name="T46" fmla="*/ 40866 w 1109"/>
              <a:gd name="T47" fmla="*/ 270079 h 545"/>
              <a:gd name="T48" fmla="*/ 0 w 1109"/>
              <a:gd name="T49" fmla="*/ 241743 h 545"/>
              <a:gd name="T50" fmla="*/ 40866 w 1109"/>
              <a:gd name="T51" fmla="*/ 199238 h 545"/>
              <a:gd name="T52" fmla="*/ 40866 w 1109"/>
              <a:gd name="T53" fmla="*/ 170017 h 545"/>
              <a:gd name="T54" fmla="*/ 108451 w 1109"/>
              <a:gd name="T55" fmla="*/ 142566 h 545"/>
              <a:gd name="T56" fmla="*/ 149317 w 1109"/>
              <a:gd name="T57" fmla="*/ 142566 h 545"/>
              <a:gd name="T58" fmla="*/ 216902 w 1109"/>
              <a:gd name="T59" fmla="*/ 156734 h 545"/>
              <a:gd name="T60" fmla="*/ 257768 w 1109"/>
              <a:gd name="T61" fmla="*/ 170017 h 545"/>
              <a:gd name="T62" fmla="*/ 325353 w 1109"/>
              <a:gd name="T63" fmla="*/ 142566 h 545"/>
              <a:gd name="T64" fmla="*/ 311993 w 1109"/>
              <a:gd name="T65" fmla="*/ 114230 h 545"/>
              <a:gd name="T66" fmla="*/ 311993 w 1109"/>
              <a:gd name="T67" fmla="*/ 85008 h 545"/>
              <a:gd name="T68" fmla="*/ 339499 w 1109"/>
              <a:gd name="T69" fmla="*/ 57558 h 545"/>
              <a:gd name="T70" fmla="*/ 462882 w 1109"/>
              <a:gd name="T71" fmla="*/ 0 h 545"/>
              <a:gd name="T72" fmla="*/ 517107 w 1109"/>
              <a:gd name="T73" fmla="*/ 0 h 545"/>
              <a:gd name="T74" fmla="*/ 531253 w 1109"/>
              <a:gd name="T75" fmla="*/ 42504 h 545"/>
              <a:gd name="T76" fmla="*/ 571333 w 1109"/>
              <a:gd name="T77" fmla="*/ 57558 h 545"/>
              <a:gd name="T78" fmla="*/ 598838 w 1109"/>
              <a:gd name="T79" fmla="*/ 71726 h 545"/>
              <a:gd name="T80" fmla="*/ 653064 w 1109"/>
              <a:gd name="T81" fmla="*/ 29222 h 545"/>
              <a:gd name="T82" fmla="*/ 720649 w 1109"/>
              <a:gd name="T83" fmla="*/ 170017 h 545"/>
              <a:gd name="T84" fmla="*/ 748155 w 1109"/>
              <a:gd name="T85" fmla="*/ 170017 h 545"/>
              <a:gd name="T86" fmla="*/ 829887 w 1109"/>
              <a:gd name="T87" fmla="*/ 199238 h 545"/>
              <a:gd name="T88" fmla="*/ 858178 w 1109"/>
              <a:gd name="T89" fmla="*/ 199238 h 545"/>
              <a:gd name="T90" fmla="*/ 858178 w 1109"/>
              <a:gd name="T91" fmla="*/ 241743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chemeClr val="bg1"/>
          </a:solidFill>
          <a:ln w="9525">
            <a:solidFill>
              <a:schemeClr val="bg2"/>
            </a:solidFill>
            <a:round/>
            <a:headEnd/>
            <a:tailEnd/>
          </a:ln>
        </p:spPr>
        <p:txBody>
          <a:bodyPr/>
          <a:lstStyle/>
          <a:p>
            <a:endParaRPr lang="en-US" dirty="0"/>
          </a:p>
        </p:txBody>
      </p:sp>
      <p:sp>
        <p:nvSpPr>
          <p:cNvPr id="19662" name="Freeform 205"/>
          <p:cNvSpPr>
            <a:spLocks noChangeAspect="1"/>
          </p:cNvSpPr>
          <p:nvPr/>
        </p:nvSpPr>
        <p:spPr bwMode="auto">
          <a:xfrm>
            <a:off x="5407025" y="2862263"/>
            <a:ext cx="315913" cy="212725"/>
          </a:xfrm>
          <a:custGeom>
            <a:avLst/>
            <a:gdLst>
              <a:gd name="T0" fmla="*/ 301697 w 400"/>
              <a:gd name="T1" fmla="*/ 170180 h 240"/>
              <a:gd name="T2" fmla="*/ 301697 w 400"/>
              <a:gd name="T3" fmla="*/ 170180 h 240"/>
              <a:gd name="T4" fmla="*/ 288271 w 400"/>
              <a:gd name="T5" fmla="*/ 155998 h 240"/>
              <a:gd name="T6" fmla="*/ 288271 w 400"/>
              <a:gd name="T7" fmla="*/ 170180 h 240"/>
              <a:gd name="T8" fmla="*/ 274844 w 400"/>
              <a:gd name="T9" fmla="*/ 170180 h 240"/>
              <a:gd name="T10" fmla="*/ 260628 w 400"/>
              <a:gd name="T11" fmla="*/ 198543 h 240"/>
              <a:gd name="T12" fmla="*/ 233776 w 400"/>
              <a:gd name="T13" fmla="*/ 198543 h 240"/>
              <a:gd name="T14" fmla="*/ 233776 w 400"/>
              <a:gd name="T15" fmla="*/ 212725 h 240"/>
              <a:gd name="T16" fmla="*/ 191127 w 400"/>
              <a:gd name="T17" fmla="*/ 212725 h 240"/>
              <a:gd name="T18" fmla="*/ 191127 w 400"/>
              <a:gd name="T19" fmla="*/ 198543 h 240"/>
              <a:gd name="T20" fmla="*/ 191127 w 400"/>
              <a:gd name="T21" fmla="*/ 185248 h 240"/>
              <a:gd name="T22" fmla="*/ 109780 w 400"/>
              <a:gd name="T23" fmla="*/ 142703 h 240"/>
              <a:gd name="T24" fmla="*/ 68711 w 400"/>
              <a:gd name="T25" fmla="*/ 142703 h 240"/>
              <a:gd name="T26" fmla="*/ 41069 w 400"/>
              <a:gd name="T27" fmla="*/ 155998 h 240"/>
              <a:gd name="T28" fmla="*/ 41069 w 400"/>
              <a:gd name="T29" fmla="*/ 114340 h 240"/>
              <a:gd name="T30" fmla="*/ 27642 w 400"/>
              <a:gd name="T31" fmla="*/ 114340 h 240"/>
              <a:gd name="T32" fmla="*/ 27642 w 400"/>
              <a:gd name="T33" fmla="*/ 85090 h 240"/>
              <a:gd name="T34" fmla="*/ 14216 w 400"/>
              <a:gd name="T35" fmla="*/ 85090 h 240"/>
              <a:gd name="T36" fmla="*/ 14216 w 400"/>
              <a:gd name="T37" fmla="*/ 71795 h 240"/>
              <a:gd name="T38" fmla="*/ 41069 w 400"/>
              <a:gd name="T39" fmla="*/ 71795 h 240"/>
              <a:gd name="T40" fmla="*/ 54495 w 400"/>
              <a:gd name="T41" fmla="*/ 57613 h 240"/>
              <a:gd name="T42" fmla="*/ 27642 w 400"/>
              <a:gd name="T43" fmla="*/ 29250 h 240"/>
              <a:gd name="T44" fmla="*/ 14216 w 400"/>
              <a:gd name="T45" fmla="*/ 29250 h 240"/>
              <a:gd name="T46" fmla="*/ 14216 w 400"/>
              <a:gd name="T47" fmla="*/ 57613 h 240"/>
              <a:gd name="T48" fmla="*/ 0 w 400"/>
              <a:gd name="T49" fmla="*/ 29250 h 240"/>
              <a:gd name="T50" fmla="*/ 41069 w 400"/>
              <a:gd name="T51" fmla="*/ 15068 h 240"/>
              <a:gd name="T52" fmla="*/ 68711 w 400"/>
              <a:gd name="T53" fmla="*/ 42545 h 240"/>
              <a:gd name="T54" fmla="*/ 82137 w 400"/>
              <a:gd name="T55" fmla="*/ 42545 h 240"/>
              <a:gd name="T56" fmla="*/ 95564 w 400"/>
              <a:gd name="T57" fmla="*/ 42545 h 240"/>
              <a:gd name="T58" fmla="*/ 95564 w 400"/>
              <a:gd name="T59" fmla="*/ 29250 h 240"/>
              <a:gd name="T60" fmla="*/ 123206 w 400"/>
              <a:gd name="T61" fmla="*/ 15068 h 240"/>
              <a:gd name="T62" fmla="*/ 136632 w 400"/>
              <a:gd name="T63" fmla="*/ 15068 h 240"/>
              <a:gd name="T64" fmla="*/ 123206 w 400"/>
              <a:gd name="T65" fmla="*/ 0 h 240"/>
              <a:gd name="T66" fmla="*/ 136632 w 400"/>
              <a:gd name="T67" fmla="*/ 0 h 240"/>
              <a:gd name="T68" fmla="*/ 164275 w 400"/>
              <a:gd name="T69" fmla="*/ 15068 h 240"/>
              <a:gd name="T70" fmla="*/ 164275 w 400"/>
              <a:gd name="T71" fmla="*/ 42545 h 240"/>
              <a:gd name="T72" fmla="*/ 204554 w 400"/>
              <a:gd name="T73" fmla="*/ 42545 h 240"/>
              <a:gd name="T74" fmla="*/ 220349 w 400"/>
              <a:gd name="T75" fmla="*/ 85090 h 240"/>
              <a:gd name="T76" fmla="*/ 288271 w 400"/>
              <a:gd name="T77" fmla="*/ 127635 h 240"/>
              <a:gd name="T78" fmla="*/ 315913 w 400"/>
              <a:gd name="T79" fmla="*/ 142703 h 240"/>
              <a:gd name="T80" fmla="*/ 301697 w 400"/>
              <a:gd name="T81" fmla="*/ 17018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chemeClr val="bg1"/>
          </a:solidFill>
          <a:ln w="9525">
            <a:solidFill>
              <a:schemeClr val="bg2"/>
            </a:solidFill>
            <a:round/>
            <a:headEnd/>
            <a:tailEnd/>
          </a:ln>
        </p:spPr>
        <p:txBody>
          <a:bodyPr/>
          <a:lstStyle/>
          <a:p>
            <a:endParaRPr lang="en-US" dirty="0"/>
          </a:p>
        </p:txBody>
      </p:sp>
      <p:sp>
        <p:nvSpPr>
          <p:cNvPr id="19663" name="Freeform 206"/>
          <p:cNvSpPr>
            <a:spLocks noChangeAspect="1"/>
          </p:cNvSpPr>
          <p:nvPr/>
        </p:nvSpPr>
        <p:spPr bwMode="auto">
          <a:xfrm>
            <a:off x="5487988" y="2778125"/>
            <a:ext cx="369887" cy="254000"/>
          </a:xfrm>
          <a:custGeom>
            <a:avLst/>
            <a:gdLst>
              <a:gd name="T0" fmla="*/ 218139 w 468"/>
              <a:gd name="T1" fmla="*/ 254000 h 288"/>
              <a:gd name="T2" fmla="*/ 218139 w 468"/>
              <a:gd name="T3" fmla="*/ 254000 h 288"/>
              <a:gd name="T4" fmla="*/ 245801 w 468"/>
              <a:gd name="T5" fmla="*/ 254000 h 288"/>
              <a:gd name="T6" fmla="*/ 259237 w 468"/>
              <a:gd name="T7" fmla="*/ 226660 h 288"/>
              <a:gd name="T8" fmla="*/ 259237 w 468"/>
              <a:gd name="T9" fmla="*/ 198437 h 288"/>
              <a:gd name="T10" fmla="*/ 245801 w 468"/>
              <a:gd name="T11" fmla="*/ 184326 h 288"/>
              <a:gd name="T12" fmla="*/ 273463 w 468"/>
              <a:gd name="T13" fmla="*/ 184326 h 288"/>
              <a:gd name="T14" fmla="*/ 286900 w 468"/>
              <a:gd name="T15" fmla="*/ 156104 h 288"/>
              <a:gd name="T16" fmla="*/ 286900 w 468"/>
              <a:gd name="T17" fmla="*/ 141993 h 288"/>
              <a:gd name="T18" fmla="*/ 315352 w 468"/>
              <a:gd name="T19" fmla="*/ 141993 h 288"/>
              <a:gd name="T20" fmla="*/ 315352 w 468"/>
              <a:gd name="T21" fmla="*/ 156104 h 288"/>
              <a:gd name="T22" fmla="*/ 343015 w 468"/>
              <a:gd name="T23" fmla="*/ 156104 h 288"/>
              <a:gd name="T24" fmla="*/ 369887 w 468"/>
              <a:gd name="T25" fmla="*/ 141993 h 288"/>
              <a:gd name="T26" fmla="*/ 343015 w 468"/>
              <a:gd name="T27" fmla="*/ 127000 h 288"/>
              <a:gd name="T28" fmla="*/ 329579 w 468"/>
              <a:gd name="T29" fmla="*/ 127000 h 288"/>
              <a:gd name="T30" fmla="*/ 300336 w 468"/>
              <a:gd name="T31" fmla="*/ 127000 h 288"/>
              <a:gd name="T32" fmla="*/ 329579 w 468"/>
              <a:gd name="T33" fmla="*/ 99660 h 288"/>
              <a:gd name="T34" fmla="*/ 315352 w 468"/>
              <a:gd name="T35" fmla="*/ 99660 h 288"/>
              <a:gd name="T36" fmla="*/ 273463 w 468"/>
              <a:gd name="T37" fmla="*/ 141993 h 288"/>
              <a:gd name="T38" fmla="*/ 259237 w 468"/>
              <a:gd name="T39" fmla="*/ 127000 h 288"/>
              <a:gd name="T40" fmla="*/ 232365 w 468"/>
              <a:gd name="T41" fmla="*/ 127000 h 288"/>
              <a:gd name="T42" fmla="*/ 232365 w 468"/>
              <a:gd name="T43" fmla="*/ 113771 h 288"/>
              <a:gd name="T44" fmla="*/ 218139 w 468"/>
              <a:gd name="T45" fmla="*/ 113771 h 288"/>
              <a:gd name="T46" fmla="*/ 218139 w 468"/>
              <a:gd name="T47" fmla="*/ 84667 h 288"/>
              <a:gd name="T48" fmla="*/ 191266 w 468"/>
              <a:gd name="T49" fmla="*/ 57326 h 288"/>
              <a:gd name="T50" fmla="*/ 122505 w 468"/>
              <a:gd name="T51" fmla="*/ 57326 h 288"/>
              <a:gd name="T52" fmla="*/ 82197 w 468"/>
              <a:gd name="T53" fmla="*/ 14993 h 288"/>
              <a:gd name="T54" fmla="*/ 54535 w 468"/>
              <a:gd name="T55" fmla="*/ 0 h 288"/>
              <a:gd name="T56" fmla="*/ 0 w 468"/>
              <a:gd name="T57" fmla="*/ 14993 h 288"/>
              <a:gd name="T58" fmla="*/ 0 w 468"/>
              <a:gd name="T59" fmla="*/ 127000 h 288"/>
              <a:gd name="T60" fmla="*/ 13436 w 468"/>
              <a:gd name="T61" fmla="*/ 127000 h 288"/>
              <a:gd name="T62" fmla="*/ 13436 w 468"/>
              <a:gd name="T63" fmla="*/ 113771 h 288"/>
              <a:gd name="T64" fmla="*/ 41099 w 468"/>
              <a:gd name="T65" fmla="*/ 99660 h 288"/>
              <a:gd name="T66" fmla="*/ 54535 w 468"/>
              <a:gd name="T67" fmla="*/ 99660 h 288"/>
              <a:gd name="T68" fmla="*/ 41099 w 468"/>
              <a:gd name="T69" fmla="*/ 84667 h 288"/>
              <a:gd name="T70" fmla="*/ 54535 w 468"/>
              <a:gd name="T71" fmla="*/ 84667 h 288"/>
              <a:gd name="T72" fmla="*/ 82197 w 468"/>
              <a:gd name="T73" fmla="*/ 99660 h 288"/>
              <a:gd name="T74" fmla="*/ 82197 w 468"/>
              <a:gd name="T75" fmla="*/ 127000 h 288"/>
              <a:gd name="T76" fmla="*/ 122505 w 468"/>
              <a:gd name="T77" fmla="*/ 127000 h 288"/>
              <a:gd name="T78" fmla="*/ 136732 w 468"/>
              <a:gd name="T79" fmla="*/ 169333 h 288"/>
              <a:gd name="T80" fmla="*/ 204702 w 468"/>
              <a:gd name="T81" fmla="*/ 211667 h 288"/>
              <a:gd name="T82" fmla="*/ 232365 w 468"/>
              <a:gd name="T83" fmla="*/ 226660 h 288"/>
              <a:gd name="T84" fmla="*/ 218139 w 468"/>
              <a:gd name="T85" fmla="*/ 25400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chemeClr val="bg1"/>
          </a:solidFill>
          <a:ln w="9525">
            <a:solidFill>
              <a:schemeClr val="bg2"/>
            </a:solidFill>
            <a:round/>
            <a:headEnd/>
            <a:tailEnd/>
          </a:ln>
        </p:spPr>
        <p:txBody>
          <a:bodyPr/>
          <a:lstStyle/>
          <a:p>
            <a:endParaRPr lang="en-US" dirty="0"/>
          </a:p>
        </p:txBody>
      </p:sp>
      <p:sp>
        <p:nvSpPr>
          <p:cNvPr id="19664" name="Freeform 207"/>
          <p:cNvSpPr>
            <a:spLocks noChangeAspect="1"/>
          </p:cNvSpPr>
          <p:nvPr/>
        </p:nvSpPr>
        <p:spPr bwMode="auto">
          <a:xfrm>
            <a:off x="5734050" y="2921000"/>
            <a:ext cx="165100" cy="127000"/>
          </a:xfrm>
          <a:custGeom>
            <a:avLst/>
            <a:gdLst>
              <a:gd name="T0" fmla="*/ 138242 w 209"/>
              <a:gd name="T1" fmla="*/ 42333 h 144"/>
              <a:gd name="T2" fmla="*/ 138242 w 209"/>
              <a:gd name="T3" fmla="*/ 42333 h 144"/>
              <a:gd name="T4" fmla="*/ 138242 w 209"/>
              <a:gd name="T5" fmla="*/ 69674 h 144"/>
              <a:gd name="T6" fmla="*/ 165100 w 209"/>
              <a:gd name="T7" fmla="*/ 69674 h 144"/>
              <a:gd name="T8" fmla="*/ 165100 w 209"/>
              <a:gd name="T9" fmla="*/ 112007 h 144"/>
              <a:gd name="T10" fmla="*/ 124023 w 209"/>
              <a:gd name="T11" fmla="*/ 97896 h 144"/>
              <a:gd name="T12" fmla="*/ 97164 w 209"/>
              <a:gd name="T13" fmla="*/ 127000 h 144"/>
              <a:gd name="T14" fmla="*/ 83735 w 209"/>
              <a:gd name="T15" fmla="*/ 84667 h 144"/>
              <a:gd name="T16" fmla="*/ 69516 w 209"/>
              <a:gd name="T17" fmla="*/ 69674 h 144"/>
              <a:gd name="T18" fmla="*/ 56087 w 209"/>
              <a:gd name="T19" fmla="*/ 97896 h 144"/>
              <a:gd name="T20" fmla="*/ 42657 w 209"/>
              <a:gd name="T21" fmla="*/ 97896 h 144"/>
              <a:gd name="T22" fmla="*/ 42657 w 209"/>
              <a:gd name="T23" fmla="*/ 112007 h 144"/>
              <a:gd name="T24" fmla="*/ 13429 w 209"/>
              <a:gd name="T25" fmla="*/ 112007 h 144"/>
              <a:gd name="T26" fmla="*/ 0 w 209"/>
              <a:gd name="T27" fmla="*/ 112007 h 144"/>
              <a:gd name="T28" fmla="*/ 13429 w 209"/>
              <a:gd name="T29" fmla="*/ 84667 h 144"/>
              <a:gd name="T30" fmla="*/ 13429 w 209"/>
              <a:gd name="T31" fmla="*/ 56444 h 144"/>
              <a:gd name="T32" fmla="*/ 0 w 209"/>
              <a:gd name="T33" fmla="*/ 42333 h 144"/>
              <a:gd name="T34" fmla="*/ 27648 w 209"/>
              <a:gd name="T35" fmla="*/ 42333 h 144"/>
              <a:gd name="T36" fmla="*/ 42657 w 209"/>
              <a:gd name="T37" fmla="*/ 14111 h 144"/>
              <a:gd name="T38" fmla="*/ 42657 w 209"/>
              <a:gd name="T39" fmla="*/ 0 h 144"/>
              <a:gd name="T40" fmla="*/ 69516 w 209"/>
              <a:gd name="T41" fmla="*/ 0 h 144"/>
              <a:gd name="T42" fmla="*/ 69516 w 209"/>
              <a:gd name="T43" fmla="*/ 14111 h 144"/>
              <a:gd name="T44" fmla="*/ 69516 w 209"/>
              <a:gd name="T45" fmla="*/ 27340 h 144"/>
              <a:gd name="T46" fmla="*/ 42657 w 209"/>
              <a:gd name="T47" fmla="*/ 27340 h 144"/>
              <a:gd name="T48" fmla="*/ 42657 w 209"/>
              <a:gd name="T49" fmla="*/ 42333 h 144"/>
              <a:gd name="T50" fmla="*/ 83735 w 209"/>
              <a:gd name="T51" fmla="*/ 42333 h 144"/>
              <a:gd name="T52" fmla="*/ 97164 w 209"/>
              <a:gd name="T53" fmla="*/ 42333 h 144"/>
              <a:gd name="T54" fmla="*/ 138242 w 209"/>
              <a:gd name="T55" fmla="*/ 42333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chemeClr val="bg1"/>
          </a:solidFill>
          <a:ln w="9525">
            <a:solidFill>
              <a:schemeClr val="bg2"/>
            </a:solidFill>
            <a:round/>
            <a:headEnd/>
            <a:tailEnd/>
          </a:ln>
        </p:spPr>
        <p:txBody>
          <a:bodyPr/>
          <a:lstStyle/>
          <a:p>
            <a:endParaRPr lang="en-US" dirty="0"/>
          </a:p>
        </p:txBody>
      </p:sp>
      <p:sp>
        <p:nvSpPr>
          <p:cNvPr id="19665" name="Freeform 208"/>
          <p:cNvSpPr>
            <a:spLocks noChangeAspect="1"/>
          </p:cNvSpPr>
          <p:nvPr/>
        </p:nvSpPr>
        <p:spPr bwMode="auto">
          <a:xfrm>
            <a:off x="5776913" y="2849563"/>
            <a:ext cx="234950" cy="112712"/>
          </a:xfrm>
          <a:custGeom>
            <a:avLst/>
            <a:gdLst>
              <a:gd name="T0" fmla="*/ 234950 w 295"/>
              <a:gd name="T1" fmla="*/ 28178 h 128"/>
              <a:gd name="T2" fmla="*/ 234950 w 295"/>
              <a:gd name="T3" fmla="*/ 28178 h 128"/>
              <a:gd name="T4" fmla="*/ 234950 w 295"/>
              <a:gd name="T5" fmla="*/ 42267 h 128"/>
              <a:gd name="T6" fmla="*/ 192739 w 295"/>
              <a:gd name="T7" fmla="*/ 70445 h 128"/>
              <a:gd name="T8" fmla="*/ 164863 w 295"/>
              <a:gd name="T9" fmla="*/ 70445 h 128"/>
              <a:gd name="T10" fmla="*/ 151324 w 295"/>
              <a:gd name="T11" fmla="*/ 84534 h 128"/>
              <a:gd name="T12" fmla="*/ 123448 w 295"/>
              <a:gd name="T13" fmla="*/ 84534 h 128"/>
              <a:gd name="T14" fmla="*/ 96369 w 295"/>
              <a:gd name="T15" fmla="*/ 97742 h 128"/>
              <a:gd name="T16" fmla="*/ 96369 w 295"/>
              <a:gd name="T17" fmla="*/ 112712 h 128"/>
              <a:gd name="T18" fmla="*/ 54954 w 295"/>
              <a:gd name="T19" fmla="*/ 112712 h 128"/>
              <a:gd name="T20" fmla="*/ 41415 w 295"/>
              <a:gd name="T21" fmla="*/ 112712 h 128"/>
              <a:gd name="T22" fmla="*/ 0 w 295"/>
              <a:gd name="T23" fmla="*/ 112712 h 128"/>
              <a:gd name="T24" fmla="*/ 0 w 295"/>
              <a:gd name="T25" fmla="*/ 97742 h 128"/>
              <a:gd name="T26" fmla="*/ 27079 w 295"/>
              <a:gd name="T27" fmla="*/ 97742 h 128"/>
              <a:gd name="T28" fmla="*/ 27079 w 295"/>
              <a:gd name="T29" fmla="*/ 84534 h 128"/>
              <a:gd name="T30" fmla="*/ 54954 w 295"/>
              <a:gd name="T31" fmla="*/ 84534 h 128"/>
              <a:gd name="T32" fmla="*/ 82033 w 295"/>
              <a:gd name="T33" fmla="*/ 70445 h 128"/>
              <a:gd name="T34" fmla="*/ 54954 w 295"/>
              <a:gd name="T35" fmla="*/ 55475 h 128"/>
              <a:gd name="T36" fmla="*/ 41415 w 295"/>
              <a:gd name="T37" fmla="*/ 55475 h 128"/>
              <a:gd name="T38" fmla="*/ 13539 w 295"/>
              <a:gd name="T39" fmla="*/ 55475 h 128"/>
              <a:gd name="T40" fmla="*/ 41415 w 295"/>
              <a:gd name="T41" fmla="*/ 28178 h 128"/>
              <a:gd name="T42" fmla="*/ 27079 w 295"/>
              <a:gd name="T43" fmla="*/ 28178 h 128"/>
              <a:gd name="T44" fmla="*/ 41415 w 295"/>
              <a:gd name="T45" fmla="*/ 13208 h 128"/>
              <a:gd name="T46" fmla="*/ 82033 w 295"/>
              <a:gd name="T47" fmla="*/ 28178 h 128"/>
              <a:gd name="T48" fmla="*/ 82033 w 295"/>
              <a:gd name="T49" fmla="*/ 13208 h 128"/>
              <a:gd name="T50" fmla="*/ 96369 w 295"/>
              <a:gd name="T51" fmla="*/ 0 h 128"/>
              <a:gd name="T52" fmla="*/ 123448 w 295"/>
              <a:gd name="T53" fmla="*/ 13208 h 128"/>
              <a:gd name="T54" fmla="*/ 206278 w 295"/>
              <a:gd name="T55" fmla="*/ 13208 h 128"/>
              <a:gd name="T56" fmla="*/ 234950 w 295"/>
              <a:gd name="T57" fmla="*/ 28178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chemeClr val="bg1"/>
          </a:solidFill>
          <a:ln w="9525">
            <a:solidFill>
              <a:schemeClr val="bg2"/>
            </a:solidFill>
            <a:round/>
            <a:headEnd/>
            <a:tailEnd/>
          </a:ln>
        </p:spPr>
        <p:txBody>
          <a:bodyPr/>
          <a:lstStyle/>
          <a:p>
            <a:endParaRPr lang="en-US" dirty="0"/>
          </a:p>
        </p:txBody>
      </p:sp>
      <p:sp>
        <p:nvSpPr>
          <p:cNvPr id="19666" name="Freeform 209"/>
          <p:cNvSpPr>
            <a:spLocks noChangeAspect="1"/>
          </p:cNvSpPr>
          <p:nvPr/>
        </p:nvSpPr>
        <p:spPr bwMode="auto">
          <a:xfrm>
            <a:off x="5599113" y="3032125"/>
            <a:ext cx="355600" cy="354013"/>
          </a:xfrm>
          <a:custGeom>
            <a:avLst/>
            <a:gdLst>
              <a:gd name="T0" fmla="*/ 13464 w 449"/>
              <a:gd name="T1" fmla="*/ 311637 h 401"/>
              <a:gd name="T2" fmla="*/ 13464 w 449"/>
              <a:gd name="T3" fmla="*/ 311637 h 401"/>
              <a:gd name="T4" fmla="*/ 13464 w 449"/>
              <a:gd name="T5" fmla="*/ 282504 h 401"/>
              <a:gd name="T6" fmla="*/ 41183 w 449"/>
              <a:gd name="T7" fmla="*/ 269262 h 401"/>
              <a:gd name="T8" fmla="*/ 27719 w 449"/>
              <a:gd name="T9" fmla="*/ 240129 h 401"/>
              <a:gd name="T10" fmla="*/ 13464 w 449"/>
              <a:gd name="T11" fmla="*/ 226886 h 401"/>
              <a:gd name="T12" fmla="*/ 0 w 449"/>
              <a:gd name="T13" fmla="*/ 197753 h 401"/>
              <a:gd name="T14" fmla="*/ 27719 w 449"/>
              <a:gd name="T15" fmla="*/ 211878 h 401"/>
              <a:gd name="T16" fmla="*/ 109294 w 449"/>
              <a:gd name="T17" fmla="*/ 197753 h 401"/>
              <a:gd name="T18" fmla="*/ 109294 w 449"/>
              <a:gd name="T19" fmla="*/ 169502 h 401"/>
              <a:gd name="T20" fmla="*/ 123549 w 449"/>
              <a:gd name="T21" fmla="*/ 155377 h 401"/>
              <a:gd name="T22" fmla="*/ 178196 w 449"/>
              <a:gd name="T23" fmla="*/ 142135 h 401"/>
              <a:gd name="T24" fmla="*/ 178196 w 449"/>
              <a:gd name="T25" fmla="*/ 113002 h 401"/>
              <a:gd name="T26" fmla="*/ 191660 w 449"/>
              <a:gd name="T27" fmla="*/ 99759 h 401"/>
              <a:gd name="T28" fmla="*/ 191660 w 449"/>
              <a:gd name="T29" fmla="*/ 84751 h 401"/>
              <a:gd name="T30" fmla="*/ 205123 w 449"/>
              <a:gd name="T31" fmla="*/ 84751 h 401"/>
              <a:gd name="T32" fmla="*/ 219379 w 449"/>
              <a:gd name="T33" fmla="*/ 57384 h 401"/>
              <a:gd name="T34" fmla="*/ 219379 w 449"/>
              <a:gd name="T35" fmla="*/ 28250 h 401"/>
              <a:gd name="T36" fmla="*/ 246306 w 449"/>
              <a:gd name="T37" fmla="*/ 15008 h 401"/>
              <a:gd name="T38" fmla="*/ 274026 w 449"/>
              <a:gd name="T39" fmla="*/ 0 h 401"/>
              <a:gd name="T40" fmla="*/ 287490 w 449"/>
              <a:gd name="T41" fmla="*/ 0 h 401"/>
              <a:gd name="T42" fmla="*/ 314417 w 449"/>
              <a:gd name="T43" fmla="*/ 15008 h 401"/>
              <a:gd name="T44" fmla="*/ 328673 w 449"/>
              <a:gd name="T45" fmla="*/ 28250 h 401"/>
              <a:gd name="T46" fmla="*/ 355600 w 449"/>
              <a:gd name="T47" fmla="*/ 42376 h 401"/>
              <a:gd name="T48" fmla="*/ 342136 w 449"/>
              <a:gd name="T49" fmla="*/ 57384 h 401"/>
              <a:gd name="T50" fmla="*/ 314417 w 449"/>
              <a:gd name="T51" fmla="*/ 70626 h 401"/>
              <a:gd name="T52" fmla="*/ 287490 w 449"/>
              <a:gd name="T53" fmla="*/ 57384 h 401"/>
              <a:gd name="T54" fmla="*/ 274026 w 449"/>
              <a:gd name="T55" fmla="*/ 70626 h 401"/>
              <a:gd name="T56" fmla="*/ 287490 w 449"/>
              <a:gd name="T57" fmla="*/ 84751 h 401"/>
              <a:gd name="T58" fmla="*/ 274026 w 449"/>
              <a:gd name="T59" fmla="*/ 113002 h 401"/>
              <a:gd name="T60" fmla="*/ 300953 w 449"/>
              <a:gd name="T61" fmla="*/ 127127 h 401"/>
              <a:gd name="T62" fmla="*/ 300953 w 449"/>
              <a:gd name="T63" fmla="*/ 142135 h 401"/>
              <a:gd name="T64" fmla="*/ 287490 w 449"/>
              <a:gd name="T65" fmla="*/ 142135 h 401"/>
              <a:gd name="T66" fmla="*/ 300953 w 449"/>
              <a:gd name="T67" fmla="*/ 155377 h 401"/>
              <a:gd name="T68" fmla="*/ 232843 w 449"/>
              <a:gd name="T69" fmla="*/ 240129 h 401"/>
              <a:gd name="T70" fmla="*/ 205123 w 449"/>
              <a:gd name="T71" fmla="*/ 254254 h 401"/>
              <a:gd name="T72" fmla="*/ 191660 w 449"/>
              <a:gd name="T73" fmla="*/ 240129 h 401"/>
              <a:gd name="T74" fmla="*/ 178196 w 449"/>
              <a:gd name="T75" fmla="*/ 254254 h 401"/>
              <a:gd name="T76" fmla="*/ 178196 w 449"/>
              <a:gd name="T77" fmla="*/ 282504 h 401"/>
              <a:gd name="T78" fmla="*/ 191660 w 449"/>
              <a:gd name="T79" fmla="*/ 282504 h 401"/>
              <a:gd name="T80" fmla="*/ 191660 w 449"/>
              <a:gd name="T81" fmla="*/ 296629 h 401"/>
              <a:gd name="T82" fmla="*/ 205123 w 449"/>
              <a:gd name="T83" fmla="*/ 296629 h 401"/>
              <a:gd name="T84" fmla="*/ 205123 w 449"/>
              <a:gd name="T85" fmla="*/ 324880 h 401"/>
              <a:gd name="T86" fmla="*/ 205123 w 449"/>
              <a:gd name="T87" fmla="*/ 339005 h 401"/>
              <a:gd name="T88" fmla="*/ 163940 w 449"/>
              <a:gd name="T89" fmla="*/ 339005 h 401"/>
              <a:gd name="T90" fmla="*/ 150477 w 449"/>
              <a:gd name="T91" fmla="*/ 354013 h 401"/>
              <a:gd name="T92" fmla="*/ 137013 w 449"/>
              <a:gd name="T93" fmla="*/ 339005 h 401"/>
              <a:gd name="T94" fmla="*/ 123549 w 449"/>
              <a:gd name="T95" fmla="*/ 311637 h 401"/>
              <a:gd name="T96" fmla="*/ 82366 w 449"/>
              <a:gd name="T97" fmla="*/ 311637 h 401"/>
              <a:gd name="T98" fmla="*/ 54647 w 449"/>
              <a:gd name="T99" fmla="*/ 311637 h 401"/>
              <a:gd name="T100" fmla="*/ 13464 w 449"/>
              <a:gd name="T101" fmla="*/ 311637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01">
                <a:moveTo>
                  <a:pt x="17" y="353"/>
                </a:moveTo>
                <a:lnTo>
                  <a:pt x="17" y="353"/>
                </a:lnTo>
                <a:lnTo>
                  <a:pt x="17" y="320"/>
                </a:lnTo>
                <a:lnTo>
                  <a:pt x="52" y="305"/>
                </a:lnTo>
                <a:lnTo>
                  <a:pt x="35" y="272"/>
                </a:lnTo>
                <a:lnTo>
                  <a:pt x="17" y="257"/>
                </a:lnTo>
                <a:lnTo>
                  <a:pt x="0" y="224"/>
                </a:lnTo>
                <a:lnTo>
                  <a:pt x="35" y="240"/>
                </a:lnTo>
                <a:lnTo>
                  <a:pt x="138" y="224"/>
                </a:lnTo>
                <a:lnTo>
                  <a:pt x="138" y="192"/>
                </a:lnTo>
                <a:lnTo>
                  <a:pt x="156" y="176"/>
                </a:lnTo>
                <a:lnTo>
                  <a:pt x="225" y="161"/>
                </a:lnTo>
                <a:lnTo>
                  <a:pt x="225" y="128"/>
                </a:lnTo>
                <a:lnTo>
                  <a:pt x="242" y="113"/>
                </a:lnTo>
                <a:lnTo>
                  <a:pt x="242" y="96"/>
                </a:lnTo>
                <a:lnTo>
                  <a:pt x="259" y="96"/>
                </a:lnTo>
                <a:lnTo>
                  <a:pt x="277" y="65"/>
                </a:lnTo>
                <a:lnTo>
                  <a:pt x="277" y="32"/>
                </a:lnTo>
                <a:lnTo>
                  <a:pt x="311" y="17"/>
                </a:lnTo>
                <a:lnTo>
                  <a:pt x="346" y="0"/>
                </a:lnTo>
                <a:lnTo>
                  <a:pt x="363" y="0"/>
                </a:lnTo>
                <a:lnTo>
                  <a:pt x="397" y="17"/>
                </a:lnTo>
                <a:lnTo>
                  <a:pt x="415" y="32"/>
                </a:lnTo>
                <a:lnTo>
                  <a:pt x="449" y="48"/>
                </a:lnTo>
                <a:lnTo>
                  <a:pt x="432" y="65"/>
                </a:lnTo>
                <a:lnTo>
                  <a:pt x="397" y="80"/>
                </a:lnTo>
                <a:lnTo>
                  <a:pt x="363" y="65"/>
                </a:lnTo>
                <a:lnTo>
                  <a:pt x="346" y="80"/>
                </a:lnTo>
                <a:lnTo>
                  <a:pt x="363" y="96"/>
                </a:lnTo>
                <a:lnTo>
                  <a:pt x="346" y="128"/>
                </a:lnTo>
                <a:lnTo>
                  <a:pt x="380" y="144"/>
                </a:lnTo>
                <a:lnTo>
                  <a:pt x="380" y="161"/>
                </a:lnTo>
                <a:lnTo>
                  <a:pt x="363" y="161"/>
                </a:lnTo>
                <a:lnTo>
                  <a:pt x="380" y="176"/>
                </a:lnTo>
                <a:lnTo>
                  <a:pt x="294" y="272"/>
                </a:lnTo>
                <a:lnTo>
                  <a:pt x="259" y="288"/>
                </a:lnTo>
                <a:lnTo>
                  <a:pt x="242" y="272"/>
                </a:lnTo>
                <a:lnTo>
                  <a:pt x="225" y="288"/>
                </a:lnTo>
                <a:lnTo>
                  <a:pt x="225" y="320"/>
                </a:lnTo>
                <a:lnTo>
                  <a:pt x="242" y="320"/>
                </a:lnTo>
                <a:lnTo>
                  <a:pt x="242" y="336"/>
                </a:lnTo>
                <a:lnTo>
                  <a:pt x="259" y="336"/>
                </a:lnTo>
                <a:lnTo>
                  <a:pt x="259" y="368"/>
                </a:lnTo>
                <a:lnTo>
                  <a:pt x="259" y="384"/>
                </a:lnTo>
                <a:lnTo>
                  <a:pt x="207" y="384"/>
                </a:lnTo>
                <a:lnTo>
                  <a:pt x="190" y="401"/>
                </a:lnTo>
                <a:lnTo>
                  <a:pt x="173" y="384"/>
                </a:lnTo>
                <a:lnTo>
                  <a:pt x="156" y="353"/>
                </a:lnTo>
                <a:lnTo>
                  <a:pt x="104" y="353"/>
                </a:lnTo>
                <a:lnTo>
                  <a:pt x="69" y="353"/>
                </a:lnTo>
                <a:lnTo>
                  <a:pt x="17" y="353"/>
                </a:lnTo>
                <a:close/>
              </a:path>
            </a:pathLst>
          </a:custGeom>
          <a:solidFill>
            <a:schemeClr val="bg1"/>
          </a:solidFill>
          <a:ln w="9525">
            <a:solidFill>
              <a:schemeClr val="bg2"/>
            </a:solidFill>
            <a:round/>
            <a:headEnd/>
            <a:tailEnd/>
          </a:ln>
        </p:spPr>
        <p:txBody>
          <a:bodyPr/>
          <a:lstStyle/>
          <a:p>
            <a:endParaRPr lang="en-US" dirty="0"/>
          </a:p>
        </p:txBody>
      </p:sp>
      <p:sp>
        <p:nvSpPr>
          <p:cNvPr id="19667" name="Line 210"/>
          <p:cNvSpPr>
            <a:spLocks noChangeAspect="1" noChangeShapeType="1"/>
          </p:cNvSpPr>
          <p:nvPr/>
        </p:nvSpPr>
        <p:spPr bwMode="auto">
          <a:xfrm>
            <a:off x="5441950" y="3660775"/>
            <a:ext cx="12700" cy="1588"/>
          </a:xfrm>
          <a:prstGeom prst="line">
            <a:avLst/>
          </a:prstGeom>
          <a:noFill/>
          <a:ln w="9525">
            <a:solidFill>
              <a:schemeClr val="bg2"/>
            </a:solidFill>
            <a:round/>
            <a:headEnd/>
            <a:tailEnd/>
          </a:ln>
        </p:spPr>
        <p:txBody>
          <a:bodyPr/>
          <a:lstStyle/>
          <a:p>
            <a:endParaRPr lang="en-US" dirty="0"/>
          </a:p>
        </p:txBody>
      </p:sp>
      <p:sp>
        <p:nvSpPr>
          <p:cNvPr id="19668" name="Freeform 211"/>
          <p:cNvSpPr>
            <a:spLocks noChangeAspect="1"/>
          </p:cNvSpPr>
          <p:nvPr/>
        </p:nvSpPr>
        <p:spPr bwMode="auto">
          <a:xfrm>
            <a:off x="5229225" y="2947988"/>
            <a:ext cx="409575" cy="396875"/>
          </a:xfrm>
          <a:custGeom>
            <a:avLst/>
            <a:gdLst>
              <a:gd name="T0" fmla="*/ 382007 w 520"/>
              <a:gd name="T1" fmla="*/ 396875 h 449"/>
              <a:gd name="T2" fmla="*/ 382007 w 520"/>
              <a:gd name="T3" fmla="*/ 396875 h 449"/>
              <a:gd name="T4" fmla="*/ 286702 w 520"/>
              <a:gd name="T5" fmla="*/ 381849 h 449"/>
              <a:gd name="T6" fmla="*/ 271737 w 520"/>
              <a:gd name="T7" fmla="*/ 354447 h 449"/>
              <a:gd name="T8" fmla="*/ 230780 w 520"/>
              <a:gd name="T9" fmla="*/ 367706 h 449"/>
              <a:gd name="T10" fmla="*/ 204000 w 520"/>
              <a:gd name="T11" fmla="*/ 367706 h 449"/>
              <a:gd name="T12" fmla="*/ 163042 w 520"/>
              <a:gd name="T13" fmla="*/ 325278 h 449"/>
              <a:gd name="T14" fmla="*/ 135475 w 520"/>
              <a:gd name="T15" fmla="*/ 282851 h 449"/>
              <a:gd name="T16" fmla="*/ 108695 w 520"/>
              <a:gd name="T17" fmla="*/ 269592 h 449"/>
              <a:gd name="T18" fmla="*/ 95305 w 520"/>
              <a:gd name="T19" fmla="*/ 269592 h 449"/>
              <a:gd name="T20" fmla="*/ 81127 w 520"/>
              <a:gd name="T21" fmla="*/ 254566 h 449"/>
              <a:gd name="T22" fmla="*/ 67737 w 520"/>
              <a:gd name="T23" fmla="*/ 212138 h 449"/>
              <a:gd name="T24" fmla="*/ 40957 w 520"/>
              <a:gd name="T25" fmla="*/ 197996 h 449"/>
              <a:gd name="T26" fmla="*/ 26780 w 520"/>
              <a:gd name="T27" fmla="*/ 169710 h 449"/>
              <a:gd name="T28" fmla="*/ 40957 w 520"/>
              <a:gd name="T29" fmla="*/ 142309 h 449"/>
              <a:gd name="T30" fmla="*/ 40957 w 520"/>
              <a:gd name="T31" fmla="*/ 113140 h 449"/>
              <a:gd name="T32" fmla="*/ 26780 w 520"/>
              <a:gd name="T33" fmla="*/ 113140 h 449"/>
              <a:gd name="T34" fmla="*/ 13390 w 520"/>
              <a:gd name="T35" fmla="*/ 84855 h 449"/>
              <a:gd name="T36" fmla="*/ 0 w 520"/>
              <a:gd name="T37" fmla="*/ 15026 h 449"/>
              <a:gd name="T38" fmla="*/ 13390 w 520"/>
              <a:gd name="T39" fmla="*/ 0 h 449"/>
              <a:gd name="T40" fmla="*/ 26780 w 520"/>
              <a:gd name="T41" fmla="*/ 29169 h 449"/>
              <a:gd name="T42" fmla="*/ 40957 w 520"/>
              <a:gd name="T43" fmla="*/ 29169 h 449"/>
              <a:gd name="T44" fmla="*/ 54347 w 520"/>
              <a:gd name="T45" fmla="*/ 29169 h 449"/>
              <a:gd name="T46" fmla="*/ 81127 w 520"/>
              <a:gd name="T47" fmla="*/ 15026 h 449"/>
              <a:gd name="T48" fmla="*/ 95305 w 520"/>
              <a:gd name="T49" fmla="*/ 15026 h 449"/>
              <a:gd name="T50" fmla="*/ 81127 w 520"/>
              <a:gd name="T51" fmla="*/ 29169 h 449"/>
              <a:gd name="T52" fmla="*/ 108695 w 520"/>
              <a:gd name="T53" fmla="*/ 42428 h 449"/>
              <a:gd name="T54" fmla="*/ 108695 w 520"/>
              <a:gd name="T55" fmla="*/ 70713 h 449"/>
              <a:gd name="T56" fmla="*/ 163042 w 520"/>
              <a:gd name="T57" fmla="*/ 99882 h 449"/>
              <a:gd name="T58" fmla="*/ 217390 w 520"/>
              <a:gd name="T59" fmla="*/ 99882 h 449"/>
              <a:gd name="T60" fmla="*/ 217390 w 520"/>
              <a:gd name="T61" fmla="*/ 70713 h 449"/>
              <a:gd name="T62" fmla="*/ 244957 w 520"/>
              <a:gd name="T63" fmla="*/ 57454 h 449"/>
              <a:gd name="T64" fmla="*/ 286702 w 520"/>
              <a:gd name="T65" fmla="*/ 57454 h 449"/>
              <a:gd name="T66" fmla="*/ 368617 w 520"/>
              <a:gd name="T67" fmla="*/ 99882 h 449"/>
              <a:gd name="T68" fmla="*/ 368617 w 520"/>
              <a:gd name="T69" fmla="*/ 113140 h 449"/>
              <a:gd name="T70" fmla="*/ 368617 w 520"/>
              <a:gd name="T71" fmla="*/ 127283 h 449"/>
              <a:gd name="T72" fmla="*/ 368617 w 520"/>
              <a:gd name="T73" fmla="*/ 142309 h 449"/>
              <a:gd name="T74" fmla="*/ 355227 w 520"/>
              <a:gd name="T75" fmla="*/ 169710 h 449"/>
              <a:gd name="T76" fmla="*/ 355227 w 520"/>
              <a:gd name="T77" fmla="*/ 227165 h 449"/>
              <a:gd name="T78" fmla="*/ 382007 w 520"/>
              <a:gd name="T79" fmla="*/ 240423 h 449"/>
              <a:gd name="T80" fmla="*/ 382007 w 520"/>
              <a:gd name="T81" fmla="*/ 254566 h 449"/>
              <a:gd name="T82" fmla="*/ 368617 w 520"/>
              <a:gd name="T83" fmla="*/ 282851 h 449"/>
              <a:gd name="T84" fmla="*/ 382007 w 520"/>
              <a:gd name="T85" fmla="*/ 312020 h 449"/>
              <a:gd name="T86" fmla="*/ 396185 w 520"/>
              <a:gd name="T87" fmla="*/ 325278 h 449"/>
              <a:gd name="T88" fmla="*/ 409575 w 520"/>
              <a:gd name="T89" fmla="*/ 354447 h 449"/>
              <a:gd name="T90" fmla="*/ 382007 w 520"/>
              <a:gd name="T91" fmla="*/ 367706 h 449"/>
              <a:gd name="T92" fmla="*/ 382007 w 520"/>
              <a:gd name="T93" fmla="*/ 396875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chemeClr val="bg1"/>
          </a:solidFill>
          <a:ln w="9525">
            <a:solidFill>
              <a:schemeClr val="bg2"/>
            </a:solidFill>
            <a:round/>
            <a:headEnd/>
            <a:tailEnd/>
          </a:ln>
        </p:spPr>
        <p:txBody>
          <a:bodyPr/>
          <a:lstStyle/>
          <a:p>
            <a:endParaRPr lang="en-US" dirty="0"/>
          </a:p>
        </p:txBody>
      </p:sp>
      <p:sp>
        <p:nvSpPr>
          <p:cNvPr id="19669" name="Freeform 212"/>
          <p:cNvSpPr>
            <a:spLocks noChangeAspect="1"/>
          </p:cNvSpPr>
          <p:nvPr/>
        </p:nvSpPr>
        <p:spPr bwMode="auto">
          <a:xfrm>
            <a:off x="5132388" y="2849563"/>
            <a:ext cx="153987" cy="57150"/>
          </a:xfrm>
          <a:custGeom>
            <a:avLst/>
            <a:gdLst>
              <a:gd name="T0" fmla="*/ 43309 w 192"/>
              <a:gd name="T1" fmla="*/ 57150 h 63"/>
              <a:gd name="T2" fmla="*/ 43309 w 192"/>
              <a:gd name="T3" fmla="*/ 57150 h 63"/>
              <a:gd name="T4" fmla="*/ 43309 w 192"/>
              <a:gd name="T5" fmla="*/ 43543 h 63"/>
              <a:gd name="T6" fmla="*/ 43309 w 192"/>
              <a:gd name="T7" fmla="*/ 29029 h 63"/>
              <a:gd name="T8" fmla="*/ 0 w 192"/>
              <a:gd name="T9" fmla="*/ 0 h 63"/>
              <a:gd name="T10" fmla="*/ 70577 w 192"/>
              <a:gd name="T11" fmla="*/ 0 h 63"/>
              <a:gd name="T12" fmla="*/ 98648 w 192"/>
              <a:gd name="T13" fmla="*/ 13607 h 63"/>
              <a:gd name="T14" fmla="*/ 125916 w 192"/>
              <a:gd name="T15" fmla="*/ 13607 h 63"/>
              <a:gd name="T16" fmla="*/ 153987 w 192"/>
              <a:gd name="T17" fmla="*/ 43543 h 63"/>
              <a:gd name="T18" fmla="*/ 140353 w 192"/>
              <a:gd name="T19" fmla="*/ 43543 h 63"/>
              <a:gd name="T20" fmla="*/ 153987 w 192"/>
              <a:gd name="T21" fmla="*/ 57150 h 63"/>
              <a:gd name="T22" fmla="*/ 125916 w 192"/>
              <a:gd name="T23" fmla="*/ 57150 h 63"/>
              <a:gd name="T24" fmla="*/ 112282 w 192"/>
              <a:gd name="T25" fmla="*/ 57150 h 63"/>
              <a:gd name="T26" fmla="*/ 84212 w 192"/>
              <a:gd name="T27" fmla="*/ 57150 h 63"/>
              <a:gd name="T28" fmla="*/ 43309 w 192"/>
              <a:gd name="T29" fmla="*/ 57150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bg1"/>
          </a:solidFill>
          <a:ln w="9525">
            <a:solidFill>
              <a:schemeClr val="bg2"/>
            </a:solidFill>
            <a:round/>
            <a:headEnd/>
            <a:tailEnd/>
          </a:ln>
        </p:spPr>
        <p:txBody>
          <a:bodyPr/>
          <a:lstStyle/>
          <a:p>
            <a:endParaRPr lang="en-US" dirty="0"/>
          </a:p>
        </p:txBody>
      </p:sp>
      <p:sp>
        <p:nvSpPr>
          <p:cNvPr id="19670" name="Freeform 213"/>
          <p:cNvSpPr>
            <a:spLocks noChangeAspect="1"/>
          </p:cNvSpPr>
          <p:nvPr/>
        </p:nvSpPr>
        <p:spPr bwMode="auto">
          <a:xfrm>
            <a:off x="5218113" y="2906713"/>
            <a:ext cx="68262" cy="69850"/>
          </a:xfrm>
          <a:custGeom>
            <a:avLst/>
            <a:gdLst>
              <a:gd name="T0" fmla="*/ 68262 w 87"/>
              <a:gd name="T1" fmla="*/ 69850 h 81"/>
              <a:gd name="T2" fmla="*/ 68262 w 87"/>
              <a:gd name="T3" fmla="*/ 69850 h 81"/>
              <a:gd name="T4" fmla="*/ 68262 w 87"/>
              <a:gd name="T5" fmla="*/ 56052 h 81"/>
              <a:gd name="T6" fmla="*/ 54923 w 87"/>
              <a:gd name="T7" fmla="*/ 41393 h 81"/>
              <a:gd name="T8" fmla="*/ 54923 w 87"/>
              <a:gd name="T9" fmla="*/ 28457 h 81"/>
              <a:gd name="T10" fmla="*/ 27462 w 87"/>
              <a:gd name="T11" fmla="*/ 0 h 81"/>
              <a:gd name="T12" fmla="*/ 0 w 87"/>
              <a:gd name="T13" fmla="*/ 0 h 81"/>
              <a:gd name="T14" fmla="*/ 14123 w 87"/>
              <a:gd name="T15" fmla="*/ 41393 h 81"/>
              <a:gd name="T16" fmla="*/ 27462 w 87"/>
              <a:gd name="T17" fmla="*/ 41393 h 81"/>
              <a:gd name="T18" fmla="*/ 54923 w 87"/>
              <a:gd name="T19" fmla="*/ 56052 h 81"/>
              <a:gd name="T20" fmla="*/ 54923 w 87"/>
              <a:gd name="T21" fmla="*/ 69850 h 81"/>
              <a:gd name="T22" fmla="*/ 68262 w 87"/>
              <a:gd name="T23" fmla="*/ 6985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chemeClr val="bg1"/>
          </a:solidFill>
          <a:ln w="9525">
            <a:solidFill>
              <a:schemeClr val="bg2"/>
            </a:solidFill>
            <a:round/>
            <a:headEnd/>
            <a:tailEnd/>
          </a:ln>
        </p:spPr>
        <p:txBody>
          <a:bodyPr/>
          <a:lstStyle/>
          <a:p>
            <a:endParaRPr lang="en-US" dirty="0"/>
          </a:p>
        </p:txBody>
      </p:sp>
      <p:sp>
        <p:nvSpPr>
          <p:cNvPr id="19671" name="Freeform 214"/>
          <p:cNvSpPr>
            <a:spLocks noChangeAspect="1"/>
          </p:cNvSpPr>
          <p:nvPr/>
        </p:nvSpPr>
        <p:spPr bwMode="auto">
          <a:xfrm>
            <a:off x="5243513" y="2890838"/>
            <a:ext cx="125412" cy="100012"/>
          </a:xfrm>
          <a:custGeom>
            <a:avLst/>
            <a:gdLst>
              <a:gd name="T0" fmla="*/ 41538 w 157"/>
              <a:gd name="T1" fmla="*/ 86497 h 111"/>
              <a:gd name="T2" fmla="*/ 41538 w 157"/>
              <a:gd name="T3" fmla="*/ 86497 h 111"/>
              <a:gd name="T4" fmla="*/ 68697 w 157"/>
              <a:gd name="T5" fmla="*/ 72081 h 111"/>
              <a:gd name="T6" fmla="*/ 83075 w 157"/>
              <a:gd name="T7" fmla="*/ 72081 h 111"/>
              <a:gd name="T8" fmla="*/ 68697 w 157"/>
              <a:gd name="T9" fmla="*/ 86497 h 111"/>
              <a:gd name="T10" fmla="*/ 96655 w 157"/>
              <a:gd name="T11" fmla="*/ 100012 h 111"/>
              <a:gd name="T12" fmla="*/ 83075 w 157"/>
              <a:gd name="T13" fmla="*/ 86497 h 111"/>
              <a:gd name="T14" fmla="*/ 96655 w 157"/>
              <a:gd name="T15" fmla="*/ 86497 h 111"/>
              <a:gd name="T16" fmla="*/ 96655 w 157"/>
              <a:gd name="T17" fmla="*/ 56764 h 111"/>
              <a:gd name="T18" fmla="*/ 125412 w 157"/>
              <a:gd name="T19" fmla="*/ 43248 h 111"/>
              <a:gd name="T20" fmla="*/ 96655 w 157"/>
              <a:gd name="T21" fmla="*/ 28832 h 111"/>
              <a:gd name="T22" fmla="*/ 83075 w 157"/>
              <a:gd name="T23" fmla="*/ 0 h 111"/>
              <a:gd name="T24" fmla="*/ 68697 w 157"/>
              <a:gd name="T25" fmla="*/ 13515 h 111"/>
              <a:gd name="T26" fmla="*/ 55117 w 157"/>
              <a:gd name="T27" fmla="*/ 13515 h 111"/>
              <a:gd name="T28" fmla="*/ 41538 w 157"/>
              <a:gd name="T29" fmla="*/ 0 h 111"/>
              <a:gd name="T30" fmla="*/ 27958 w 157"/>
              <a:gd name="T31" fmla="*/ 0 h 111"/>
              <a:gd name="T32" fmla="*/ 41538 w 157"/>
              <a:gd name="T33" fmla="*/ 13515 h 111"/>
              <a:gd name="T34" fmla="*/ 13580 w 157"/>
              <a:gd name="T35" fmla="*/ 13515 h 111"/>
              <a:gd name="T36" fmla="*/ 0 w 157"/>
              <a:gd name="T37" fmla="*/ 13515 h 111"/>
              <a:gd name="T38" fmla="*/ 27958 w 157"/>
              <a:gd name="T39" fmla="*/ 43248 h 111"/>
              <a:gd name="T40" fmla="*/ 27958 w 157"/>
              <a:gd name="T41" fmla="*/ 56764 h 111"/>
              <a:gd name="T42" fmla="*/ 41538 w 157"/>
              <a:gd name="T43" fmla="*/ 72081 h 111"/>
              <a:gd name="T44" fmla="*/ 41538 w 157"/>
              <a:gd name="T45" fmla="*/ 86497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chemeClr val="bg1"/>
          </a:solidFill>
          <a:ln w="9525">
            <a:solidFill>
              <a:schemeClr val="bg2"/>
            </a:solidFill>
            <a:round/>
            <a:headEnd/>
            <a:tailEnd/>
          </a:ln>
        </p:spPr>
        <p:txBody>
          <a:bodyPr/>
          <a:lstStyle/>
          <a:p>
            <a:endParaRPr lang="en-US" dirty="0"/>
          </a:p>
        </p:txBody>
      </p:sp>
      <p:sp>
        <p:nvSpPr>
          <p:cNvPr id="19672" name="Freeform 215"/>
          <p:cNvSpPr>
            <a:spLocks noChangeAspect="1"/>
          </p:cNvSpPr>
          <p:nvPr/>
        </p:nvSpPr>
        <p:spPr bwMode="auto">
          <a:xfrm>
            <a:off x="5241925" y="3230563"/>
            <a:ext cx="41275" cy="26987"/>
          </a:xfrm>
          <a:custGeom>
            <a:avLst/>
            <a:gdLst>
              <a:gd name="T0" fmla="*/ 0 w 52"/>
              <a:gd name="T1" fmla="*/ 13085 h 33"/>
              <a:gd name="T2" fmla="*/ 0 w 52"/>
              <a:gd name="T3" fmla="*/ 13085 h 33"/>
              <a:gd name="T4" fmla="*/ 13494 w 52"/>
              <a:gd name="T5" fmla="*/ 0 h 33"/>
              <a:gd name="T6" fmla="*/ 41275 w 52"/>
              <a:gd name="T7" fmla="*/ 13085 h 33"/>
              <a:gd name="T8" fmla="*/ 13494 w 52"/>
              <a:gd name="T9" fmla="*/ 26987 h 33"/>
              <a:gd name="T10" fmla="*/ 0 w 52"/>
              <a:gd name="T11" fmla="*/ 13085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9673" name="Freeform 216"/>
          <p:cNvSpPr>
            <a:spLocks noChangeAspect="1"/>
          </p:cNvSpPr>
          <p:nvPr/>
        </p:nvSpPr>
        <p:spPr bwMode="auto">
          <a:xfrm>
            <a:off x="5026025" y="3159125"/>
            <a:ext cx="474663" cy="452438"/>
          </a:xfrm>
          <a:custGeom>
            <a:avLst/>
            <a:gdLst>
              <a:gd name="T0" fmla="*/ 393719 w 604"/>
              <a:gd name="T1" fmla="*/ 367606 h 512"/>
              <a:gd name="T2" fmla="*/ 393719 w 604"/>
              <a:gd name="T3" fmla="*/ 367606 h 512"/>
              <a:gd name="T4" fmla="*/ 407079 w 604"/>
              <a:gd name="T5" fmla="*/ 354351 h 512"/>
              <a:gd name="T6" fmla="*/ 420438 w 604"/>
              <a:gd name="T7" fmla="*/ 339328 h 512"/>
              <a:gd name="T8" fmla="*/ 433798 w 604"/>
              <a:gd name="T9" fmla="*/ 325190 h 512"/>
              <a:gd name="T10" fmla="*/ 447944 w 604"/>
              <a:gd name="T11" fmla="*/ 311935 h 512"/>
              <a:gd name="T12" fmla="*/ 461303 w 604"/>
              <a:gd name="T13" fmla="*/ 296912 h 512"/>
              <a:gd name="T14" fmla="*/ 474663 w 604"/>
              <a:gd name="T15" fmla="*/ 296912 h 512"/>
              <a:gd name="T16" fmla="*/ 474663 w 604"/>
              <a:gd name="T17" fmla="*/ 282774 h 512"/>
              <a:gd name="T18" fmla="*/ 474663 w 604"/>
              <a:gd name="T19" fmla="*/ 269519 h 512"/>
              <a:gd name="T20" fmla="*/ 474663 w 604"/>
              <a:gd name="T21" fmla="*/ 254496 h 512"/>
              <a:gd name="T22" fmla="*/ 461303 w 604"/>
              <a:gd name="T23" fmla="*/ 240358 h 512"/>
              <a:gd name="T24" fmla="*/ 447944 w 604"/>
              <a:gd name="T25" fmla="*/ 227103 h 512"/>
              <a:gd name="T26" fmla="*/ 433798 w 604"/>
              <a:gd name="T27" fmla="*/ 227103 h 512"/>
              <a:gd name="T28" fmla="*/ 420438 w 604"/>
              <a:gd name="T29" fmla="*/ 227103 h 512"/>
              <a:gd name="T30" fmla="*/ 420438 w 604"/>
              <a:gd name="T31" fmla="*/ 240358 h 512"/>
              <a:gd name="T32" fmla="*/ 407079 w 604"/>
              <a:gd name="T33" fmla="*/ 240358 h 512"/>
              <a:gd name="T34" fmla="*/ 393719 w 604"/>
              <a:gd name="T35" fmla="*/ 240358 h 512"/>
              <a:gd name="T36" fmla="*/ 379573 w 604"/>
              <a:gd name="T37" fmla="*/ 240358 h 512"/>
              <a:gd name="T38" fmla="*/ 366213 w 604"/>
              <a:gd name="T39" fmla="*/ 240358 h 512"/>
              <a:gd name="T40" fmla="*/ 352854 w 604"/>
              <a:gd name="T41" fmla="*/ 240358 h 512"/>
              <a:gd name="T42" fmla="*/ 338708 w 604"/>
              <a:gd name="T43" fmla="*/ 227103 h 512"/>
              <a:gd name="T44" fmla="*/ 352854 w 604"/>
              <a:gd name="T45" fmla="*/ 212080 h 512"/>
              <a:gd name="T46" fmla="*/ 338708 w 604"/>
              <a:gd name="T47" fmla="*/ 184687 h 512"/>
              <a:gd name="T48" fmla="*/ 338708 w 604"/>
              <a:gd name="T49" fmla="*/ 142271 h 512"/>
              <a:gd name="T50" fmla="*/ 298629 w 604"/>
              <a:gd name="T51" fmla="*/ 99854 h 512"/>
              <a:gd name="T52" fmla="*/ 257764 w 604"/>
              <a:gd name="T53" fmla="*/ 84832 h 512"/>
              <a:gd name="T54" fmla="*/ 230259 w 604"/>
              <a:gd name="T55" fmla="*/ 99854 h 512"/>
              <a:gd name="T56" fmla="*/ 216899 w 604"/>
              <a:gd name="T57" fmla="*/ 84832 h 512"/>
              <a:gd name="T58" fmla="*/ 189394 w 604"/>
              <a:gd name="T59" fmla="*/ 70693 h 512"/>
              <a:gd name="T60" fmla="*/ 189394 w 604"/>
              <a:gd name="T61" fmla="*/ 57438 h 512"/>
              <a:gd name="T62" fmla="*/ 176034 w 604"/>
              <a:gd name="T63" fmla="*/ 42416 h 512"/>
              <a:gd name="T64" fmla="*/ 135169 w 604"/>
              <a:gd name="T65" fmla="*/ 15022 h 512"/>
              <a:gd name="T66" fmla="*/ 94304 w 604"/>
              <a:gd name="T67" fmla="*/ 0 h 512"/>
              <a:gd name="T68" fmla="*/ 54225 w 604"/>
              <a:gd name="T69" fmla="*/ 28277 h 512"/>
              <a:gd name="T70" fmla="*/ 67584 w 604"/>
              <a:gd name="T71" fmla="*/ 42416 h 512"/>
              <a:gd name="T72" fmla="*/ 54225 w 604"/>
              <a:gd name="T73" fmla="*/ 70693 h 512"/>
              <a:gd name="T74" fmla="*/ 40079 w 604"/>
              <a:gd name="T75" fmla="*/ 70693 h 512"/>
              <a:gd name="T76" fmla="*/ 26719 w 604"/>
              <a:gd name="T77" fmla="*/ 84832 h 512"/>
              <a:gd name="T78" fmla="*/ 0 w 604"/>
              <a:gd name="T79" fmla="*/ 84832 h 512"/>
              <a:gd name="T80" fmla="*/ 0 w 604"/>
              <a:gd name="T81" fmla="*/ 113110 h 512"/>
              <a:gd name="T82" fmla="*/ 13360 w 604"/>
              <a:gd name="T83" fmla="*/ 113110 h 512"/>
              <a:gd name="T84" fmla="*/ 67584 w 604"/>
              <a:gd name="T85" fmla="*/ 197942 h 512"/>
              <a:gd name="T86" fmla="*/ 80944 w 604"/>
              <a:gd name="T87" fmla="*/ 212080 h 512"/>
              <a:gd name="T88" fmla="*/ 94304 w 604"/>
              <a:gd name="T89" fmla="*/ 240358 h 512"/>
              <a:gd name="T90" fmla="*/ 94304 w 604"/>
              <a:gd name="T91" fmla="*/ 282774 h 512"/>
              <a:gd name="T92" fmla="*/ 135169 w 604"/>
              <a:gd name="T93" fmla="*/ 311935 h 512"/>
              <a:gd name="T94" fmla="*/ 162674 w 604"/>
              <a:gd name="T95" fmla="*/ 381744 h 512"/>
              <a:gd name="T96" fmla="*/ 176034 w 604"/>
              <a:gd name="T97" fmla="*/ 396767 h 512"/>
              <a:gd name="T98" fmla="*/ 189394 w 604"/>
              <a:gd name="T99" fmla="*/ 381744 h 512"/>
              <a:gd name="T100" fmla="*/ 230259 w 604"/>
              <a:gd name="T101" fmla="*/ 423277 h 512"/>
              <a:gd name="T102" fmla="*/ 244404 w 604"/>
              <a:gd name="T103" fmla="*/ 452438 h 512"/>
              <a:gd name="T104" fmla="*/ 338708 w 604"/>
              <a:gd name="T105" fmla="*/ 381744 h 512"/>
              <a:gd name="T106" fmla="*/ 393719 w 604"/>
              <a:gd name="T107" fmla="*/ 367606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chemeClr val="bg1"/>
          </a:solidFill>
          <a:ln w="9525">
            <a:solidFill>
              <a:schemeClr val="bg2"/>
            </a:solidFill>
            <a:prstDash val="solid"/>
            <a:round/>
            <a:headEnd/>
            <a:tailEnd/>
          </a:ln>
        </p:spPr>
        <p:txBody>
          <a:bodyPr/>
          <a:lstStyle/>
          <a:p>
            <a:endParaRPr lang="en-US" dirty="0"/>
          </a:p>
        </p:txBody>
      </p:sp>
      <p:sp>
        <p:nvSpPr>
          <p:cNvPr id="19674" name="Freeform 217"/>
          <p:cNvSpPr>
            <a:spLocks noChangeAspect="1"/>
          </p:cNvSpPr>
          <p:nvPr/>
        </p:nvSpPr>
        <p:spPr bwMode="auto">
          <a:xfrm>
            <a:off x="5367338" y="3328988"/>
            <a:ext cx="25400" cy="42862"/>
          </a:xfrm>
          <a:custGeom>
            <a:avLst/>
            <a:gdLst>
              <a:gd name="T0" fmla="*/ 13063 w 35"/>
              <a:gd name="T1" fmla="*/ 42862 h 48"/>
              <a:gd name="T2" fmla="*/ 13063 w 35"/>
              <a:gd name="T3" fmla="*/ 42862 h 48"/>
              <a:gd name="T4" fmla="*/ 0 w 35"/>
              <a:gd name="T5" fmla="*/ 15180 h 48"/>
              <a:gd name="T6" fmla="*/ 13063 w 35"/>
              <a:gd name="T7" fmla="*/ 0 h 48"/>
              <a:gd name="T8" fmla="*/ 25400 w 35"/>
              <a:gd name="T9" fmla="*/ 0 h 48"/>
              <a:gd name="T10" fmla="*/ 13063 w 35"/>
              <a:gd name="T11" fmla="*/ 42862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chemeClr val="bg1"/>
          </a:solidFill>
          <a:ln w="9525">
            <a:solidFill>
              <a:schemeClr val="bg2"/>
            </a:solidFill>
            <a:prstDash val="solid"/>
            <a:round/>
            <a:headEnd/>
            <a:tailEnd/>
          </a:ln>
        </p:spPr>
        <p:txBody>
          <a:bodyPr/>
          <a:lstStyle/>
          <a:p>
            <a:endParaRPr lang="en-US" dirty="0"/>
          </a:p>
        </p:txBody>
      </p:sp>
      <p:sp>
        <p:nvSpPr>
          <p:cNvPr id="19675" name="Freeform 218"/>
          <p:cNvSpPr>
            <a:spLocks noChangeAspect="1"/>
          </p:cNvSpPr>
          <p:nvPr/>
        </p:nvSpPr>
        <p:spPr bwMode="auto">
          <a:xfrm>
            <a:off x="5419725" y="3357563"/>
            <a:ext cx="149225" cy="182562"/>
          </a:xfrm>
          <a:custGeom>
            <a:avLst/>
            <a:gdLst>
              <a:gd name="T0" fmla="*/ 0 w 190"/>
              <a:gd name="T1" fmla="*/ 182562 h 208"/>
              <a:gd name="T2" fmla="*/ 0 w 190"/>
              <a:gd name="T3" fmla="*/ 182562 h 208"/>
              <a:gd name="T4" fmla="*/ 40055 w 190"/>
              <a:gd name="T5" fmla="*/ 182562 h 208"/>
              <a:gd name="T6" fmla="*/ 54192 w 190"/>
              <a:gd name="T7" fmla="*/ 168519 h 208"/>
              <a:gd name="T8" fmla="*/ 67544 w 190"/>
              <a:gd name="T9" fmla="*/ 155353 h 208"/>
              <a:gd name="T10" fmla="*/ 95033 w 190"/>
              <a:gd name="T11" fmla="*/ 140432 h 208"/>
              <a:gd name="T12" fmla="*/ 108384 w 190"/>
              <a:gd name="T13" fmla="*/ 126389 h 208"/>
              <a:gd name="T14" fmla="*/ 108384 w 190"/>
              <a:gd name="T15" fmla="*/ 113224 h 208"/>
              <a:gd name="T16" fmla="*/ 135088 w 190"/>
              <a:gd name="T17" fmla="*/ 71094 h 208"/>
              <a:gd name="T18" fmla="*/ 149225 w 190"/>
              <a:gd name="T19" fmla="*/ 56173 h 208"/>
              <a:gd name="T20" fmla="*/ 121736 w 190"/>
              <a:gd name="T21" fmla="*/ 28964 h 208"/>
              <a:gd name="T22" fmla="*/ 95033 w 190"/>
              <a:gd name="T23" fmla="*/ 14043 h 208"/>
              <a:gd name="T24" fmla="*/ 80896 w 190"/>
              <a:gd name="T25" fmla="*/ 0 h 208"/>
              <a:gd name="T26" fmla="*/ 54192 w 190"/>
              <a:gd name="T27" fmla="*/ 28964 h 208"/>
              <a:gd name="T28" fmla="*/ 67544 w 190"/>
              <a:gd name="T29" fmla="*/ 42130 h 208"/>
              <a:gd name="T30" fmla="*/ 80896 w 190"/>
              <a:gd name="T31" fmla="*/ 56173 h 208"/>
              <a:gd name="T32" fmla="*/ 80896 w 190"/>
              <a:gd name="T33" fmla="*/ 71094 h 208"/>
              <a:gd name="T34" fmla="*/ 80896 w 190"/>
              <a:gd name="T35" fmla="*/ 84259 h 208"/>
              <a:gd name="T36" fmla="*/ 80896 w 190"/>
              <a:gd name="T37" fmla="*/ 98303 h 208"/>
              <a:gd name="T38" fmla="*/ 67544 w 190"/>
              <a:gd name="T39" fmla="*/ 98303 h 208"/>
              <a:gd name="T40" fmla="*/ 54192 w 190"/>
              <a:gd name="T41" fmla="*/ 113224 h 208"/>
              <a:gd name="T42" fmla="*/ 40055 w 190"/>
              <a:gd name="T43" fmla="*/ 126389 h 208"/>
              <a:gd name="T44" fmla="*/ 26703 w 190"/>
              <a:gd name="T45" fmla="*/ 140432 h 208"/>
              <a:gd name="T46" fmla="*/ 13352 w 190"/>
              <a:gd name="T47" fmla="*/ 155353 h 208"/>
              <a:gd name="T48" fmla="*/ 0 w 190"/>
              <a:gd name="T49" fmla="*/ 168519 h 208"/>
              <a:gd name="T50" fmla="*/ 0 w 190"/>
              <a:gd name="T51" fmla="*/ 182562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chemeClr val="bg1"/>
          </a:solidFill>
          <a:ln w="9525">
            <a:solidFill>
              <a:schemeClr val="bg2"/>
            </a:solidFill>
            <a:round/>
            <a:headEnd/>
            <a:tailEnd/>
          </a:ln>
        </p:spPr>
        <p:txBody>
          <a:bodyPr/>
          <a:lstStyle/>
          <a:p>
            <a:endParaRPr lang="en-US" dirty="0"/>
          </a:p>
        </p:txBody>
      </p:sp>
      <p:sp>
        <p:nvSpPr>
          <p:cNvPr id="19676" name="Freeform 219"/>
          <p:cNvSpPr>
            <a:spLocks noChangeAspect="1"/>
          </p:cNvSpPr>
          <p:nvPr/>
        </p:nvSpPr>
        <p:spPr bwMode="auto">
          <a:xfrm>
            <a:off x="5584825" y="2990850"/>
            <a:ext cx="314325" cy="252413"/>
          </a:xfrm>
          <a:custGeom>
            <a:avLst/>
            <a:gdLst>
              <a:gd name="T0" fmla="*/ 300933 w 399"/>
              <a:gd name="T1" fmla="*/ 42069 h 288"/>
              <a:gd name="T2" fmla="*/ 300933 w 399"/>
              <a:gd name="T3" fmla="*/ 42069 h 288"/>
              <a:gd name="T4" fmla="*/ 287540 w 399"/>
              <a:gd name="T5" fmla="*/ 42069 h 288"/>
              <a:gd name="T6" fmla="*/ 259968 w 399"/>
              <a:gd name="T7" fmla="*/ 56968 h 288"/>
              <a:gd name="T8" fmla="*/ 233183 w 399"/>
              <a:gd name="T9" fmla="*/ 70115 h 288"/>
              <a:gd name="T10" fmla="*/ 233183 w 399"/>
              <a:gd name="T11" fmla="*/ 99037 h 288"/>
              <a:gd name="T12" fmla="*/ 219003 w 399"/>
              <a:gd name="T13" fmla="*/ 126207 h 288"/>
              <a:gd name="T14" fmla="*/ 205611 w 399"/>
              <a:gd name="T15" fmla="*/ 126207 h 288"/>
              <a:gd name="T16" fmla="*/ 205611 w 399"/>
              <a:gd name="T17" fmla="*/ 141106 h 288"/>
              <a:gd name="T18" fmla="*/ 192219 w 399"/>
              <a:gd name="T19" fmla="*/ 154252 h 288"/>
              <a:gd name="T20" fmla="*/ 192219 w 399"/>
              <a:gd name="T21" fmla="*/ 183175 h 288"/>
              <a:gd name="T22" fmla="*/ 137862 w 399"/>
              <a:gd name="T23" fmla="*/ 196321 h 288"/>
              <a:gd name="T24" fmla="*/ 123682 w 399"/>
              <a:gd name="T25" fmla="*/ 210344 h 288"/>
              <a:gd name="T26" fmla="*/ 123682 w 399"/>
              <a:gd name="T27" fmla="*/ 238390 h 288"/>
              <a:gd name="T28" fmla="*/ 42540 w 399"/>
              <a:gd name="T29" fmla="*/ 252413 h 288"/>
              <a:gd name="T30" fmla="*/ 14968 w 399"/>
              <a:gd name="T31" fmla="*/ 238390 h 288"/>
              <a:gd name="T32" fmla="*/ 28360 w 399"/>
              <a:gd name="T33" fmla="*/ 210344 h 288"/>
              <a:gd name="T34" fmla="*/ 28360 w 399"/>
              <a:gd name="T35" fmla="*/ 196321 h 288"/>
              <a:gd name="T36" fmla="*/ 0 w 399"/>
              <a:gd name="T37" fmla="*/ 183175 h 288"/>
              <a:gd name="T38" fmla="*/ 0 w 399"/>
              <a:gd name="T39" fmla="*/ 126207 h 288"/>
              <a:gd name="T40" fmla="*/ 14968 w 399"/>
              <a:gd name="T41" fmla="*/ 99037 h 288"/>
              <a:gd name="T42" fmla="*/ 14968 w 399"/>
              <a:gd name="T43" fmla="*/ 84138 h 288"/>
              <a:gd name="T44" fmla="*/ 55933 w 399"/>
              <a:gd name="T45" fmla="*/ 84138 h 288"/>
              <a:gd name="T46" fmla="*/ 55933 w 399"/>
              <a:gd name="T47" fmla="*/ 70115 h 288"/>
              <a:gd name="T48" fmla="*/ 82717 w 399"/>
              <a:gd name="T49" fmla="*/ 70115 h 288"/>
              <a:gd name="T50" fmla="*/ 96897 w 399"/>
              <a:gd name="T51" fmla="*/ 42069 h 288"/>
              <a:gd name="T52" fmla="*/ 110289 w 399"/>
              <a:gd name="T53" fmla="*/ 42069 h 288"/>
              <a:gd name="T54" fmla="*/ 110289 w 399"/>
              <a:gd name="T55" fmla="*/ 28046 h 288"/>
              <a:gd name="T56" fmla="*/ 164646 w 399"/>
              <a:gd name="T57" fmla="*/ 42069 h 288"/>
              <a:gd name="T58" fmla="*/ 192219 w 399"/>
              <a:gd name="T59" fmla="*/ 42069 h 288"/>
              <a:gd name="T60" fmla="*/ 192219 w 399"/>
              <a:gd name="T61" fmla="*/ 28046 h 288"/>
              <a:gd name="T62" fmla="*/ 205611 w 399"/>
              <a:gd name="T63" fmla="*/ 28046 h 288"/>
              <a:gd name="T64" fmla="*/ 219003 w 399"/>
              <a:gd name="T65" fmla="*/ 0 h 288"/>
              <a:gd name="T66" fmla="*/ 233183 w 399"/>
              <a:gd name="T67" fmla="*/ 14899 h 288"/>
              <a:gd name="T68" fmla="*/ 246576 w 399"/>
              <a:gd name="T69" fmla="*/ 56968 h 288"/>
              <a:gd name="T70" fmla="*/ 273360 w 399"/>
              <a:gd name="T71" fmla="*/ 28046 h 288"/>
              <a:gd name="T72" fmla="*/ 314325 w 399"/>
              <a:gd name="T73" fmla="*/ 42069 h 288"/>
              <a:gd name="T74" fmla="*/ 300933 w 399"/>
              <a:gd name="T75" fmla="*/ 42069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chemeClr val="bg1"/>
          </a:solidFill>
          <a:ln w="9525">
            <a:solidFill>
              <a:schemeClr val="bg2"/>
            </a:solidFill>
            <a:round/>
            <a:headEnd/>
            <a:tailEnd/>
          </a:ln>
        </p:spPr>
        <p:txBody>
          <a:bodyPr/>
          <a:lstStyle/>
          <a:p>
            <a:endParaRPr lang="en-US" dirty="0"/>
          </a:p>
        </p:txBody>
      </p:sp>
      <p:sp>
        <p:nvSpPr>
          <p:cNvPr id="19677" name="Freeform 220"/>
          <p:cNvSpPr>
            <a:spLocks noChangeAspect="1"/>
          </p:cNvSpPr>
          <p:nvPr/>
        </p:nvSpPr>
        <p:spPr bwMode="auto">
          <a:xfrm>
            <a:off x="5132388" y="2849563"/>
            <a:ext cx="153987" cy="57150"/>
          </a:xfrm>
          <a:custGeom>
            <a:avLst/>
            <a:gdLst>
              <a:gd name="T0" fmla="*/ 43309 w 192"/>
              <a:gd name="T1" fmla="*/ 57150 h 63"/>
              <a:gd name="T2" fmla="*/ 43309 w 192"/>
              <a:gd name="T3" fmla="*/ 57150 h 63"/>
              <a:gd name="T4" fmla="*/ 43309 w 192"/>
              <a:gd name="T5" fmla="*/ 43543 h 63"/>
              <a:gd name="T6" fmla="*/ 43309 w 192"/>
              <a:gd name="T7" fmla="*/ 29029 h 63"/>
              <a:gd name="T8" fmla="*/ 0 w 192"/>
              <a:gd name="T9" fmla="*/ 0 h 63"/>
              <a:gd name="T10" fmla="*/ 70577 w 192"/>
              <a:gd name="T11" fmla="*/ 0 h 63"/>
              <a:gd name="T12" fmla="*/ 98648 w 192"/>
              <a:gd name="T13" fmla="*/ 13607 h 63"/>
              <a:gd name="T14" fmla="*/ 125916 w 192"/>
              <a:gd name="T15" fmla="*/ 13607 h 63"/>
              <a:gd name="T16" fmla="*/ 153987 w 192"/>
              <a:gd name="T17" fmla="*/ 43543 h 63"/>
              <a:gd name="T18" fmla="*/ 140353 w 192"/>
              <a:gd name="T19" fmla="*/ 43543 h 63"/>
              <a:gd name="T20" fmla="*/ 153987 w 192"/>
              <a:gd name="T21" fmla="*/ 57150 h 63"/>
              <a:gd name="T22" fmla="*/ 125916 w 192"/>
              <a:gd name="T23" fmla="*/ 57150 h 63"/>
              <a:gd name="T24" fmla="*/ 112282 w 192"/>
              <a:gd name="T25" fmla="*/ 57150 h 63"/>
              <a:gd name="T26" fmla="*/ 84212 w 192"/>
              <a:gd name="T27" fmla="*/ 57150 h 63"/>
              <a:gd name="T28" fmla="*/ 43309 w 192"/>
              <a:gd name="T29" fmla="*/ 57150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bg1"/>
          </a:solidFill>
          <a:ln w="9525">
            <a:solidFill>
              <a:schemeClr val="bg2"/>
            </a:solidFill>
            <a:round/>
            <a:headEnd/>
            <a:tailEnd/>
          </a:ln>
        </p:spPr>
        <p:txBody>
          <a:bodyPr/>
          <a:lstStyle/>
          <a:p>
            <a:endParaRPr lang="en-US" dirty="0"/>
          </a:p>
        </p:txBody>
      </p:sp>
      <p:sp>
        <p:nvSpPr>
          <p:cNvPr id="19678" name="Freeform 221"/>
          <p:cNvSpPr>
            <a:spLocks noChangeAspect="1"/>
          </p:cNvSpPr>
          <p:nvPr/>
        </p:nvSpPr>
        <p:spPr bwMode="auto">
          <a:xfrm>
            <a:off x="4830763" y="2890838"/>
            <a:ext cx="411162" cy="169862"/>
          </a:xfrm>
          <a:custGeom>
            <a:avLst/>
            <a:gdLst>
              <a:gd name="T0" fmla="*/ 411162 w 520"/>
              <a:gd name="T1" fmla="*/ 56028 h 191"/>
              <a:gd name="T2" fmla="*/ 411162 w 520"/>
              <a:gd name="T3" fmla="*/ 56028 h 191"/>
              <a:gd name="T4" fmla="*/ 397720 w 520"/>
              <a:gd name="T5" fmla="*/ 56028 h 191"/>
              <a:gd name="T6" fmla="*/ 383488 w 520"/>
              <a:gd name="T7" fmla="*/ 13340 h 191"/>
              <a:gd name="T8" fmla="*/ 343162 w 520"/>
              <a:gd name="T9" fmla="*/ 13340 h 191"/>
              <a:gd name="T10" fmla="*/ 302046 w 520"/>
              <a:gd name="T11" fmla="*/ 28459 h 191"/>
              <a:gd name="T12" fmla="*/ 247488 w 520"/>
              <a:gd name="T13" fmla="*/ 28459 h 191"/>
              <a:gd name="T14" fmla="*/ 206372 w 520"/>
              <a:gd name="T15" fmla="*/ 0 h 191"/>
              <a:gd name="T16" fmla="*/ 165255 w 520"/>
              <a:gd name="T17" fmla="*/ 0 h 191"/>
              <a:gd name="T18" fmla="*/ 124139 w 520"/>
              <a:gd name="T19" fmla="*/ 28459 h 191"/>
              <a:gd name="T20" fmla="*/ 97256 w 520"/>
              <a:gd name="T21" fmla="*/ 28459 h 191"/>
              <a:gd name="T22" fmla="*/ 69581 w 520"/>
              <a:gd name="T23" fmla="*/ 28459 h 191"/>
              <a:gd name="T24" fmla="*/ 56139 w 520"/>
              <a:gd name="T25" fmla="*/ 0 h 191"/>
              <a:gd name="T26" fmla="*/ 28465 w 520"/>
              <a:gd name="T27" fmla="*/ 0 h 191"/>
              <a:gd name="T28" fmla="*/ 15023 w 520"/>
              <a:gd name="T29" fmla="*/ 13340 h 191"/>
              <a:gd name="T30" fmla="*/ 0 w 520"/>
              <a:gd name="T31" fmla="*/ 42688 h 191"/>
              <a:gd name="T32" fmla="*/ 15023 w 520"/>
              <a:gd name="T33" fmla="*/ 42688 h 191"/>
              <a:gd name="T34" fmla="*/ 15023 w 520"/>
              <a:gd name="T35" fmla="*/ 56028 h 191"/>
              <a:gd name="T36" fmla="*/ 42698 w 520"/>
              <a:gd name="T37" fmla="*/ 28459 h 191"/>
              <a:gd name="T38" fmla="*/ 69581 w 520"/>
              <a:gd name="T39" fmla="*/ 28459 h 191"/>
              <a:gd name="T40" fmla="*/ 83023 w 520"/>
              <a:gd name="T41" fmla="*/ 42688 h 191"/>
              <a:gd name="T42" fmla="*/ 69581 w 520"/>
              <a:gd name="T43" fmla="*/ 42688 h 191"/>
              <a:gd name="T44" fmla="*/ 69581 w 520"/>
              <a:gd name="T45" fmla="*/ 56028 h 191"/>
              <a:gd name="T46" fmla="*/ 28465 w 520"/>
              <a:gd name="T47" fmla="*/ 56028 h 191"/>
              <a:gd name="T48" fmla="*/ 15023 w 520"/>
              <a:gd name="T49" fmla="*/ 56028 h 191"/>
              <a:gd name="T50" fmla="*/ 15023 w 520"/>
              <a:gd name="T51" fmla="*/ 85376 h 191"/>
              <a:gd name="T52" fmla="*/ 28465 w 520"/>
              <a:gd name="T53" fmla="*/ 71146 h 191"/>
              <a:gd name="T54" fmla="*/ 28465 w 520"/>
              <a:gd name="T55" fmla="*/ 98716 h 191"/>
              <a:gd name="T56" fmla="*/ 15023 w 520"/>
              <a:gd name="T57" fmla="*/ 98716 h 191"/>
              <a:gd name="T58" fmla="*/ 15023 w 520"/>
              <a:gd name="T59" fmla="*/ 113834 h 191"/>
              <a:gd name="T60" fmla="*/ 28465 w 520"/>
              <a:gd name="T61" fmla="*/ 113834 h 191"/>
              <a:gd name="T62" fmla="*/ 28465 w 520"/>
              <a:gd name="T63" fmla="*/ 127174 h 191"/>
              <a:gd name="T64" fmla="*/ 42698 w 520"/>
              <a:gd name="T65" fmla="*/ 141403 h 191"/>
              <a:gd name="T66" fmla="*/ 28465 w 520"/>
              <a:gd name="T67" fmla="*/ 141403 h 191"/>
              <a:gd name="T68" fmla="*/ 56139 w 520"/>
              <a:gd name="T69" fmla="*/ 141403 h 191"/>
              <a:gd name="T70" fmla="*/ 56139 w 520"/>
              <a:gd name="T71" fmla="*/ 156522 h 191"/>
              <a:gd name="T72" fmla="*/ 83023 w 520"/>
              <a:gd name="T73" fmla="*/ 169862 h 191"/>
              <a:gd name="T74" fmla="*/ 110697 w 520"/>
              <a:gd name="T75" fmla="*/ 156522 h 191"/>
              <a:gd name="T76" fmla="*/ 124139 w 520"/>
              <a:gd name="T77" fmla="*/ 156522 h 191"/>
              <a:gd name="T78" fmla="*/ 151814 w 520"/>
              <a:gd name="T79" fmla="*/ 169862 h 191"/>
              <a:gd name="T80" fmla="*/ 165255 w 520"/>
              <a:gd name="T81" fmla="*/ 169862 h 191"/>
              <a:gd name="T82" fmla="*/ 192930 w 520"/>
              <a:gd name="T83" fmla="*/ 156522 h 191"/>
              <a:gd name="T84" fmla="*/ 219814 w 520"/>
              <a:gd name="T85" fmla="*/ 156522 h 191"/>
              <a:gd name="T86" fmla="*/ 219814 w 520"/>
              <a:gd name="T87" fmla="*/ 141403 h 191"/>
              <a:gd name="T88" fmla="*/ 219814 w 520"/>
              <a:gd name="T89" fmla="*/ 169862 h 191"/>
              <a:gd name="T90" fmla="*/ 233255 w 520"/>
              <a:gd name="T91" fmla="*/ 169862 h 191"/>
              <a:gd name="T92" fmla="*/ 233255 w 520"/>
              <a:gd name="T93" fmla="*/ 156522 h 191"/>
              <a:gd name="T94" fmla="*/ 274372 w 520"/>
              <a:gd name="T95" fmla="*/ 141403 h 191"/>
              <a:gd name="T96" fmla="*/ 288604 w 520"/>
              <a:gd name="T97" fmla="*/ 156522 h 191"/>
              <a:gd name="T98" fmla="*/ 328930 w 520"/>
              <a:gd name="T99" fmla="*/ 141403 h 191"/>
              <a:gd name="T100" fmla="*/ 370046 w 520"/>
              <a:gd name="T101" fmla="*/ 141403 h 191"/>
              <a:gd name="T102" fmla="*/ 370046 w 520"/>
              <a:gd name="T103" fmla="*/ 127174 h 191"/>
              <a:gd name="T104" fmla="*/ 411162 w 520"/>
              <a:gd name="T105" fmla="*/ 141403 h 191"/>
              <a:gd name="T106" fmla="*/ 397720 w 520"/>
              <a:gd name="T107" fmla="*/ 71146 h 191"/>
              <a:gd name="T108" fmla="*/ 411162 w 520"/>
              <a:gd name="T109" fmla="*/ 56028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chemeClr val="bg1"/>
          </a:solidFill>
          <a:ln w="9525">
            <a:solidFill>
              <a:schemeClr val="bg2"/>
            </a:solidFill>
            <a:prstDash val="solid"/>
            <a:round/>
            <a:headEnd/>
            <a:tailEnd/>
          </a:ln>
        </p:spPr>
        <p:txBody>
          <a:bodyPr/>
          <a:lstStyle/>
          <a:p>
            <a:endParaRPr lang="en-US" dirty="0"/>
          </a:p>
        </p:txBody>
      </p:sp>
      <p:sp>
        <p:nvSpPr>
          <p:cNvPr id="19679" name="Freeform 222"/>
          <p:cNvSpPr>
            <a:spLocks noChangeAspect="1"/>
          </p:cNvSpPr>
          <p:nvPr/>
        </p:nvSpPr>
        <p:spPr bwMode="auto">
          <a:xfrm>
            <a:off x="5026025" y="3133725"/>
            <a:ext cx="93663" cy="109538"/>
          </a:xfrm>
          <a:custGeom>
            <a:avLst/>
            <a:gdLst>
              <a:gd name="T0" fmla="*/ 93663 w 119"/>
              <a:gd name="T1" fmla="*/ 26738 h 127"/>
              <a:gd name="T2" fmla="*/ 93663 w 119"/>
              <a:gd name="T3" fmla="*/ 26738 h 127"/>
              <a:gd name="T4" fmla="*/ 93663 w 119"/>
              <a:gd name="T5" fmla="*/ 0 h 127"/>
              <a:gd name="T6" fmla="*/ 79495 w 119"/>
              <a:gd name="T7" fmla="*/ 0 h 127"/>
              <a:gd name="T8" fmla="*/ 38567 w 119"/>
              <a:gd name="T9" fmla="*/ 26738 h 127"/>
              <a:gd name="T10" fmla="*/ 11806 w 119"/>
              <a:gd name="T11" fmla="*/ 26738 h 127"/>
              <a:gd name="T12" fmla="*/ 11806 w 119"/>
              <a:gd name="T13" fmla="*/ 41400 h 127"/>
              <a:gd name="T14" fmla="*/ 11806 w 119"/>
              <a:gd name="T15" fmla="*/ 68138 h 127"/>
              <a:gd name="T16" fmla="*/ 0 w 119"/>
              <a:gd name="T17" fmla="*/ 109538 h 127"/>
              <a:gd name="T18" fmla="*/ 25187 w 119"/>
              <a:gd name="T19" fmla="*/ 109538 h 127"/>
              <a:gd name="T20" fmla="*/ 38567 w 119"/>
              <a:gd name="T21" fmla="*/ 95738 h 127"/>
              <a:gd name="T22" fmla="*/ 52735 w 119"/>
              <a:gd name="T23" fmla="*/ 95738 h 127"/>
              <a:gd name="T24" fmla="*/ 66115 w 119"/>
              <a:gd name="T25" fmla="*/ 68138 h 127"/>
              <a:gd name="T26" fmla="*/ 52735 w 119"/>
              <a:gd name="T27" fmla="*/ 54338 h 127"/>
              <a:gd name="T28" fmla="*/ 93663 w 119"/>
              <a:gd name="T29" fmla="*/ 26738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chemeClr val="bg1"/>
          </a:solidFill>
          <a:ln w="9525">
            <a:solidFill>
              <a:schemeClr val="bg2"/>
            </a:solidFill>
            <a:round/>
            <a:headEnd/>
            <a:tailEnd/>
          </a:ln>
        </p:spPr>
        <p:txBody>
          <a:bodyPr/>
          <a:lstStyle/>
          <a:p>
            <a:endParaRPr lang="en-US" dirty="0"/>
          </a:p>
        </p:txBody>
      </p:sp>
      <p:sp>
        <p:nvSpPr>
          <p:cNvPr id="19680" name="Freeform 223"/>
          <p:cNvSpPr>
            <a:spLocks noChangeAspect="1"/>
          </p:cNvSpPr>
          <p:nvPr/>
        </p:nvSpPr>
        <p:spPr bwMode="auto">
          <a:xfrm>
            <a:off x="5367338" y="3328988"/>
            <a:ext cx="133350" cy="69850"/>
          </a:xfrm>
          <a:custGeom>
            <a:avLst/>
            <a:gdLst>
              <a:gd name="T0" fmla="*/ 107142 w 173"/>
              <a:gd name="T1" fmla="*/ 56753 h 80"/>
              <a:gd name="T2" fmla="*/ 107142 w 173"/>
              <a:gd name="T3" fmla="*/ 56753 h 80"/>
              <a:gd name="T4" fmla="*/ 133350 w 173"/>
              <a:gd name="T5" fmla="*/ 27940 h 80"/>
              <a:gd name="T6" fmla="*/ 133350 w 173"/>
              <a:gd name="T7" fmla="*/ 14843 h 80"/>
              <a:gd name="T8" fmla="*/ 120246 w 173"/>
              <a:gd name="T9" fmla="*/ 0 h 80"/>
              <a:gd name="T10" fmla="*/ 80164 w 173"/>
              <a:gd name="T11" fmla="*/ 41910 h 80"/>
              <a:gd name="T12" fmla="*/ 40082 w 173"/>
              <a:gd name="T13" fmla="*/ 41910 h 80"/>
              <a:gd name="T14" fmla="*/ 13875 w 173"/>
              <a:gd name="T15" fmla="*/ 41910 h 80"/>
              <a:gd name="T16" fmla="*/ 0 w 173"/>
              <a:gd name="T17" fmla="*/ 56753 h 80"/>
              <a:gd name="T18" fmla="*/ 13875 w 173"/>
              <a:gd name="T19" fmla="*/ 69850 h 80"/>
              <a:gd name="T20" fmla="*/ 26978 w 173"/>
              <a:gd name="T21" fmla="*/ 69850 h 80"/>
              <a:gd name="T22" fmla="*/ 40082 w 173"/>
              <a:gd name="T23" fmla="*/ 69850 h 80"/>
              <a:gd name="T24" fmla="*/ 53957 w 173"/>
              <a:gd name="T25" fmla="*/ 69850 h 80"/>
              <a:gd name="T26" fmla="*/ 67060 w 173"/>
              <a:gd name="T27" fmla="*/ 69850 h 80"/>
              <a:gd name="T28" fmla="*/ 80164 w 173"/>
              <a:gd name="T29" fmla="*/ 69850 h 80"/>
              <a:gd name="T30" fmla="*/ 80164 w 173"/>
              <a:gd name="T31" fmla="*/ 56753 h 80"/>
              <a:gd name="T32" fmla="*/ 93268 w 173"/>
              <a:gd name="T33" fmla="*/ 56753 h 80"/>
              <a:gd name="T34" fmla="*/ 107142 w 173"/>
              <a:gd name="T35" fmla="*/ 56753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chemeClr val="bg1"/>
          </a:solidFill>
          <a:ln w="9525">
            <a:solidFill>
              <a:schemeClr val="bg2"/>
            </a:solidFill>
            <a:round/>
            <a:headEnd/>
            <a:tailEnd/>
          </a:ln>
        </p:spPr>
        <p:txBody>
          <a:bodyPr/>
          <a:lstStyle/>
          <a:p>
            <a:endParaRPr lang="en-US" dirty="0"/>
          </a:p>
        </p:txBody>
      </p:sp>
      <p:sp>
        <p:nvSpPr>
          <p:cNvPr id="19681" name="Freeform 224"/>
          <p:cNvSpPr>
            <a:spLocks noChangeAspect="1"/>
          </p:cNvSpPr>
          <p:nvPr/>
        </p:nvSpPr>
        <p:spPr bwMode="auto">
          <a:xfrm>
            <a:off x="5487988" y="3314700"/>
            <a:ext cx="12700" cy="30163"/>
          </a:xfrm>
          <a:custGeom>
            <a:avLst/>
            <a:gdLst>
              <a:gd name="T0" fmla="*/ 12700 w 17"/>
              <a:gd name="T1" fmla="*/ 30163 h 33"/>
              <a:gd name="T2" fmla="*/ 12700 w 17"/>
              <a:gd name="T3" fmla="*/ 30163 h 33"/>
              <a:gd name="T4" fmla="*/ 0 w 17"/>
              <a:gd name="T5" fmla="*/ 14624 h 33"/>
              <a:gd name="T6" fmla="*/ 0 w 17"/>
              <a:gd name="T7" fmla="*/ 0 h 33"/>
              <a:gd name="T8" fmla="*/ 12700 w 17"/>
              <a:gd name="T9" fmla="*/ 0 h 33"/>
              <a:gd name="T10" fmla="*/ 12700 w 17"/>
              <a:gd name="T11" fmla="*/ 30163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chemeClr val="bg1"/>
          </a:solidFill>
          <a:ln w="9525">
            <a:solidFill>
              <a:schemeClr val="bg2"/>
            </a:solidFill>
            <a:prstDash val="solid"/>
            <a:round/>
            <a:headEnd/>
            <a:tailEnd/>
          </a:ln>
        </p:spPr>
        <p:txBody>
          <a:bodyPr/>
          <a:lstStyle/>
          <a:p>
            <a:endParaRPr lang="en-US" dirty="0"/>
          </a:p>
        </p:txBody>
      </p:sp>
      <p:sp>
        <p:nvSpPr>
          <p:cNvPr id="19682" name="Freeform 225"/>
          <p:cNvSpPr>
            <a:spLocks noChangeAspect="1"/>
          </p:cNvSpPr>
          <p:nvPr/>
        </p:nvSpPr>
        <p:spPr bwMode="auto">
          <a:xfrm>
            <a:off x="5200650" y="3527425"/>
            <a:ext cx="219075" cy="112713"/>
          </a:xfrm>
          <a:custGeom>
            <a:avLst/>
            <a:gdLst>
              <a:gd name="T0" fmla="*/ 0 w 279"/>
              <a:gd name="T1" fmla="*/ 28834 h 129"/>
              <a:gd name="T2" fmla="*/ 0 w 279"/>
              <a:gd name="T3" fmla="*/ 28834 h 129"/>
              <a:gd name="T4" fmla="*/ 13349 w 279"/>
              <a:gd name="T5" fmla="*/ 13980 h 129"/>
              <a:gd name="T6" fmla="*/ 54180 w 279"/>
              <a:gd name="T7" fmla="*/ 55046 h 129"/>
              <a:gd name="T8" fmla="*/ 68314 w 279"/>
              <a:gd name="T9" fmla="*/ 83879 h 129"/>
              <a:gd name="T10" fmla="*/ 164110 w 279"/>
              <a:gd name="T11" fmla="*/ 13980 h 129"/>
              <a:gd name="T12" fmla="*/ 219075 w 279"/>
              <a:gd name="T13" fmla="*/ 0 h 129"/>
              <a:gd name="T14" fmla="*/ 219075 w 279"/>
              <a:gd name="T15" fmla="*/ 13980 h 129"/>
              <a:gd name="T16" fmla="*/ 204941 w 279"/>
              <a:gd name="T17" fmla="*/ 28834 h 129"/>
              <a:gd name="T18" fmla="*/ 204941 w 279"/>
              <a:gd name="T19" fmla="*/ 41940 h 129"/>
              <a:gd name="T20" fmla="*/ 150761 w 279"/>
              <a:gd name="T21" fmla="*/ 55046 h 129"/>
              <a:gd name="T22" fmla="*/ 96581 w 279"/>
              <a:gd name="T23" fmla="*/ 96986 h 129"/>
              <a:gd name="T24" fmla="*/ 68314 w 279"/>
              <a:gd name="T25" fmla="*/ 96986 h 129"/>
              <a:gd name="T26" fmla="*/ 40831 w 279"/>
              <a:gd name="T27" fmla="*/ 112713 h 129"/>
              <a:gd name="T28" fmla="*/ 13349 w 279"/>
              <a:gd name="T29" fmla="*/ 112713 h 129"/>
              <a:gd name="T30" fmla="*/ 0 w 279"/>
              <a:gd name="T31" fmla="*/ 2883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chemeClr val="bg1"/>
          </a:solidFill>
          <a:ln w="9525">
            <a:solidFill>
              <a:schemeClr val="bg2"/>
            </a:solidFill>
            <a:round/>
            <a:headEnd/>
            <a:tailEnd/>
          </a:ln>
        </p:spPr>
        <p:txBody>
          <a:bodyPr/>
          <a:lstStyle/>
          <a:p>
            <a:endParaRPr lang="en-US" dirty="0"/>
          </a:p>
        </p:txBody>
      </p:sp>
      <p:sp>
        <p:nvSpPr>
          <p:cNvPr id="19683" name="Freeform 226"/>
          <p:cNvSpPr>
            <a:spLocks noChangeAspect="1"/>
          </p:cNvSpPr>
          <p:nvPr/>
        </p:nvSpPr>
        <p:spPr bwMode="auto">
          <a:xfrm>
            <a:off x="4464050" y="2862263"/>
            <a:ext cx="11113" cy="58737"/>
          </a:xfrm>
          <a:custGeom>
            <a:avLst/>
            <a:gdLst>
              <a:gd name="T0" fmla="*/ 0 w 18"/>
              <a:gd name="T1" fmla="*/ 15362 h 65"/>
              <a:gd name="T2" fmla="*/ 0 w 18"/>
              <a:gd name="T3" fmla="*/ 15362 h 65"/>
              <a:gd name="T4" fmla="*/ 0 w 18"/>
              <a:gd name="T5" fmla="*/ 43375 h 65"/>
              <a:gd name="T6" fmla="*/ 11113 w 18"/>
              <a:gd name="T7" fmla="*/ 58737 h 65"/>
              <a:gd name="T8" fmla="*/ 11113 w 18"/>
              <a:gd name="T9" fmla="*/ 0 h 65"/>
              <a:gd name="T10" fmla="*/ 0 w 18"/>
              <a:gd name="T11" fmla="*/ 15362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684" name="Freeform 227"/>
          <p:cNvSpPr>
            <a:spLocks noChangeAspect="1"/>
          </p:cNvSpPr>
          <p:nvPr/>
        </p:nvSpPr>
        <p:spPr bwMode="auto">
          <a:xfrm>
            <a:off x="4449763" y="2921000"/>
            <a:ext cx="41275" cy="69850"/>
          </a:xfrm>
          <a:custGeom>
            <a:avLst/>
            <a:gdLst>
              <a:gd name="T0" fmla="*/ 0 w 52"/>
              <a:gd name="T1" fmla="*/ 0 h 79"/>
              <a:gd name="T2" fmla="*/ 0 w 52"/>
              <a:gd name="T3" fmla="*/ 0 h 79"/>
              <a:gd name="T4" fmla="*/ 13494 w 52"/>
              <a:gd name="T5" fmla="*/ 56587 h 79"/>
              <a:gd name="T6" fmla="*/ 13494 w 52"/>
              <a:gd name="T7" fmla="*/ 69850 h 79"/>
              <a:gd name="T8" fmla="*/ 27781 w 52"/>
              <a:gd name="T9" fmla="*/ 56587 h 79"/>
              <a:gd name="T10" fmla="*/ 41275 w 52"/>
              <a:gd name="T11" fmla="*/ 14147 h 79"/>
              <a:gd name="T12" fmla="*/ 27781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85" name="Freeform 228"/>
          <p:cNvSpPr>
            <a:spLocks noChangeAspect="1"/>
          </p:cNvSpPr>
          <p:nvPr/>
        </p:nvSpPr>
        <p:spPr bwMode="auto">
          <a:xfrm>
            <a:off x="4545013" y="3006725"/>
            <a:ext cx="69850" cy="41275"/>
          </a:xfrm>
          <a:custGeom>
            <a:avLst/>
            <a:gdLst>
              <a:gd name="T0" fmla="*/ 0 w 88"/>
              <a:gd name="T1" fmla="*/ 0 h 48"/>
              <a:gd name="T2" fmla="*/ 0 w 88"/>
              <a:gd name="T3" fmla="*/ 0 h 48"/>
              <a:gd name="T4" fmla="*/ 0 w 88"/>
              <a:gd name="T5" fmla="*/ 12898 h 48"/>
              <a:gd name="T6" fmla="*/ 54769 w 88"/>
              <a:gd name="T7" fmla="*/ 41275 h 48"/>
              <a:gd name="T8" fmla="*/ 69850 w 88"/>
              <a:gd name="T9" fmla="*/ 0 h 48"/>
              <a:gd name="T10" fmla="*/ 41275 w 88"/>
              <a:gd name="T11" fmla="*/ 0 h 48"/>
              <a:gd name="T12" fmla="*/ 13494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686" name="Freeform 229"/>
          <p:cNvSpPr>
            <a:spLocks noChangeAspect="1"/>
          </p:cNvSpPr>
          <p:nvPr/>
        </p:nvSpPr>
        <p:spPr bwMode="auto">
          <a:xfrm>
            <a:off x="4737100" y="3006725"/>
            <a:ext cx="39688" cy="41275"/>
          </a:xfrm>
          <a:custGeom>
            <a:avLst/>
            <a:gdLst>
              <a:gd name="T0" fmla="*/ 0 w 52"/>
              <a:gd name="T1" fmla="*/ 12898 h 48"/>
              <a:gd name="T2" fmla="*/ 0 w 52"/>
              <a:gd name="T3" fmla="*/ 12898 h 48"/>
              <a:gd name="T4" fmla="*/ 12975 w 52"/>
              <a:gd name="T5" fmla="*/ 12898 h 48"/>
              <a:gd name="T6" fmla="*/ 12975 w 52"/>
              <a:gd name="T7" fmla="*/ 41275 h 48"/>
              <a:gd name="T8" fmla="*/ 25950 w 52"/>
              <a:gd name="T9" fmla="*/ 41275 h 48"/>
              <a:gd name="T10" fmla="*/ 39688 w 52"/>
              <a:gd name="T11" fmla="*/ 41275 h 48"/>
              <a:gd name="T12" fmla="*/ 25950 w 52"/>
              <a:gd name="T13" fmla="*/ 12898 h 48"/>
              <a:gd name="T14" fmla="*/ 39688 w 52"/>
              <a:gd name="T15" fmla="*/ 26657 h 48"/>
              <a:gd name="T16" fmla="*/ 39688 w 52"/>
              <a:gd name="T17" fmla="*/ 12898 h 48"/>
              <a:gd name="T18" fmla="*/ 12975 w 52"/>
              <a:gd name="T19" fmla="*/ 0 h 48"/>
              <a:gd name="T20" fmla="*/ 0 w 52"/>
              <a:gd name="T21" fmla="*/ 1289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687" name="Freeform 230"/>
          <p:cNvSpPr>
            <a:spLocks noChangeAspect="1"/>
          </p:cNvSpPr>
          <p:nvPr/>
        </p:nvSpPr>
        <p:spPr bwMode="auto">
          <a:xfrm>
            <a:off x="4792663" y="3074988"/>
            <a:ext cx="52387" cy="15875"/>
          </a:xfrm>
          <a:custGeom>
            <a:avLst/>
            <a:gdLst>
              <a:gd name="T0" fmla="*/ 0 w 71"/>
              <a:gd name="T1" fmla="*/ 15875 h 17"/>
              <a:gd name="T2" fmla="*/ 0 w 71"/>
              <a:gd name="T3" fmla="*/ 15875 h 17"/>
              <a:gd name="T4" fmla="*/ 26562 w 71"/>
              <a:gd name="T5" fmla="*/ 15875 h 17"/>
              <a:gd name="T6" fmla="*/ 52387 w 71"/>
              <a:gd name="T7" fmla="*/ 15875 h 17"/>
              <a:gd name="T8" fmla="*/ 39844 w 71"/>
              <a:gd name="T9" fmla="*/ 15875 h 17"/>
              <a:gd name="T10" fmla="*/ 0 w 71"/>
              <a:gd name="T11" fmla="*/ 0 h 17"/>
              <a:gd name="T12" fmla="*/ 0 w 71"/>
              <a:gd name="T13" fmla="*/ 15875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688" name="Freeform 231"/>
          <p:cNvSpPr>
            <a:spLocks noChangeAspect="1"/>
          </p:cNvSpPr>
          <p:nvPr/>
        </p:nvSpPr>
        <p:spPr bwMode="auto">
          <a:xfrm>
            <a:off x="4968875" y="3074988"/>
            <a:ext cx="55563" cy="26987"/>
          </a:xfrm>
          <a:custGeom>
            <a:avLst/>
            <a:gdLst>
              <a:gd name="T0" fmla="*/ 0 w 70"/>
              <a:gd name="T1" fmla="*/ 14337 h 32"/>
              <a:gd name="T2" fmla="*/ 0 w 70"/>
              <a:gd name="T3" fmla="*/ 14337 h 32"/>
              <a:gd name="T4" fmla="*/ 14288 w 70"/>
              <a:gd name="T5" fmla="*/ 26987 h 32"/>
              <a:gd name="T6" fmla="*/ 27782 w 70"/>
              <a:gd name="T7" fmla="*/ 26987 h 32"/>
              <a:gd name="T8" fmla="*/ 41275 w 70"/>
              <a:gd name="T9" fmla="*/ 14337 h 32"/>
              <a:gd name="T10" fmla="*/ 55563 w 70"/>
              <a:gd name="T11" fmla="*/ 0 h 32"/>
              <a:gd name="T12" fmla="*/ 0 w 70"/>
              <a:gd name="T13" fmla="*/ 14337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689" name="Line 232"/>
          <p:cNvSpPr>
            <a:spLocks noChangeAspect="1" noChangeShapeType="1"/>
          </p:cNvSpPr>
          <p:nvPr/>
        </p:nvSpPr>
        <p:spPr bwMode="auto">
          <a:xfrm flipV="1">
            <a:off x="4883150" y="3052763"/>
            <a:ext cx="11113" cy="44450"/>
          </a:xfrm>
          <a:prstGeom prst="line">
            <a:avLst/>
          </a:prstGeom>
          <a:noFill/>
          <a:ln w="9525">
            <a:solidFill>
              <a:schemeClr val="bg2"/>
            </a:solidFill>
            <a:round/>
            <a:headEnd/>
            <a:tailEnd/>
          </a:ln>
        </p:spPr>
        <p:txBody>
          <a:bodyPr/>
          <a:lstStyle/>
          <a:p>
            <a:endParaRPr lang="en-US" dirty="0"/>
          </a:p>
        </p:txBody>
      </p:sp>
      <p:sp>
        <p:nvSpPr>
          <p:cNvPr id="19690" name="Freeform 233"/>
          <p:cNvSpPr>
            <a:spLocks noChangeAspect="1"/>
          </p:cNvSpPr>
          <p:nvPr/>
        </p:nvSpPr>
        <p:spPr bwMode="auto">
          <a:xfrm>
            <a:off x="5243513" y="2947988"/>
            <a:ext cx="26987" cy="28575"/>
          </a:xfrm>
          <a:custGeom>
            <a:avLst/>
            <a:gdLst>
              <a:gd name="T0" fmla="*/ 26987 w 35"/>
              <a:gd name="T1" fmla="*/ 28575 h 33"/>
              <a:gd name="T2" fmla="*/ 26987 w 35"/>
              <a:gd name="T3" fmla="*/ 28575 h 33"/>
              <a:gd name="T4" fmla="*/ 13108 w 35"/>
              <a:gd name="T5" fmla="*/ 28575 h 33"/>
              <a:gd name="T6" fmla="*/ 0 w 35"/>
              <a:gd name="T7" fmla="*/ 0 h 33"/>
              <a:gd name="T8" fmla="*/ 26987 w 35"/>
              <a:gd name="T9" fmla="*/ 14720 h 33"/>
              <a:gd name="T10" fmla="*/ 26987 w 35"/>
              <a:gd name="T11" fmla="*/ 28575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chemeClr val="bg1"/>
          </a:solidFill>
          <a:ln w="9525">
            <a:solidFill>
              <a:schemeClr val="bg2"/>
            </a:solidFill>
            <a:prstDash val="solid"/>
            <a:round/>
            <a:headEnd/>
            <a:tailEnd/>
          </a:ln>
        </p:spPr>
        <p:txBody>
          <a:bodyPr/>
          <a:lstStyle/>
          <a:p>
            <a:endParaRPr lang="en-US" dirty="0"/>
          </a:p>
        </p:txBody>
      </p:sp>
      <p:sp>
        <p:nvSpPr>
          <p:cNvPr id="19691" name="Freeform 234"/>
          <p:cNvSpPr>
            <a:spLocks noChangeAspect="1"/>
          </p:cNvSpPr>
          <p:nvPr/>
        </p:nvSpPr>
        <p:spPr bwMode="auto">
          <a:xfrm>
            <a:off x="5037138" y="3032125"/>
            <a:ext cx="163512" cy="127000"/>
          </a:xfrm>
          <a:custGeom>
            <a:avLst/>
            <a:gdLst>
              <a:gd name="T0" fmla="*/ 0 w 207"/>
              <a:gd name="T1" fmla="*/ 127000 h 144"/>
              <a:gd name="T2" fmla="*/ 0 w 207"/>
              <a:gd name="T3" fmla="*/ 127000 h 144"/>
              <a:gd name="T4" fmla="*/ 13429 w 207"/>
              <a:gd name="T5" fmla="*/ 112889 h 144"/>
              <a:gd name="T6" fmla="*/ 26857 w 207"/>
              <a:gd name="T7" fmla="*/ 84667 h 144"/>
              <a:gd name="T8" fmla="*/ 13429 w 207"/>
              <a:gd name="T9" fmla="*/ 70556 h 144"/>
              <a:gd name="T10" fmla="*/ 13429 w 207"/>
              <a:gd name="T11" fmla="*/ 28222 h 144"/>
              <a:gd name="T12" fmla="*/ 26857 w 207"/>
              <a:gd name="T13" fmla="*/ 28222 h 144"/>
              <a:gd name="T14" fmla="*/ 26857 w 207"/>
              <a:gd name="T15" fmla="*/ 14993 h 144"/>
              <a:gd name="T16" fmla="*/ 67933 w 207"/>
              <a:gd name="T17" fmla="*/ 0 h 144"/>
              <a:gd name="T18" fmla="*/ 82151 w 207"/>
              <a:gd name="T19" fmla="*/ 14993 h 144"/>
              <a:gd name="T20" fmla="*/ 122437 w 207"/>
              <a:gd name="T21" fmla="*/ 0 h 144"/>
              <a:gd name="T22" fmla="*/ 163512 w 207"/>
              <a:gd name="T23" fmla="*/ 0 h 144"/>
              <a:gd name="T24" fmla="*/ 136655 w 207"/>
              <a:gd name="T25" fmla="*/ 14993 h 144"/>
              <a:gd name="T26" fmla="*/ 122437 w 207"/>
              <a:gd name="T27" fmla="*/ 70556 h 144"/>
              <a:gd name="T28" fmla="*/ 82151 w 207"/>
              <a:gd name="T29" fmla="*/ 99660 h 144"/>
              <a:gd name="T30" fmla="*/ 67933 w 207"/>
              <a:gd name="T31" fmla="*/ 99660 h 144"/>
              <a:gd name="T32" fmla="*/ 26857 w 207"/>
              <a:gd name="T33" fmla="*/ 127000 h 144"/>
              <a:gd name="T34" fmla="*/ 0 w 207"/>
              <a:gd name="T35" fmla="*/ 127000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chemeClr val="bg1"/>
          </a:solidFill>
          <a:ln w="9525">
            <a:solidFill>
              <a:schemeClr val="bg2"/>
            </a:solidFill>
            <a:round/>
            <a:headEnd/>
            <a:tailEnd/>
          </a:ln>
        </p:spPr>
        <p:txBody>
          <a:bodyPr/>
          <a:lstStyle/>
          <a:p>
            <a:endParaRPr lang="en-US" dirty="0"/>
          </a:p>
        </p:txBody>
      </p:sp>
      <p:sp>
        <p:nvSpPr>
          <p:cNvPr id="19692" name="Freeform 235"/>
          <p:cNvSpPr>
            <a:spLocks noChangeAspect="1"/>
          </p:cNvSpPr>
          <p:nvPr/>
        </p:nvSpPr>
        <p:spPr bwMode="auto">
          <a:xfrm>
            <a:off x="5010150" y="3146425"/>
            <a:ext cx="41275" cy="96838"/>
          </a:xfrm>
          <a:custGeom>
            <a:avLst/>
            <a:gdLst>
              <a:gd name="T0" fmla="*/ 27781 w 52"/>
              <a:gd name="T1" fmla="*/ 13834 h 112"/>
              <a:gd name="T2" fmla="*/ 27781 w 52"/>
              <a:gd name="T3" fmla="*/ 13834 h 112"/>
              <a:gd name="T4" fmla="*/ 27781 w 52"/>
              <a:gd name="T5" fmla="*/ 28533 h 112"/>
              <a:gd name="T6" fmla="*/ 27781 w 52"/>
              <a:gd name="T7" fmla="*/ 55336 h 112"/>
              <a:gd name="T8" fmla="*/ 14288 w 52"/>
              <a:gd name="T9" fmla="*/ 96838 h 112"/>
              <a:gd name="T10" fmla="*/ 0 w 52"/>
              <a:gd name="T11" fmla="*/ 41502 h 112"/>
              <a:gd name="T12" fmla="*/ 14288 w 52"/>
              <a:gd name="T13" fmla="*/ 28533 h 112"/>
              <a:gd name="T14" fmla="*/ 27781 w 52"/>
              <a:gd name="T15" fmla="*/ 0 h 112"/>
              <a:gd name="T16" fmla="*/ 41275 w 52"/>
              <a:gd name="T17" fmla="*/ 0 h 112"/>
              <a:gd name="T18" fmla="*/ 27781 w 52"/>
              <a:gd name="T19" fmla="*/ 13834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chemeClr val="bg1"/>
          </a:solidFill>
          <a:ln w="9525">
            <a:solidFill>
              <a:schemeClr val="bg2"/>
            </a:solidFill>
            <a:prstDash val="solid"/>
            <a:round/>
            <a:headEnd/>
            <a:tailEnd/>
          </a:ln>
        </p:spPr>
        <p:txBody>
          <a:bodyPr/>
          <a:lstStyle/>
          <a:p>
            <a:endParaRPr lang="en-US" dirty="0"/>
          </a:p>
        </p:txBody>
      </p:sp>
      <p:sp>
        <p:nvSpPr>
          <p:cNvPr id="19693" name="Freeform 236"/>
          <p:cNvSpPr>
            <a:spLocks noChangeAspect="1"/>
          </p:cNvSpPr>
          <p:nvPr/>
        </p:nvSpPr>
        <p:spPr bwMode="auto">
          <a:xfrm>
            <a:off x="5119688" y="3017838"/>
            <a:ext cx="204787" cy="225425"/>
          </a:xfrm>
          <a:custGeom>
            <a:avLst/>
            <a:gdLst>
              <a:gd name="T0" fmla="*/ 122556 w 259"/>
              <a:gd name="T1" fmla="*/ 14089 h 256"/>
              <a:gd name="T2" fmla="*/ 122556 w 259"/>
              <a:gd name="T3" fmla="*/ 14089 h 256"/>
              <a:gd name="T4" fmla="*/ 135998 w 259"/>
              <a:gd name="T5" fmla="*/ 42267 h 256"/>
              <a:gd name="T6" fmla="*/ 150230 w 259"/>
              <a:gd name="T7" fmla="*/ 42267 h 256"/>
              <a:gd name="T8" fmla="*/ 150230 w 259"/>
              <a:gd name="T9" fmla="*/ 71326 h 256"/>
              <a:gd name="T10" fmla="*/ 135998 w 259"/>
              <a:gd name="T11" fmla="*/ 98623 h 256"/>
              <a:gd name="T12" fmla="*/ 150230 w 259"/>
              <a:gd name="T13" fmla="*/ 126802 h 256"/>
              <a:gd name="T14" fmla="*/ 177113 w 259"/>
              <a:gd name="T15" fmla="*/ 140891 h 256"/>
              <a:gd name="T16" fmla="*/ 190555 w 259"/>
              <a:gd name="T17" fmla="*/ 183158 h 256"/>
              <a:gd name="T18" fmla="*/ 204787 w 259"/>
              <a:gd name="T19" fmla="*/ 198127 h 256"/>
              <a:gd name="T20" fmla="*/ 204787 w 259"/>
              <a:gd name="T21" fmla="*/ 211336 h 256"/>
              <a:gd name="T22" fmla="*/ 177113 w 259"/>
              <a:gd name="T23" fmla="*/ 211336 h 256"/>
              <a:gd name="T24" fmla="*/ 163671 w 259"/>
              <a:gd name="T25" fmla="*/ 225425 h 256"/>
              <a:gd name="T26" fmla="*/ 135998 w 259"/>
              <a:gd name="T27" fmla="*/ 211336 h 256"/>
              <a:gd name="T28" fmla="*/ 122556 w 259"/>
              <a:gd name="T29" fmla="*/ 225425 h 256"/>
              <a:gd name="T30" fmla="*/ 94882 w 259"/>
              <a:gd name="T31" fmla="*/ 211336 h 256"/>
              <a:gd name="T32" fmla="*/ 94882 w 259"/>
              <a:gd name="T33" fmla="*/ 198127 h 256"/>
              <a:gd name="T34" fmla="*/ 81440 w 259"/>
              <a:gd name="T35" fmla="*/ 183158 h 256"/>
              <a:gd name="T36" fmla="*/ 40325 w 259"/>
              <a:gd name="T37" fmla="*/ 155860 h 256"/>
              <a:gd name="T38" fmla="*/ 0 w 259"/>
              <a:gd name="T39" fmla="*/ 140891 h 256"/>
              <a:gd name="T40" fmla="*/ 0 w 259"/>
              <a:gd name="T41" fmla="*/ 113593 h 256"/>
              <a:gd name="T42" fmla="*/ 40325 w 259"/>
              <a:gd name="T43" fmla="*/ 84534 h 256"/>
              <a:gd name="T44" fmla="*/ 54557 w 259"/>
              <a:gd name="T45" fmla="*/ 29059 h 256"/>
              <a:gd name="T46" fmla="*/ 81440 w 259"/>
              <a:gd name="T47" fmla="*/ 14089 h 256"/>
              <a:gd name="T48" fmla="*/ 81440 w 259"/>
              <a:gd name="T49" fmla="*/ 0 h 256"/>
              <a:gd name="T50" fmla="*/ 122556 w 259"/>
              <a:gd name="T51" fmla="*/ 14089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chemeClr val="bg1"/>
          </a:solidFill>
          <a:ln w="9525">
            <a:solidFill>
              <a:schemeClr val="bg2"/>
            </a:solidFill>
            <a:prstDash val="solid"/>
            <a:round/>
            <a:headEnd/>
            <a:tailEnd/>
          </a:ln>
        </p:spPr>
        <p:txBody>
          <a:bodyPr/>
          <a:lstStyle/>
          <a:p>
            <a:endParaRPr lang="en-US" dirty="0"/>
          </a:p>
        </p:txBody>
      </p:sp>
      <p:sp>
        <p:nvSpPr>
          <p:cNvPr id="19694" name="Freeform 237"/>
          <p:cNvSpPr>
            <a:spLocks noChangeAspect="1"/>
          </p:cNvSpPr>
          <p:nvPr/>
        </p:nvSpPr>
        <p:spPr bwMode="auto">
          <a:xfrm>
            <a:off x="5037138" y="3101975"/>
            <a:ext cx="30162" cy="44450"/>
          </a:xfrm>
          <a:custGeom>
            <a:avLst/>
            <a:gdLst>
              <a:gd name="T0" fmla="*/ 14243 w 36"/>
              <a:gd name="T1" fmla="*/ 44450 h 48"/>
              <a:gd name="T2" fmla="*/ 14243 w 36"/>
              <a:gd name="T3" fmla="*/ 44450 h 48"/>
              <a:gd name="T4" fmla="*/ 0 w 36"/>
              <a:gd name="T5" fmla="*/ 44450 h 48"/>
              <a:gd name="T6" fmla="*/ 14243 w 36"/>
              <a:gd name="T7" fmla="*/ 0 h 48"/>
              <a:gd name="T8" fmla="*/ 30162 w 36"/>
              <a:gd name="T9" fmla="*/ 14817 h 48"/>
              <a:gd name="T10" fmla="*/ 14243 w 36"/>
              <a:gd name="T11" fmla="*/ 44450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chemeClr val="bg1"/>
          </a:solidFill>
          <a:ln w="9525">
            <a:solidFill>
              <a:schemeClr val="bg2"/>
            </a:solidFill>
            <a:prstDash val="solid"/>
            <a:round/>
            <a:headEnd/>
            <a:tailEnd/>
          </a:ln>
        </p:spPr>
        <p:txBody>
          <a:bodyPr/>
          <a:lstStyle/>
          <a:p>
            <a:endParaRPr lang="en-US" dirty="0"/>
          </a:p>
        </p:txBody>
      </p:sp>
      <p:sp>
        <p:nvSpPr>
          <p:cNvPr id="19695" name="Freeform 238"/>
          <p:cNvSpPr>
            <a:spLocks noChangeAspect="1"/>
          </p:cNvSpPr>
          <p:nvPr/>
        </p:nvSpPr>
        <p:spPr bwMode="auto">
          <a:xfrm>
            <a:off x="5283200" y="3230563"/>
            <a:ext cx="41275" cy="26987"/>
          </a:xfrm>
          <a:custGeom>
            <a:avLst/>
            <a:gdLst>
              <a:gd name="T0" fmla="*/ 0 w 52"/>
              <a:gd name="T1" fmla="*/ 13085 h 33"/>
              <a:gd name="T2" fmla="*/ 0 w 52"/>
              <a:gd name="T3" fmla="*/ 13085 h 33"/>
              <a:gd name="T4" fmla="*/ 13494 w 52"/>
              <a:gd name="T5" fmla="*/ 0 h 33"/>
              <a:gd name="T6" fmla="*/ 41275 w 52"/>
              <a:gd name="T7" fmla="*/ 0 h 33"/>
              <a:gd name="T8" fmla="*/ 26988 w 52"/>
              <a:gd name="T9" fmla="*/ 13085 h 33"/>
              <a:gd name="T10" fmla="*/ 41275 w 52"/>
              <a:gd name="T11" fmla="*/ 26987 h 33"/>
              <a:gd name="T12" fmla="*/ 0 w 52"/>
              <a:gd name="T13" fmla="*/ 13085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9696" name="Freeform 239"/>
          <p:cNvSpPr>
            <a:spLocks noChangeAspect="1"/>
          </p:cNvSpPr>
          <p:nvPr/>
        </p:nvSpPr>
        <p:spPr bwMode="auto">
          <a:xfrm>
            <a:off x="4781550" y="2397125"/>
            <a:ext cx="206375" cy="184150"/>
          </a:xfrm>
          <a:custGeom>
            <a:avLst/>
            <a:gdLst>
              <a:gd name="T0" fmla="*/ 192032 w 259"/>
              <a:gd name="T1" fmla="*/ 155955 h 209"/>
              <a:gd name="T2" fmla="*/ 192032 w 259"/>
              <a:gd name="T3" fmla="*/ 155955 h 209"/>
              <a:gd name="T4" fmla="*/ 178486 w 259"/>
              <a:gd name="T5" fmla="*/ 126878 h 209"/>
              <a:gd name="T6" fmla="*/ 178486 w 259"/>
              <a:gd name="T7" fmla="*/ 113662 h 209"/>
              <a:gd name="T8" fmla="*/ 192032 w 259"/>
              <a:gd name="T9" fmla="*/ 126878 h 209"/>
              <a:gd name="T10" fmla="*/ 206375 w 259"/>
              <a:gd name="T11" fmla="*/ 99564 h 209"/>
              <a:gd name="T12" fmla="*/ 192032 w 259"/>
              <a:gd name="T13" fmla="*/ 99564 h 209"/>
              <a:gd name="T14" fmla="*/ 164941 w 259"/>
              <a:gd name="T15" fmla="*/ 58153 h 209"/>
              <a:gd name="T16" fmla="*/ 164941 w 259"/>
              <a:gd name="T17" fmla="*/ 29076 h 209"/>
              <a:gd name="T18" fmla="*/ 151395 w 259"/>
              <a:gd name="T19" fmla="*/ 15860 h 209"/>
              <a:gd name="T20" fmla="*/ 109960 w 259"/>
              <a:gd name="T21" fmla="*/ 0 h 209"/>
              <a:gd name="T22" fmla="*/ 82072 w 259"/>
              <a:gd name="T23" fmla="*/ 29076 h 209"/>
              <a:gd name="T24" fmla="*/ 82072 w 259"/>
              <a:gd name="T25" fmla="*/ 42293 h 209"/>
              <a:gd name="T26" fmla="*/ 54980 w 259"/>
              <a:gd name="T27" fmla="*/ 58153 h 209"/>
              <a:gd name="T28" fmla="*/ 54980 w 259"/>
              <a:gd name="T29" fmla="*/ 84586 h 209"/>
              <a:gd name="T30" fmla="*/ 40638 w 259"/>
              <a:gd name="T31" fmla="*/ 84586 h 209"/>
              <a:gd name="T32" fmla="*/ 13546 w 259"/>
              <a:gd name="T33" fmla="*/ 99564 h 209"/>
              <a:gd name="T34" fmla="*/ 0 w 259"/>
              <a:gd name="T35" fmla="*/ 99564 h 209"/>
              <a:gd name="T36" fmla="*/ 13546 w 259"/>
              <a:gd name="T37" fmla="*/ 126878 h 209"/>
              <a:gd name="T38" fmla="*/ 0 w 259"/>
              <a:gd name="T39" fmla="*/ 155955 h 209"/>
              <a:gd name="T40" fmla="*/ 0 w 259"/>
              <a:gd name="T41" fmla="*/ 184150 h 209"/>
              <a:gd name="T42" fmla="*/ 27092 w 259"/>
              <a:gd name="T43" fmla="*/ 169171 h 209"/>
              <a:gd name="T44" fmla="*/ 54980 w 259"/>
              <a:gd name="T45" fmla="*/ 169171 h 209"/>
              <a:gd name="T46" fmla="*/ 96415 w 259"/>
              <a:gd name="T47" fmla="*/ 184150 h 209"/>
              <a:gd name="T48" fmla="*/ 109960 w 259"/>
              <a:gd name="T49" fmla="*/ 184150 h 209"/>
              <a:gd name="T50" fmla="*/ 123506 w 259"/>
              <a:gd name="T51" fmla="*/ 184150 h 209"/>
              <a:gd name="T52" fmla="*/ 137052 w 259"/>
              <a:gd name="T53" fmla="*/ 184150 h 209"/>
              <a:gd name="T54" fmla="*/ 164941 w 259"/>
              <a:gd name="T55" fmla="*/ 184150 h 209"/>
              <a:gd name="T56" fmla="*/ 178486 w 259"/>
              <a:gd name="T57" fmla="*/ 155955 h 209"/>
              <a:gd name="T58" fmla="*/ 192032 w 259"/>
              <a:gd name="T59" fmla="*/ 155955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chemeClr val="bg1"/>
          </a:solidFill>
          <a:ln w="9525">
            <a:solidFill>
              <a:schemeClr val="bg2"/>
            </a:solidFill>
            <a:round/>
            <a:headEnd/>
            <a:tailEnd/>
          </a:ln>
        </p:spPr>
        <p:txBody>
          <a:bodyPr/>
          <a:lstStyle/>
          <a:p>
            <a:endParaRPr lang="en-US" dirty="0"/>
          </a:p>
        </p:txBody>
      </p:sp>
      <p:sp>
        <p:nvSpPr>
          <p:cNvPr id="19697" name="Freeform 240"/>
          <p:cNvSpPr>
            <a:spLocks noChangeAspect="1"/>
          </p:cNvSpPr>
          <p:nvPr/>
        </p:nvSpPr>
        <p:spPr bwMode="auto">
          <a:xfrm>
            <a:off x="4751388" y="2552700"/>
            <a:ext cx="398462" cy="266700"/>
          </a:xfrm>
          <a:custGeom>
            <a:avLst/>
            <a:gdLst>
              <a:gd name="T0" fmla="*/ 165564 w 503"/>
              <a:gd name="T1" fmla="*/ 239414 h 303"/>
              <a:gd name="T2" fmla="*/ 165564 w 503"/>
              <a:gd name="T3" fmla="*/ 239414 h 303"/>
              <a:gd name="T4" fmla="*/ 137046 w 503"/>
              <a:gd name="T5" fmla="*/ 239414 h 303"/>
              <a:gd name="T6" fmla="*/ 137046 w 503"/>
              <a:gd name="T7" fmla="*/ 224450 h 303"/>
              <a:gd name="T8" fmla="*/ 152097 w 503"/>
              <a:gd name="T9" fmla="*/ 197164 h 303"/>
              <a:gd name="T10" fmla="*/ 179823 w 503"/>
              <a:gd name="T11" fmla="*/ 197164 h 303"/>
              <a:gd name="T12" fmla="*/ 179823 w 503"/>
              <a:gd name="T13" fmla="*/ 182201 h 303"/>
              <a:gd name="T14" fmla="*/ 165564 w 503"/>
              <a:gd name="T15" fmla="*/ 154915 h 303"/>
              <a:gd name="T16" fmla="*/ 165564 w 503"/>
              <a:gd name="T17" fmla="*/ 139951 h 303"/>
              <a:gd name="T18" fmla="*/ 123579 w 503"/>
              <a:gd name="T19" fmla="*/ 126749 h 303"/>
              <a:gd name="T20" fmla="*/ 95853 w 503"/>
              <a:gd name="T21" fmla="*/ 139951 h 303"/>
              <a:gd name="T22" fmla="*/ 68127 w 503"/>
              <a:gd name="T23" fmla="*/ 154915 h 303"/>
              <a:gd name="T24" fmla="*/ 54660 w 503"/>
              <a:gd name="T25" fmla="*/ 154915 h 303"/>
              <a:gd name="T26" fmla="*/ 13467 w 503"/>
              <a:gd name="T27" fmla="*/ 154915 h 303"/>
              <a:gd name="T28" fmla="*/ 0 w 503"/>
              <a:gd name="T29" fmla="*/ 139951 h 303"/>
              <a:gd name="T30" fmla="*/ 13467 w 503"/>
              <a:gd name="T31" fmla="*/ 112665 h 303"/>
              <a:gd name="T32" fmla="*/ 27726 w 503"/>
              <a:gd name="T33" fmla="*/ 84499 h 303"/>
              <a:gd name="T34" fmla="*/ 41193 w 503"/>
              <a:gd name="T35" fmla="*/ 70416 h 303"/>
              <a:gd name="T36" fmla="*/ 27726 w 503"/>
              <a:gd name="T37" fmla="*/ 28166 h 303"/>
              <a:gd name="T38" fmla="*/ 54660 w 503"/>
              <a:gd name="T39" fmla="*/ 13203 h 303"/>
              <a:gd name="T40" fmla="*/ 82386 w 503"/>
              <a:gd name="T41" fmla="*/ 13203 h 303"/>
              <a:gd name="T42" fmla="*/ 123579 w 503"/>
              <a:gd name="T43" fmla="*/ 28166 h 303"/>
              <a:gd name="T44" fmla="*/ 137046 w 503"/>
              <a:gd name="T45" fmla="*/ 28166 h 303"/>
              <a:gd name="T46" fmla="*/ 152097 w 503"/>
              <a:gd name="T47" fmla="*/ 28166 h 303"/>
              <a:gd name="T48" fmla="*/ 165564 w 503"/>
              <a:gd name="T49" fmla="*/ 28166 h 303"/>
              <a:gd name="T50" fmla="*/ 193290 w 503"/>
              <a:gd name="T51" fmla="*/ 28166 h 303"/>
              <a:gd name="T52" fmla="*/ 206757 w 503"/>
              <a:gd name="T53" fmla="*/ 0 h 303"/>
              <a:gd name="T54" fmla="*/ 220224 w 503"/>
              <a:gd name="T55" fmla="*/ 0 h 303"/>
              <a:gd name="T56" fmla="*/ 261416 w 503"/>
              <a:gd name="T57" fmla="*/ 0 h 303"/>
              <a:gd name="T58" fmla="*/ 275676 w 503"/>
              <a:gd name="T59" fmla="*/ 13203 h 303"/>
              <a:gd name="T60" fmla="*/ 261416 w 503"/>
              <a:gd name="T61" fmla="*/ 13203 h 303"/>
              <a:gd name="T62" fmla="*/ 275676 w 503"/>
              <a:gd name="T63" fmla="*/ 28166 h 303"/>
              <a:gd name="T64" fmla="*/ 289142 w 503"/>
              <a:gd name="T65" fmla="*/ 28166 h 303"/>
              <a:gd name="T66" fmla="*/ 302609 w 503"/>
              <a:gd name="T67" fmla="*/ 55452 h 303"/>
              <a:gd name="T68" fmla="*/ 316076 w 503"/>
              <a:gd name="T69" fmla="*/ 70416 h 303"/>
              <a:gd name="T70" fmla="*/ 330335 w 503"/>
              <a:gd name="T71" fmla="*/ 55452 h 303"/>
              <a:gd name="T72" fmla="*/ 398462 w 503"/>
              <a:gd name="T73" fmla="*/ 97702 h 303"/>
              <a:gd name="T74" fmla="*/ 384995 w 503"/>
              <a:gd name="T75" fmla="*/ 154915 h 303"/>
              <a:gd name="T76" fmla="*/ 370736 w 503"/>
              <a:gd name="T77" fmla="*/ 139951 h 303"/>
              <a:gd name="T78" fmla="*/ 357269 w 503"/>
              <a:gd name="T79" fmla="*/ 154915 h 303"/>
              <a:gd name="T80" fmla="*/ 357269 w 503"/>
              <a:gd name="T81" fmla="*/ 182201 h 303"/>
              <a:gd name="T82" fmla="*/ 343802 w 503"/>
              <a:gd name="T83" fmla="*/ 182201 h 303"/>
              <a:gd name="T84" fmla="*/ 275676 w 503"/>
              <a:gd name="T85" fmla="*/ 224450 h 303"/>
              <a:gd name="T86" fmla="*/ 302609 w 503"/>
              <a:gd name="T87" fmla="*/ 239414 h 303"/>
              <a:gd name="T88" fmla="*/ 316076 w 503"/>
              <a:gd name="T89" fmla="*/ 239414 h 303"/>
              <a:gd name="T90" fmla="*/ 302609 w 503"/>
              <a:gd name="T91" fmla="*/ 239414 h 303"/>
              <a:gd name="T92" fmla="*/ 261416 w 503"/>
              <a:gd name="T93" fmla="*/ 266700 h 303"/>
              <a:gd name="T94" fmla="*/ 247950 w 503"/>
              <a:gd name="T95" fmla="*/ 266700 h 303"/>
              <a:gd name="T96" fmla="*/ 247950 w 503"/>
              <a:gd name="T97" fmla="*/ 253497 h 303"/>
              <a:gd name="T98" fmla="*/ 234483 w 503"/>
              <a:gd name="T99" fmla="*/ 239414 h 303"/>
              <a:gd name="T100" fmla="*/ 261416 w 503"/>
              <a:gd name="T101" fmla="*/ 224450 h 303"/>
              <a:gd name="T102" fmla="*/ 220224 w 503"/>
              <a:gd name="T103" fmla="*/ 211247 h 303"/>
              <a:gd name="T104" fmla="*/ 220224 w 503"/>
              <a:gd name="T105" fmla="*/ 197164 h 303"/>
              <a:gd name="T106" fmla="*/ 193290 w 503"/>
              <a:gd name="T107" fmla="*/ 197164 h 303"/>
              <a:gd name="T108" fmla="*/ 179823 w 503"/>
              <a:gd name="T109" fmla="*/ 224450 h 303"/>
              <a:gd name="T110" fmla="*/ 165564 w 503"/>
              <a:gd name="T111" fmla="*/ 224450 h 303"/>
              <a:gd name="T112" fmla="*/ 165564 w 503"/>
              <a:gd name="T113" fmla="*/ 239414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chemeClr val="bg1"/>
          </a:solidFill>
          <a:ln w="9525">
            <a:solidFill>
              <a:schemeClr val="bg2"/>
            </a:solidFill>
            <a:round/>
            <a:headEnd/>
            <a:tailEnd/>
          </a:ln>
        </p:spPr>
        <p:txBody>
          <a:bodyPr/>
          <a:lstStyle/>
          <a:p>
            <a:endParaRPr lang="en-US" dirty="0"/>
          </a:p>
        </p:txBody>
      </p:sp>
      <p:sp>
        <p:nvSpPr>
          <p:cNvPr id="19698" name="Freeform 241"/>
          <p:cNvSpPr>
            <a:spLocks noChangeAspect="1"/>
          </p:cNvSpPr>
          <p:nvPr/>
        </p:nvSpPr>
        <p:spPr bwMode="auto">
          <a:xfrm>
            <a:off x="4741863" y="2327275"/>
            <a:ext cx="152400" cy="96838"/>
          </a:xfrm>
          <a:custGeom>
            <a:avLst/>
            <a:gdLst>
              <a:gd name="T0" fmla="*/ 68981 w 190"/>
              <a:gd name="T1" fmla="*/ 0 h 111"/>
              <a:gd name="T2" fmla="*/ 68981 w 190"/>
              <a:gd name="T3" fmla="*/ 0 h 111"/>
              <a:gd name="T4" fmla="*/ 68981 w 190"/>
              <a:gd name="T5" fmla="*/ 41876 h 111"/>
              <a:gd name="T6" fmla="*/ 55345 w 190"/>
              <a:gd name="T7" fmla="*/ 41876 h 111"/>
              <a:gd name="T8" fmla="*/ 41709 w 190"/>
              <a:gd name="T9" fmla="*/ 41876 h 111"/>
              <a:gd name="T10" fmla="*/ 27272 w 190"/>
              <a:gd name="T11" fmla="*/ 13086 h 111"/>
              <a:gd name="T12" fmla="*/ 13636 w 190"/>
              <a:gd name="T13" fmla="*/ 26172 h 111"/>
              <a:gd name="T14" fmla="*/ 0 w 190"/>
              <a:gd name="T15" fmla="*/ 54962 h 111"/>
              <a:gd name="T16" fmla="*/ 0 w 190"/>
              <a:gd name="T17" fmla="*/ 83752 h 111"/>
              <a:gd name="T18" fmla="*/ 13636 w 190"/>
              <a:gd name="T19" fmla="*/ 68048 h 111"/>
              <a:gd name="T20" fmla="*/ 68981 w 190"/>
              <a:gd name="T21" fmla="*/ 68048 h 111"/>
              <a:gd name="T22" fmla="*/ 82617 w 190"/>
              <a:gd name="T23" fmla="*/ 68048 h 111"/>
              <a:gd name="T24" fmla="*/ 124326 w 190"/>
              <a:gd name="T25" fmla="*/ 96838 h 111"/>
              <a:gd name="T26" fmla="*/ 152400 w 190"/>
              <a:gd name="T27" fmla="*/ 68048 h 111"/>
              <a:gd name="T28" fmla="*/ 138764 w 190"/>
              <a:gd name="T29" fmla="*/ 41876 h 111"/>
              <a:gd name="T30" fmla="*/ 138764 w 190"/>
              <a:gd name="T31" fmla="*/ 26172 h 111"/>
              <a:gd name="T32" fmla="*/ 138764 w 190"/>
              <a:gd name="T33" fmla="*/ 13086 h 111"/>
              <a:gd name="T34" fmla="*/ 110691 w 190"/>
              <a:gd name="T35" fmla="*/ 13086 h 111"/>
              <a:gd name="T36" fmla="*/ 82617 w 190"/>
              <a:gd name="T37" fmla="*/ 0 h 111"/>
              <a:gd name="T38" fmla="*/ 68981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chemeClr val="bg1"/>
          </a:solidFill>
          <a:ln w="9525">
            <a:solidFill>
              <a:schemeClr val="bg2"/>
            </a:solidFill>
            <a:round/>
            <a:headEnd/>
            <a:tailEnd/>
          </a:ln>
        </p:spPr>
        <p:txBody>
          <a:bodyPr/>
          <a:lstStyle/>
          <a:p>
            <a:endParaRPr lang="en-US" dirty="0"/>
          </a:p>
        </p:txBody>
      </p:sp>
      <p:sp>
        <p:nvSpPr>
          <p:cNvPr id="19699" name="Freeform 242"/>
          <p:cNvSpPr>
            <a:spLocks noChangeAspect="1"/>
          </p:cNvSpPr>
          <p:nvPr/>
        </p:nvSpPr>
        <p:spPr bwMode="auto">
          <a:xfrm>
            <a:off x="4740275" y="2397125"/>
            <a:ext cx="122238" cy="100013"/>
          </a:xfrm>
          <a:custGeom>
            <a:avLst/>
            <a:gdLst>
              <a:gd name="T0" fmla="*/ 0 w 155"/>
              <a:gd name="T1" fmla="*/ 42483 h 113"/>
              <a:gd name="T2" fmla="*/ 0 w 155"/>
              <a:gd name="T3" fmla="*/ 42483 h 113"/>
              <a:gd name="T4" fmla="*/ 0 w 155"/>
              <a:gd name="T5" fmla="*/ 29207 h 113"/>
              <a:gd name="T6" fmla="*/ 0 w 155"/>
              <a:gd name="T7" fmla="*/ 15931 h 113"/>
              <a:gd name="T8" fmla="*/ 13407 w 155"/>
              <a:gd name="T9" fmla="*/ 0 h 113"/>
              <a:gd name="T10" fmla="*/ 67822 w 155"/>
              <a:gd name="T11" fmla="*/ 0 h 113"/>
              <a:gd name="T12" fmla="*/ 81229 w 155"/>
              <a:gd name="T13" fmla="*/ 0 h 113"/>
              <a:gd name="T14" fmla="*/ 122238 w 155"/>
              <a:gd name="T15" fmla="*/ 29207 h 113"/>
              <a:gd name="T16" fmla="*/ 122238 w 155"/>
              <a:gd name="T17" fmla="*/ 42483 h 113"/>
              <a:gd name="T18" fmla="*/ 95424 w 155"/>
              <a:gd name="T19" fmla="*/ 58415 h 113"/>
              <a:gd name="T20" fmla="*/ 95424 w 155"/>
              <a:gd name="T21" fmla="*/ 84967 h 113"/>
              <a:gd name="T22" fmla="*/ 81229 w 155"/>
              <a:gd name="T23" fmla="*/ 84967 h 113"/>
              <a:gd name="T24" fmla="*/ 54416 w 155"/>
              <a:gd name="T25" fmla="*/ 100013 h 113"/>
              <a:gd name="T26" fmla="*/ 41009 w 155"/>
              <a:gd name="T27" fmla="*/ 100013 h 113"/>
              <a:gd name="T28" fmla="*/ 26813 w 155"/>
              <a:gd name="T29" fmla="*/ 84967 h 113"/>
              <a:gd name="T30" fmla="*/ 26813 w 155"/>
              <a:gd name="T31" fmla="*/ 42483 h 113"/>
              <a:gd name="T32" fmla="*/ 0 w 155"/>
              <a:gd name="T33" fmla="*/ 42483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chemeClr val="bg1"/>
          </a:solidFill>
          <a:ln w="9525">
            <a:solidFill>
              <a:schemeClr val="bg2"/>
            </a:solidFill>
            <a:round/>
            <a:headEnd/>
            <a:tailEnd/>
          </a:ln>
        </p:spPr>
        <p:txBody>
          <a:bodyPr/>
          <a:lstStyle/>
          <a:p>
            <a:endParaRPr lang="en-US" dirty="0"/>
          </a:p>
        </p:txBody>
      </p:sp>
      <p:sp>
        <p:nvSpPr>
          <p:cNvPr id="19700" name="Freeform 243"/>
          <p:cNvSpPr>
            <a:spLocks noChangeAspect="1"/>
          </p:cNvSpPr>
          <p:nvPr/>
        </p:nvSpPr>
        <p:spPr bwMode="auto">
          <a:xfrm>
            <a:off x="4795838" y="2270125"/>
            <a:ext cx="98425" cy="69850"/>
          </a:xfrm>
          <a:custGeom>
            <a:avLst/>
            <a:gdLst>
              <a:gd name="T0" fmla="*/ 13828 w 121"/>
              <a:gd name="T1" fmla="*/ 56915 h 81"/>
              <a:gd name="T2" fmla="*/ 13828 w 121"/>
              <a:gd name="T3" fmla="*/ 56915 h 81"/>
              <a:gd name="T4" fmla="*/ 0 w 121"/>
              <a:gd name="T5" fmla="*/ 41393 h 81"/>
              <a:gd name="T6" fmla="*/ 0 w 121"/>
              <a:gd name="T7" fmla="*/ 15522 h 81"/>
              <a:gd name="T8" fmla="*/ 13828 w 121"/>
              <a:gd name="T9" fmla="*/ 0 h 81"/>
              <a:gd name="T10" fmla="*/ 42298 w 121"/>
              <a:gd name="T11" fmla="*/ 0 h 81"/>
              <a:gd name="T12" fmla="*/ 98425 w 121"/>
              <a:gd name="T13" fmla="*/ 0 h 81"/>
              <a:gd name="T14" fmla="*/ 84597 w 121"/>
              <a:gd name="T15" fmla="*/ 15522 h 81"/>
              <a:gd name="T16" fmla="*/ 69955 w 121"/>
              <a:gd name="T17" fmla="*/ 15522 h 81"/>
              <a:gd name="T18" fmla="*/ 84597 w 121"/>
              <a:gd name="T19" fmla="*/ 56915 h 81"/>
              <a:gd name="T20" fmla="*/ 84597 w 121"/>
              <a:gd name="T21" fmla="*/ 69850 h 81"/>
              <a:gd name="T22" fmla="*/ 56127 w 121"/>
              <a:gd name="T23" fmla="*/ 69850 h 81"/>
              <a:gd name="T24" fmla="*/ 27657 w 121"/>
              <a:gd name="T25" fmla="*/ 56915 h 81"/>
              <a:gd name="T26" fmla="*/ 13828 w 121"/>
              <a:gd name="T27" fmla="*/ 56915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chemeClr val="bg1"/>
          </a:solidFill>
          <a:ln w="9525">
            <a:solidFill>
              <a:schemeClr val="bg2"/>
            </a:solidFill>
            <a:round/>
            <a:headEnd/>
            <a:tailEnd/>
          </a:ln>
        </p:spPr>
        <p:txBody>
          <a:bodyPr/>
          <a:lstStyle/>
          <a:p>
            <a:endParaRPr lang="en-US" dirty="0"/>
          </a:p>
        </p:txBody>
      </p:sp>
      <p:sp>
        <p:nvSpPr>
          <p:cNvPr id="19701" name="Freeform 244"/>
          <p:cNvSpPr>
            <a:spLocks noChangeAspect="1"/>
          </p:cNvSpPr>
          <p:nvPr/>
        </p:nvSpPr>
        <p:spPr bwMode="auto">
          <a:xfrm>
            <a:off x="4845050" y="2678113"/>
            <a:ext cx="84138" cy="100012"/>
          </a:xfrm>
          <a:custGeom>
            <a:avLst/>
            <a:gdLst>
              <a:gd name="T0" fmla="*/ 0 w 104"/>
              <a:gd name="T1" fmla="*/ 13515 h 111"/>
              <a:gd name="T2" fmla="*/ 0 w 104"/>
              <a:gd name="T3" fmla="*/ 13515 h 111"/>
              <a:gd name="T4" fmla="*/ 13753 w 104"/>
              <a:gd name="T5" fmla="*/ 13515 h 111"/>
              <a:gd name="T6" fmla="*/ 42069 w 104"/>
              <a:gd name="T7" fmla="*/ 56764 h 111"/>
              <a:gd name="T8" fmla="*/ 42069 w 104"/>
              <a:gd name="T9" fmla="*/ 100012 h 111"/>
              <a:gd name="T10" fmla="*/ 55822 w 104"/>
              <a:gd name="T11" fmla="*/ 72081 h 111"/>
              <a:gd name="T12" fmla="*/ 84138 w 104"/>
              <a:gd name="T13" fmla="*/ 72081 h 111"/>
              <a:gd name="T14" fmla="*/ 84138 w 104"/>
              <a:gd name="T15" fmla="*/ 56764 h 111"/>
              <a:gd name="T16" fmla="*/ 69576 w 104"/>
              <a:gd name="T17" fmla="*/ 28832 h 111"/>
              <a:gd name="T18" fmla="*/ 69576 w 104"/>
              <a:gd name="T19" fmla="*/ 13515 h 111"/>
              <a:gd name="T20" fmla="*/ 28316 w 104"/>
              <a:gd name="T21" fmla="*/ 0 h 111"/>
              <a:gd name="T22" fmla="*/ 0 w 104"/>
              <a:gd name="T23" fmla="*/ 13515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chemeClr val="bg1"/>
          </a:solidFill>
          <a:ln w="9525">
            <a:solidFill>
              <a:schemeClr val="bg2"/>
            </a:solidFill>
            <a:round/>
            <a:headEnd/>
            <a:tailEnd/>
          </a:ln>
        </p:spPr>
        <p:txBody>
          <a:bodyPr/>
          <a:lstStyle/>
          <a:p>
            <a:endParaRPr lang="en-US" dirty="0"/>
          </a:p>
        </p:txBody>
      </p:sp>
      <p:sp>
        <p:nvSpPr>
          <p:cNvPr id="19702" name="Freeform 245"/>
          <p:cNvSpPr>
            <a:spLocks noChangeAspect="1"/>
          </p:cNvSpPr>
          <p:nvPr/>
        </p:nvSpPr>
        <p:spPr bwMode="auto">
          <a:xfrm>
            <a:off x="4710113" y="2693988"/>
            <a:ext cx="204787" cy="155575"/>
          </a:xfrm>
          <a:custGeom>
            <a:avLst/>
            <a:gdLst>
              <a:gd name="T0" fmla="*/ 27462 w 261"/>
              <a:gd name="T1" fmla="*/ 113385 h 177"/>
              <a:gd name="T2" fmla="*/ 27462 w 261"/>
              <a:gd name="T3" fmla="*/ 113385 h 177"/>
              <a:gd name="T4" fmla="*/ 54139 w 261"/>
              <a:gd name="T5" fmla="*/ 113385 h 177"/>
              <a:gd name="T6" fmla="*/ 54139 w 261"/>
              <a:gd name="T7" fmla="*/ 126570 h 177"/>
              <a:gd name="T8" fmla="*/ 68262 w 261"/>
              <a:gd name="T9" fmla="*/ 141512 h 177"/>
              <a:gd name="T10" fmla="*/ 81601 w 261"/>
              <a:gd name="T11" fmla="*/ 141512 h 177"/>
              <a:gd name="T12" fmla="*/ 122401 w 261"/>
              <a:gd name="T13" fmla="*/ 155575 h 177"/>
              <a:gd name="T14" fmla="*/ 149079 w 261"/>
              <a:gd name="T15" fmla="*/ 126570 h 177"/>
              <a:gd name="T16" fmla="*/ 191448 w 261"/>
              <a:gd name="T17" fmla="*/ 141512 h 177"/>
              <a:gd name="T18" fmla="*/ 191448 w 261"/>
              <a:gd name="T19" fmla="*/ 126570 h 177"/>
              <a:gd name="T20" fmla="*/ 204787 w 261"/>
              <a:gd name="T21" fmla="*/ 113385 h 177"/>
              <a:gd name="T22" fmla="*/ 204787 w 261"/>
              <a:gd name="T23" fmla="*/ 99322 h 177"/>
              <a:gd name="T24" fmla="*/ 178110 w 261"/>
              <a:gd name="T25" fmla="*/ 99322 h 177"/>
              <a:gd name="T26" fmla="*/ 178110 w 261"/>
              <a:gd name="T27" fmla="*/ 84380 h 177"/>
              <a:gd name="T28" fmla="*/ 178110 w 261"/>
              <a:gd name="T29" fmla="*/ 42190 h 177"/>
              <a:gd name="T30" fmla="*/ 149079 w 261"/>
              <a:gd name="T31" fmla="*/ 0 h 177"/>
              <a:gd name="T32" fmla="*/ 135740 w 261"/>
              <a:gd name="T33" fmla="*/ 0 h 177"/>
              <a:gd name="T34" fmla="*/ 109063 w 261"/>
              <a:gd name="T35" fmla="*/ 14942 h 177"/>
              <a:gd name="T36" fmla="*/ 94940 w 261"/>
              <a:gd name="T37" fmla="*/ 14942 h 177"/>
              <a:gd name="T38" fmla="*/ 54139 w 261"/>
              <a:gd name="T39" fmla="*/ 14942 h 177"/>
              <a:gd name="T40" fmla="*/ 40800 w 261"/>
              <a:gd name="T41" fmla="*/ 14942 h 177"/>
              <a:gd name="T42" fmla="*/ 27462 w 261"/>
              <a:gd name="T43" fmla="*/ 71195 h 177"/>
              <a:gd name="T44" fmla="*/ 0 w 261"/>
              <a:gd name="T45" fmla="*/ 71195 h 177"/>
              <a:gd name="T46" fmla="*/ 27462 w 261"/>
              <a:gd name="T47" fmla="*/ 113385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chemeClr val="bg1"/>
          </a:solidFill>
          <a:ln w="9525">
            <a:solidFill>
              <a:schemeClr val="bg2"/>
            </a:solidFill>
            <a:round/>
            <a:headEnd/>
            <a:tailEnd/>
          </a:ln>
        </p:spPr>
        <p:txBody>
          <a:bodyPr/>
          <a:lstStyle/>
          <a:p>
            <a:endParaRPr lang="en-US" dirty="0"/>
          </a:p>
        </p:txBody>
      </p:sp>
      <p:sp>
        <p:nvSpPr>
          <p:cNvPr id="19703" name="Freeform 246"/>
          <p:cNvSpPr>
            <a:spLocks noChangeAspect="1"/>
          </p:cNvSpPr>
          <p:nvPr/>
        </p:nvSpPr>
        <p:spPr bwMode="auto">
          <a:xfrm>
            <a:off x="4710113" y="2906713"/>
            <a:ext cx="134937" cy="111125"/>
          </a:xfrm>
          <a:custGeom>
            <a:avLst/>
            <a:gdLst>
              <a:gd name="T0" fmla="*/ 26987 w 175"/>
              <a:gd name="T1" fmla="*/ 14759 h 128"/>
              <a:gd name="T2" fmla="*/ 26987 w 175"/>
              <a:gd name="T3" fmla="*/ 14759 h 128"/>
              <a:gd name="T4" fmla="*/ 68625 w 175"/>
              <a:gd name="T5" fmla="*/ 0 h 128"/>
              <a:gd name="T6" fmla="*/ 94841 w 175"/>
              <a:gd name="T7" fmla="*/ 0 h 128"/>
              <a:gd name="T8" fmla="*/ 121829 w 175"/>
              <a:gd name="T9" fmla="*/ 14759 h 128"/>
              <a:gd name="T10" fmla="*/ 134937 w 175"/>
              <a:gd name="T11" fmla="*/ 0 h 128"/>
              <a:gd name="T12" fmla="*/ 121829 w 175"/>
              <a:gd name="T13" fmla="*/ 28649 h 128"/>
              <a:gd name="T14" fmla="*/ 94841 w 175"/>
              <a:gd name="T15" fmla="*/ 14759 h 128"/>
              <a:gd name="T16" fmla="*/ 81733 w 175"/>
              <a:gd name="T17" fmla="*/ 28649 h 128"/>
              <a:gd name="T18" fmla="*/ 81733 w 175"/>
              <a:gd name="T19" fmla="*/ 41672 h 128"/>
              <a:gd name="T20" fmla="*/ 68625 w 175"/>
              <a:gd name="T21" fmla="*/ 41672 h 128"/>
              <a:gd name="T22" fmla="*/ 53204 w 175"/>
              <a:gd name="T23" fmla="*/ 28649 h 128"/>
              <a:gd name="T24" fmla="*/ 53204 w 175"/>
              <a:gd name="T25" fmla="*/ 41672 h 128"/>
              <a:gd name="T26" fmla="*/ 68625 w 175"/>
              <a:gd name="T27" fmla="*/ 70321 h 128"/>
              <a:gd name="T28" fmla="*/ 94841 w 175"/>
              <a:gd name="T29" fmla="*/ 98103 h 128"/>
              <a:gd name="T30" fmla="*/ 81733 w 175"/>
              <a:gd name="T31" fmla="*/ 98103 h 128"/>
              <a:gd name="T32" fmla="*/ 81733 w 175"/>
              <a:gd name="T33" fmla="*/ 111125 h 128"/>
              <a:gd name="T34" fmla="*/ 53204 w 175"/>
              <a:gd name="T35" fmla="*/ 98103 h 128"/>
              <a:gd name="T36" fmla="*/ 26987 w 175"/>
              <a:gd name="T37" fmla="*/ 98103 h 128"/>
              <a:gd name="T38" fmla="*/ 0 w 175"/>
              <a:gd name="T39" fmla="*/ 56431 h 128"/>
              <a:gd name="T40" fmla="*/ 26987 w 175"/>
              <a:gd name="T41" fmla="*/ 28649 h 128"/>
              <a:gd name="T42" fmla="*/ 26987 w 175"/>
              <a:gd name="T43" fmla="*/ 14759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chemeClr val="bg1"/>
          </a:solidFill>
          <a:ln w="9525">
            <a:solidFill>
              <a:schemeClr val="bg2"/>
            </a:solidFill>
            <a:prstDash val="solid"/>
            <a:round/>
            <a:headEnd/>
            <a:tailEnd/>
          </a:ln>
        </p:spPr>
        <p:txBody>
          <a:bodyPr/>
          <a:lstStyle/>
          <a:p>
            <a:endParaRPr lang="en-US" dirty="0"/>
          </a:p>
        </p:txBody>
      </p:sp>
      <p:sp>
        <p:nvSpPr>
          <p:cNvPr id="19704" name="Freeform 247"/>
          <p:cNvSpPr>
            <a:spLocks noChangeAspect="1"/>
          </p:cNvSpPr>
          <p:nvPr/>
        </p:nvSpPr>
        <p:spPr bwMode="auto">
          <a:xfrm>
            <a:off x="4764088" y="2819400"/>
            <a:ext cx="136525" cy="101600"/>
          </a:xfrm>
          <a:custGeom>
            <a:avLst/>
            <a:gdLst>
              <a:gd name="T0" fmla="*/ 136525 w 173"/>
              <a:gd name="T1" fmla="*/ 15285 h 113"/>
              <a:gd name="T2" fmla="*/ 136525 w 173"/>
              <a:gd name="T3" fmla="*/ 15285 h 113"/>
              <a:gd name="T4" fmla="*/ 136525 w 173"/>
              <a:gd name="T5" fmla="*/ 29671 h 113"/>
              <a:gd name="T6" fmla="*/ 123109 w 173"/>
              <a:gd name="T7" fmla="*/ 29671 h 113"/>
              <a:gd name="T8" fmla="*/ 109694 w 173"/>
              <a:gd name="T9" fmla="*/ 58442 h 113"/>
              <a:gd name="T10" fmla="*/ 123109 w 173"/>
              <a:gd name="T11" fmla="*/ 72828 h 113"/>
              <a:gd name="T12" fmla="*/ 95489 w 173"/>
              <a:gd name="T13" fmla="*/ 72828 h 113"/>
              <a:gd name="T14" fmla="*/ 82073 w 173"/>
              <a:gd name="T15" fmla="*/ 86315 h 113"/>
              <a:gd name="T16" fmla="*/ 68657 w 173"/>
              <a:gd name="T17" fmla="*/ 101600 h 113"/>
              <a:gd name="T18" fmla="*/ 41036 w 173"/>
              <a:gd name="T19" fmla="*/ 86315 h 113"/>
              <a:gd name="T20" fmla="*/ 14205 w 173"/>
              <a:gd name="T21" fmla="*/ 86315 h 113"/>
              <a:gd name="T22" fmla="*/ 14205 w 173"/>
              <a:gd name="T23" fmla="*/ 72828 h 113"/>
              <a:gd name="T24" fmla="*/ 0 w 173"/>
              <a:gd name="T25" fmla="*/ 58442 h 113"/>
              <a:gd name="T26" fmla="*/ 14205 w 173"/>
              <a:gd name="T27" fmla="*/ 43158 h 113"/>
              <a:gd name="T28" fmla="*/ 0 w 173"/>
              <a:gd name="T29" fmla="*/ 15285 h 113"/>
              <a:gd name="T30" fmla="*/ 0 w 173"/>
              <a:gd name="T31" fmla="*/ 0 h 113"/>
              <a:gd name="T32" fmla="*/ 14205 w 173"/>
              <a:gd name="T33" fmla="*/ 15285 h 113"/>
              <a:gd name="T34" fmla="*/ 27621 w 173"/>
              <a:gd name="T35" fmla="*/ 15285 h 113"/>
              <a:gd name="T36" fmla="*/ 68657 w 173"/>
              <a:gd name="T37" fmla="*/ 29671 h 113"/>
              <a:gd name="T38" fmla="*/ 95489 w 173"/>
              <a:gd name="T39" fmla="*/ 0 h 113"/>
              <a:gd name="T40" fmla="*/ 136525 w 173"/>
              <a:gd name="T41" fmla="*/ 15285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chemeClr val="bg1"/>
          </a:solidFill>
          <a:ln w="9525">
            <a:solidFill>
              <a:schemeClr val="bg2"/>
            </a:solidFill>
            <a:round/>
            <a:headEnd/>
            <a:tailEnd/>
          </a:ln>
        </p:spPr>
        <p:txBody>
          <a:bodyPr/>
          <a:lstStyle/>
          <a:p>
            <a:endParaRPr lang="en-US" dirty="0"/>
          </a:p>
        </p:txBody>
      </p:sp>
      <p:sp>
        <p:nvSpPr>
          <p:cNvPr id="19705" name="Freeform 248"/>
          <p:cNvSpPr>
            <a:spLocks noChangeAspect="1"/>
          </p:cNvSpPr>
          <p:nvPr/>
        </p:nvSpPr>
        <p:spPr bwMode="auto">
          <a:xfrm>
            <a:off x="4586288" y="2454275"/>
            <a:ext cx="206375" cy="212725"/>
          </a:xfrm>
          <a:custGeom>
            <a:avLst/>
            <a:gdLst>
              <a:gd name="T0" fmla="*/ 178486 w 259"/>
              <a:gd name="T1" fmla="*/ 212725 h 239"/>
              <a:gd name="T2" fmla="*/ 178486 w 259"/>
              <a:gd name="T3" fmla="*/ 212725 h 239"/>
              <a:gd name="T4" fmla="*/ 192829 w 259"/>
              <a:gd name="T5" fmla="*/ 184243 h 239"/>
              <a:gd name="T6" fmla="*/ 206375 w 259"/>
              <a:gd name="T7" fmla="*/ 170002 h 239"/>
              <a:gd name="T8" fmla="*/ 192829 w 259"/>
              <a:gd name="T9" fmla="*/ 127279 h 239"/>
              <a:gd name="T10" fmla="*/ 192829 w 259"/>
              <a:gd name="T11" fmla="*/ 98797 h 239"/>
              <a:gd name="T12" fmla="*/ 206375 w 259"/>
              <a:gd name="T13" fmla="*/ 69425 h 239"/>
              <a:gd name="T14" fmla="*/ 192829 w 259"/>
              <a:gd name="T15" fmla="*/ 41833 h 239"/>
              <a:gd name="T16" fmla="*/ 178486 w 259"/>
              <a:gd name="T17" fmla="*/ 26702 h 239"/>
              <a:gd name="T18" fmla="*/ 151395 w 259"/>
              <a:gd name="T19" fmla="*/ 26702 h 239"/>
              <a:gd name="T20" fmla="*/ 109960 w 259"/>
              <a:gd name="T21" fmla="*/ 13351 h 239"/>
              <a:gd name="T22" fmla="*/ 109960 w 259"/>
              <a:gd name="T23" fmla="*/ 26702 h 239"/>
              <a:gd name="T24" fmla="*/ 96415 w 259"/>
              <a:gd name="T25" fmla="*/ 26702 h 239"/>
              <a:gd name="T26" fmla="*/ 82072 w 259"/>
              <a:gd name="T27" fmla="*/ 0 h 239"/>
              <a:gd name="T28" fmla="*/ 0 w 259"/>
              <a:gd name="T29" fmla="*/ 41833 h 239"/>
              <a:gd name="T30" fmla="*/ 13546 w 259"/>
              <a:gd name="T31" fmla="*/ 154871 h 239"/>
              <a:gd name="T32" fmla="*/ 13546 w 259"/>
              <a:gd name="T33" fmla="*/ 141520 h 239"/>
              <a:gd name="T34" fmla="*/ 27092 w 259"/>
              <a:gd name="T35" fmla="*/ 154871 h 239"/>
              <a:gd name="T36" fmla="*/ 54980 w 259"/>
              <a:gd name="T37" fmla="*/ 170002 h 239"/>
              <a:gd name="T38" fmla="*/ 68526 w 259"/>
              <a:gd name="T39" fmla="*/ 170002 h 239"/>
              <a:gd name="T40" fmla="*/ 96415 w 259"/>
              <a:gd name="T41" fmla="*/ 197594 h 239"/>
              <a:gd name="T42" fmla="*/ 109960 w 259"/>
              <a:gd name="T43" fmla="*/ 197594 h 239"/>
              <a:gd name="T44" fmla="*/ 123506 w 259"/>
              <a:gd name="T45" fmla="*/ 212725 h 239"/>
              <a:gd name="T46" fmla="*/ 151395 w 259"/>
              <a:gd name="T47" fmla="*/ 197594 h 239"/>
              <a:gd name="T48" fmla="*/ 178486 w 259"/>
              <a:gd name="T49" fmla="*/ 212725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chemeClr val="bg1"/>
          </a:solidFill>
          <a:ln w="9525">
            <a:solidFill>
              <a:schemeClr val="bg2"/>
            </a:solidFill>
            <a:round/>
            <a:headEnd/>
            <a:tailEnd/>
          </a:ln>
        </p:spPr>
        <p:txBody>
          <a:bodyPr/>
          <a:lstStyle/>
          <a:p>
            <a:endParaRPr lang="en-US" dirty="0"/>
          </a:p>
        </p:txBody>
      </p:sp>
      <p:sp>
        <p:nvSpPr>
          <p:cNvPr id="19706" name="Freeform 249"/>
          <p:cNvSpPr>
            <a:spLocks noChangeAspect="1"/>
          </p:cNvSpPr>
          <p:nvPr/>
        </p:nvSpPr>
        <p:spPr bwMode="auto">
          <a:xfrm>
            <a:off x="4695825" y="2878138"/>
            <a:ext cx="41275" cy="84137"/>
          </a:xfrm>
          <a:custGeom>
            <a:avLst/>
            <a:gdLst>
              <a:gd name="T0" fmla="*/ 0 w 52"/>
              <a:gd name="T1" fmla="*/ 0 h 96"/>
              <a:gd name="T2" fmla="*/ 0 w 52"/>
              <a:gd name="T3" fmla="*/ 0 h 96"/>
              <a:gd name="T4" fmla="*/ 13494 w 52"/>
              <a:gd name="T5" fmla="*/ 0 h 96"/>
              <a:gd name="T6" fmla="*/ 26988 w 52"/>
              <a:gd name="T7" fmla="*/ 14023 h 96"/>
              <a:gd name="T8" fmla="*/ 26988 w 52"/>
              <a:gd name="T9" fmla="*/ 27169 h 96"/>
              <a:gd name="T10" fmla="*/ 41275 w 52"/>
              <a:gd name="T11" fmla="*/ 42069 h 96"/>
              <a:gd name="T12" fmla="*/ 41275 w 52"/>
              <a:gd name="T13" fmla="*/ 56091 h 96"/>
              <a:gd name="T14" fmla="*/ 13494 w 52"/>
              <a:gd name="T15" fmla="*/ 84137 h 96"/>
              <a:gd name="T16" fmla="*/ 0 w 52"/>
              <a:gd name="T17" fmla="*/ 69238 h 96"/>
              <a:gd name="T18" fmla="*/ 0 w 52"/>
              <a:gd name="T19" fmla="*/ 27169 h 96"/>
              <a:gd name="T20" fmla="*/ 0 w 52"/>
              <a:gd name="T21" fmla="*/ 14023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chemeClr val="bg1"/>
          </a:solidFill>
          <a:ln w="9525">
            <a:solidFill>
              <a:schemeClr val="bg2"/>
            </a:solidFill>
            <a:round/>
            <a:headEnd/>
            <a:tailEnd/>
          </a:ln>
        </p:spPr>
        <p:txBody>
          <a:bodyPr/>
          <a:lstStyle/>
          <a:p>
            <a:endParaRPr lang="en-US" dirty="0"/>
          </a:p>
        </p:txBody>
      </p:sp>
      <p:sp>
        <p:nvSpPr>
          <p:cNvPr id="19707" name="Freeform 250"/>
          <p:cNvSpPr>
            <a:spLocks noChangeAspect="1"/>
          </p:cNvSpPr>
          <p:nvPr/>
        </p:nvSpPr>
        <p:spPr bwMode="auto">
          <a:xfrm>
            <a:off x="4629150" y="2678113"/>
            <a:ext cx="134938" cy="100012"/>
          </a:xfrm>
          <a:custGeom>
            <a:avLst/>
            <a:gdLst>
              <a:gd name="T0" fmla="*/ 53510 w 174"/>
              <a:gd name="T1" fmla="*/ 100012 h 111"/>
              <a:gd name="T2" fmla="*/ 53510 w 174"/>
              <a:gd name="T3" fmla="*/ 100012 h 111"/>
              <a:gd name="T4" fmla="*/ 79877 w 174"/>
              <a:gd name="T5" fmla="*/ 86497 h 111"/>
              <a:gd name="T6" fmla="*/ 108571 w 174"/>
              <a:gd name="T7" fmla="*/ 86497 h 111"/>
              <a:gd name="T8" fmla="*/ 121754 w 174"/>
              <a:gd name="T9" fmla="*/ 28832 h 111"/>
              <a:gd name="T10" fmla="*/ 134938 w 174"/>
              <a:gd name="T11" fmla="*/ 28832 h 111"/>
              <a:gd name="T12" fmla="*/ 121754 w 174"/>
              <a:gd name="T13" fmla="*/ 13515 h 111"/>
              <a:gd name="T14" fmla="*/ 93836 w 174"/>
              <a:gd name="T15" fmla="*/ 0 h 111"/>
              <a:gd name="T16" fmla="*/ 39551 w 174"/>
              <a:gd name="T17" fmla="*/ 28832 h 111"/>
              <a:gd name="T18" fmla="*/ 13184 w 174"/>
              <a:gd name="T19" fmla="*/ 28832 h 111"/>
              <a:gd name="T20" fmla="*/ 0 w 174"/>
              <a:gd name="T21" fmla="*/ 56764 h 111"/>
              <a:gd name="T22" fmla="*/ 0 w 174"/>
              <a:gd name="T23" fmla="*/ 72081 h 111"/>
              <a:gd name="T24" fmla="*/ 39551 w 174"/>
              <a:gd name="T25" fmla="*/ 100012 h 111"/>
              <a:gd name="T26" fmla="*/ 53510 w 174"/>
              <a:gd name="T27" fmla="*/ 100012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chemeClr val="bg1"/>
          </a:solidFill>
          <a:ln w="9525">
            <a:solidFill>
              <a:schemeClr val="bg2"/>
            </a:solidFill>
            <a:round/>
            <a:headEnd/>
            <a:tailEnd/>
          </a:ln>
        </p:spPr>
        <p:txBody>
          <a:bodyPr/>
          <a:lstStyle/>
          <a:p>
            <a:endParaRPr lang="en-US" dirty="0"/>
          </a:p>
        </p:txBody>
      </p:sp>
      <p:sp>
        <p:nvSpPr>
          <p:cNvPr id="19708" name="Freeform 251"/>
          <p:cNvSpPr>
            <a:spLocks noChangeAspect="1"/>
          </p:cNvSpPr>
          <p:nvPr/>
        </p:nvSpPr>
        <p:spPr bwMode="auto">
          <a:xfrm>
            <a:off x="4614863" y="2778125"/>
            <a:ext cx="80962" cy="84138"/>
          </a:xfrm>
          <a:custGeom>
            <a:avLst/>
            <a:gdLst>
              <a:gd name="T0" fmla="*/ 67728 w 104"/>
              <a:gd name="T1" fmla="*/ 84138 h 96"/>
              <a:gd name="T2" fmla="*/ 67728 w 104"/>
              <a:gd name="T3" fmla="*/ 84138 h 96"/>
              <a:gd name="T4" fmla="*/ 53715 w 104"/>
              <a:gd name="T5" fmla="*/ 84138 h 96"/>
              <a:gd name="T6" fmla="*/ 67728 w 104"/>
              <a:gd name="T7" fmla="*/ 70991 h 96"/>
              <a:gd name="T8" fmla="*/ 80962 w 104"/>
              <a:gd name="T9" fmla="*/ 70991 h 96"/>
              <a:gd name="T10" fmla="*/ 80962 w 104"/>
              <a:gd name="T11" fmla="*/ 56968 h 96"/>
              <a:gd name="T12" fmla="*/ 80962 w 104"/>
              <a:gd name="T13" fmla="*/ 42069 h 96"/>
              <a:gd name="T14" fmla="*/ 80962 w 104"/>
              <a:gd name="T15" fmla="*/ 28922 h 96"/>
              <a:gd name="T16" fmla="*/ 67728 w 104"/>
              <a:gd name="T17" fmla="*/ 28922 h 96"/>
              <a:gd name="T18" fmla="*/ 67728 w 104"/>
              <a:gd name="T19" fmla="*/ 14899 h 96"/>
              <a:gd name="T20" fmla="*/ 27247 w 104"/>
              <a:gd name="T21" fmla="*/ 0 h 96"/>
              <a:gd name="T22" fmla="*/ 14013 w 104"/>
              <a:gd name="T23" fmla="*/ 14899 h 96"/>
              <a:gd name="T24" fmla="*/ 14013 w 104"/>
              <a:gd name="T25" fmla="*/ 0 h 96"/>
              <a:gd name="T26" fmla="*/ 0 w 104"/>
              <a:gd name="T27" fmla="*/ 14899 h 96"/>
              <a:gd name="T28" fmla="*/ 14013 w 104"/>
              <a:gd name="T29" fmla="*/ 28922 h 96"/>
              <a:gd name="T30" fmla="*/ 40481 w 104"/>
              <a:gd name="T31" fmla="*/ 70991 h 96"/>
              <a:gd name="T32" fmla="*/ 67728 w 104"/>
              <a:gd name="T33" fmla="*/ 84138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chemeClr val="bg1"/>
          </a:solidFill>
          <a:ln w="9525">
            <a:solidFill>
              <a:schemeClr val="bg2"/>
            </a:solidFill>
            <a:round/>
            <a:headEnd/>
            <a:tailEnd/>
          </a:ln>
        </p:spPr>
        <p:txBody>
          <a:bodyPr/>
          <a:lstStyle/>
          <a:p>
            <a:endParaRPr lang="en-US" dirty="0"/>
          </a:p>
        </p:txBody>
      </p:sp>
      <p:sp>
        <p:nvSpPr>
          <p:cNvPr id="19709" name="Freeform 252"/>
          <p:cNvSpPr>
            <a:spLocks noChangeAspect="1"/>
          </p:cNvSpPr>
          <p:nvPr/>
        </p:nvSpPr>
        <p:spPr bwMode="auto">
          <a:xfrm>
            <a:off x="4683125" y="2763838"/>
            <a:ext cx="93663" cy="127000"/>
          </a:xfrm>
          <a:custGeom>
            <a:avLst/>
            <a:gdLst>
              <a:gd name="T0" fmla="*/ 13159 w 121"/>
              <a:gd name="T1" fmla="*/ 42333 h 144"/>
              <a:gd name="T2" fmla="*/ 13159 w 121"/>
              <a:gd name="T3" fmla="*/ 42333 h 144"/>
              <a:gd name="T4" fmla="*/ 13159 w 121"/>
              <a:gd name="T5" fmla="*/ 28222 h 144"/>
              <a:gd name="T6" fmla="*/ 0 w 121"/>
              <a:gd name="T7" fmla="*/ 13229 h 144"/>
              <a:gd name="T8" fmla="*/ 26319 w 121"/>
              <a:gd name="T9" fmla="*/ 0 h 144"/>
              <a:gd name="T10" fmla="*/ 53411 w 121"/>
              <a:gd name="T11" fmla="*/ 42333 h 144"/>
              <a:gd name="T12" fmla="*/ 79730 w 121"/>
              <a:gd name="T13" fmla="*/ 42333 h 144"/>
              <a:gd name="T14" fmla="*/ 79730 w 121"/>
              <a:gd name="T15" fmla="*/ 55562 h 144"/>
              <a:gd name="T16" fmla="*/ 79730 w 121"/>
              <a:gd name="T17" fmla="*/ 70556 h 144"/>
              <a:gd name="T18" fmla="*/ 93663 w 121"/>
              <a:gd name="T19" fmla="*/ 97896 h 144"/>
              <a:gd name="T20" fmla="*/ 79730 w 121"/>
              <a:gd name="T21" fmla="*/ 112889 h 144"/>
              <a:gd name="T22" fmla="*/ 53411 w 121"/>
              <a:gd name="T23" fmla="*/ 112889 h 144"/>
              <a:gd name="T24" fmla="*/ 39478 w 121"/>
              <a:gd name="T25" fmla="*/ 127000 h 144"/>
              <a:gd name="T26" fmla="*/ 26319 w 121"/>
              <a:gd name="T27" fmla="*/ 112889 h 144"/>
              <a:gd name="T28" fmla="*/ 26319 w 121"/>
              <a:gd name="T29" fmla="*/ 97896 h 144"/>
              <a:gd name="T30" fmla="*/ 13159 w 121"/>
              <a:gd name="T31" fmla="*/ 84667 h 144"/>
              <a:gd name="T32" fmla="*/ 13159 w 121"/>
              <a:gd name="T33" fmla="*/ 70556 h 144"/>
              <a:gd name="T34" fmla="*/ 13159 w 121"/>
              <a:gd name="T35" fmla="*/ 55562 h 144"/>
              <a:gd name="T36" fmla="*/ 13159 w 121"/>
              <a:gd name="T37" fmla="*/ 42333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chemeClr val="bg1"/>
          </a:solidFill>
          <a:ln w="9525">
            <a:solidFill>
              <a:schemeClr val="bg2"/>
            </a:solidFill>
            <a:prstDash val="solid"/>
            <a:round/>
            <a:headEnd/>
            <a:tailEnd/>
          </a:ln>
        </p:spPr>
        <p:txBody>
          <a:bodyPr/>
          <a:lstStyle/>
          <a:p>
            <a:endParaRPr lang="en-US" dirty="0"/>
          </a:p>
        </p:txBody>
      </p:sp>
      <p:sp>
        <p:nvSpPr>
          <p:cNvPr id="19710" name="Freeform 253"/>
          <p:cNvSpPr>
            <a:spLocks noChangeAspect="1"/>
          </p:cNvSpPr>
          <p:nvPr/>
        </p:nvSpPr>
        <p:spPr bwMode="auto">
          <a:xfrm>
            <a:off x="4725988" y="2878138"/>
            <a:ext cx="50800" cy="42862"/>
          </a:xfrm>
          <a:custGeom>
            <a:avLst/>
            <a:gdLst>
              <a:gd name="T0" fmla="*/ 13063 w 70"/>
              <a:gd name="T1" fmla="*/ 42862 h 48"/>
              <a:gd name="T2" fmla="*/ 13063 w 70"/>
              <a:gd name="T3" fmla="*/ 42862 h 48"/>
              <a:gd name="T4" fmla="*/ 0 w 70"/>
              <a:gd name="T5" fmla="*/ 27682 h 48"/>
              <a:gd name="T6" fmla="*/ 0 w 70"/>
              <a:gd name="T7" fmla="*/ 14287 h 48"/>
              <a:gd name="T8" fmla="*/ 13063 w 70"/>
              <a:gd name="T9" fmla="*/ 0 h 48"/>
              <a:gd name="T10" fmla="*/ 37737 w 70"/>
              <a:gd name="T11" fmla="*/ 0 h 48"/>
              <a:gd name="T12" fmla="*/ 50800 w 70"/>
              <a:gd name="T13" fmla="*/ 14287 h 48"/>
              <a:gd name="T14" fmla="*/ 50800 w 70"/>
              <a:gd name="T15" fmla="*/ 27682 h 48"/>
              <a:gd name="T16" fmla="*/ 13063 w 70"/>
              <a:gd name="T17" fmla="*/ 42862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chemeClr val="bg1"/>
          </a:solidFill>
          <a:ln w="9525">
            <a:solidFill>
              <a:schemeClr val="bg2"/>
            </a:solidFill>
            <a:prstDash val="solid"/>
            <a:round/>
            <a:headEnd/>
            <a:tailEnd/>
          </a:ln>
        </p:spPr>
        <p:txBody>
          <a:bodyPr/>
          <a:lstStyle/>
          <a:p>
            <a:endParaRPr lang="en-US" dirty="0"/>
          </a:p>
        </p:txBody>
      </p:sp>
      <p:sp>
        <p:nvSpPr>
          <p:cNvPr id="19711" name="Freeform 254"/>
          <p:cNvSpPr>
            <a:spLocks noChangeAspect="1"/>
          </p:cNvSpPr>
          <p:nvPr/>
        </p:nvSpPr>
        <p:spPr bwMode="auto">
          <a:xfrm>
            <a:off x="4532313" y="2593975"/>
            <a:ext cx="149225" cy="84138"/>
          </a:xfrm>
          <a:custGeom>
            <a:avLst/>
            <a:gdLst>
              <a:gd name="T0" fmla="*/ 149225 w 188"/>
              <a:gd name="T1" fmla="*/ 55216 h 96"/>
              <a:gd name="T2" fmla="*/ 149225 w 188"/>
              <a:gd name="T3" fmla="*/ 55216 h 96"/>
              <a:gd name="T4" fmla="*/ 121444 w 188"/>
              <a:gd name="T5" fmla="*/ 28046 h 96"/>
              <a:gd name="T6" fmla="*/ 107950 w 188"/>
              <a:gd name="T7" fmla="*/ 28046 h 96"/>
              <a:gd name="T8" fmla="*/ 81756 w 188"/>
              <a:gd name="T9" fmla="*/ 13147 h 96"/>
              <a:gd name="T10" fmla="*/ 68263 w 188"/>
              <a:gd name="T11" fmla="*/ 0 h 96"/>
              <a:gd name="T12" fmla="*/ 68263 w 188"/>
              <a:gd name="T13" fmla="*/ 13147 h 96"/>
              <a:gd name="T14" fmla="*/ 54769 w 188"/>
              <a:gd name="T15" fmla="*/ 0 h 96"/>
              <a:gd name="T16" fmla="*/ 26988 w 188"/>
              <a:gd name="T17" fmla="*/ 13147 h 96"/>
              <a:gd name="T18" fmla="*/ 0 w 188"/>
              <a:gd name="T19" fmla="*/ 28046 h 96"/>
              <a:gd name="T20" fmla="*/ 13494 w 188"/>
              <a:gd name="T21" fmla="*/ 55216 h 96"/>
              <a:gd name="T22" fmla="*/ 40481 w 188"/>
              <a:gd name="T23" fmla="*/ 84138 h 96"/>
              <a:gd name="T24" fmla="*/ 68263 w 188"/>
              <a:gd name="T25" fmla="*/ 84138 h 96"/>
              <a:gd name="T26" fmla="*/ 68263 w 188"/>
              <a:gd name="T27" fmla="*/ 70115 h 96"/>
              <a:gd name="T28" fmla="*/ 107950 w 188"/>
              <a:gd name="T29" fmla="*/ 84138 h 96"/>
              <a:gd name="T30" fmla="*/ 149225 w 188"/>
              <a:gd name="T31" fmla="*/ 5521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chemeClr val="bg1"/>
          </a:solidFill>
          <a:ln w="9525">
            <a:solidFill>
              <a:schemeClr val="bg2"/>
            </a:solidFill>
            <a:round/>
            <a:headEnd/>
            <a:tailEnd/>
          </a:ln>
        </p:spPr>
        <p:txBody>
          <a:bodyPr/>
          <a:lstStyle/>
          <a:p>
            <a:endParaRPr lang="en-US" dirty="0"/>
          </a:p>
        </p:txBody>
      </p:sp>
      <p:sp>
        <p:nvSpPr>
          <p:cNvPr id="19712" name="Freeform 255"/>
          <p:cNvSpPr>
            <a:spLocks noChangeAspect="1"/>
          </p:cNvSpPr>
          <p:nvPr/>
        </p:nvSpPr>
        <p:spPr bwMode="auto">
          <a:xfrm>
            <a:off x="4641850" y="2651125"/>
            <a:ext cx="122238" cy="58738"/>
          </a:xfrm>
          <a:custGeom>
            <a:avLst/>
            <a:gdLst>
              <a:gd name="T0" fmla="*/ 0 w 157"/>
              <a:gd name="T1" fmla="*/ 29821 h 65"/>
              <a:gd name="T2" fmla="*/ 0 w 157"/>
              <a:gd name="T3" fmla="*/ 29821 h 65"/>
              <a:gd name="T4" fmla="*/ 0 w 157"/>
              <a:gd name="T5" fmla="*/ 58738 h 65"/>
              <a:gd name="T6" fmla="*/ 26472 w 157"/>
              <a:gd name="T7" fmla="*/ 58738 h 65"/>
              <a:gd name="T8" fmla="*/ 81752 w 157"/>
              <a:gd name="T9" fmla="*/ 29821 h 65"/>
              <a:gd name="T10" fmla="*/ 109002 w 157"/>
              <a:gd name="T11" fmla="*/ 43376 h 65"/>
              <a:gd name="T12" fmla="*/ 122238 w 157"/>
              <a:gd name="T13" fmla="*/ 15362 h 65"/>
              <a:gd name="T14" fmla="*/ 95766 w 157"/>
              <a:gd name="T15" fmla="*/ 0 h 65"/>
              <a:gd name="T16" fmla="*/ 68516 w 157"/>
              <a:gd name="T17" fmla="*/ 15362 h 65"/>
              <a:gd name="T18" fmla="*/ 55280 w 157"/>
              <a:gd name="T19" fmla="*/ 0 h 65"/>
              <a:gd name="T20" fmla="*/ 42044 w 157"/>
              <a:gd name="T21" fmla="*/ 0 h 65"/>
              <a:gd name="T22" fmla="*/ 0 w 157"/>
              <a:gd name="T23" fmla="*/ 29821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chemeClr val="bg1"/>
          </a:solidFill>
          <a:ln w="9525">
            <a:solidFill>
              <a:schemeClr val="bg2"/>
            </a:solidFill>
            <a:round/>
            <a:headEnd/>
            <a:tailEnd/>
          </a:ln>
        </p:spPr>
        <p:txBody>
          <a:bodyPr/>
          <a:lstStyle/>
          <a:p>
            <a:endParaRPr lang="en-US" dirty="0"/>
          </a:p>
        </p:txBody>
      </p:sp>
      <p:sp>
        <p:nvSpPr>
          <p:cNvPr id="19713" name="Freeform 256"/>
          <p:cNvSpPr>
            <a:spLocks noChangeAspect="1"/>
          </p:cNvSpPr>
          <p:nvPr/>
        </p:nvSpPr>
        <p:spPr bwMode="auto">
          <a:xfrm>
            <a:off x="4575175" y="2751138"/>
            <a:ext cx="120650" cy="127000"/>
          </a:xfrm>
          <a:custGeom>
            <a:avLst/>
            <a:gdLst>
              <a:gd name="T0" fmla="*/ 54138 w 156"/>
              <a:gd name="T1" fmla="*/ 0 h 144"/>
              <a:gd name="T2" fmla="*/ 54138 w 156"/>
              <a:gd name="T3" fmla="*/ 0 h 144"/>
              <a:gd name="T4" fmla="*/ 93581 w 156"/>
              <a:gd name="T5" fmla="*/ 27340 h 144"/>
              <a:gd name="T6" fmla="*/ 107502 w 156"/>
              <a:gd name="T7" fmla="*/ 27340 h 144"/>
              <a:gd name="T8" fmla="*/ 120650 w 156"/>
              <a:gd name="T9" fmla="*/ 42333 h 144"/>
              <a:gd name="T10" fmla="*/ 120650 w 156"/>
              <a:gd name="T11" fmla="*/ 56444 h 144"/>
              <a:gd name="T12" fmla="*/ 107502 w 156"/>
              <a:gd name="T13" fmla="*/ 56444 h 144"/>
              <a:gd name="T14" fmla="*/ 107502 w 156"/>
              <a:gd name="T15" fmla="*/ 42333 h 144"/>
              <a:gd name="T16" fmla="*/ 67286 w 156"/>
              <a:gd name="T17" fmla="*/ 27340 h 144"/>
              <a:gd name="T18" fmla="*/ 54138 w 156"/>
              <a:gd name="T19" fmla="*/ 42333 h 144"/>
              <a:gd name="T20" fmla="*/ 54138 w 156"/>
              <a:gd name="T21" fmla="*/ 27340 h 144"/>
              <a:gd name="T22" fmla="*/ 40217 w 156"/>
              <a:gd name="T23" fmla="*/ 42333 h 144"/>
              <a:gd name="T24" fmla="*/ 54138 w 156"/>
              <a:gd name="T25" fmla="*/ 56444 h 144"/>
              <a:gd name="T26" fmla="*/ 80433 w 156"/>
              <a:gd name="T27" fmla="*/ 98778 h 144"/>
              <a:gd name="T28" fmla="*/ 107502 w 156"/>
              <a:gd name="T29" fmla="*/ 112007 h 144"/>
              <a:gd name="T30" fmla="*/ 93581 w 156"/>
              <a:gd name="T31" fmla="*/ 127000 h 144"/>
              <a:gd name="T32" fmla="*/ 67286 w 156"/>
              <a:gd name="T33" fmla="*/ 98778 h 144"/>
              <a:gd name="T34" fmla="*/ 54138 w 156"/>
              <a:gd name="T35" fmla="*/ 98778 h 144"/>
              <a:gd name="T36" fmla="*/ 27069 w 156"/>
              <a:gd name="T37" fmla="*/ 69674 h 144"/>
              <a:gd name="T38" fmla="*/ 40217 w 156"/>
              <a:gd name="T39" fmla="*/ 69674 h 144"/>
              <a:gd name="T40" fmla="*/ 27069 w 156"/>
              <a:gd name="T41" fmla="*/ 69674 h 144"/>
              <a:gd name="T42" fmla="*/ 27069 w 156"/>
              <a:gd name="T43" fmla="*/ 42333 h 144"/>
              <a:gd name="T44" fmla="*/ 13921 w 156"/>
              <a:gd name="T45" fmla="*/ 42333 h 144"/>
              <a:gd name="T46" fmla="*/ 0 w 156"/>
              <a:gd name="T47" fmla="*/ 56444 h 144"/>
              <a:gd name="T48" fmla="*/ 0 w 156"/>
              <a:gd name="T49" fmla="*/ 42333 h 144"/>
              <a:gd name="T50" fmla="*/ 0 w 156"/>
              <a:gd name="T51" fmla="*/ 27340 h 144"/>
              <a:gd name="T52" fmla="*/ 13921 w 156"/>
              <a:gd name="T53" fmla="*/ 27340 h 144"/>
              <a:gd name="T54" fmla="*/ 27069 w 156"/>
              <a:gd name="T55" fmla="*/ 27340 h 144"/>
              <a:gd name="T56" fmla="*/ 40217 w 156"/>
              <a:gd name="T57" fmla="*/ 0 h 144"/>
              <a:gd name="T58" fmla="*/ 54138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chemeClr val="bg1"/>
          </a:solidFill>
          <a:ln w="9525">
            <a:solidFill>
              <a:schemeClr val="bg2"/>
            </a:solidFill>
            <a:prstDash val="solid"/>
            <a:round/>
            <a:headEnd/>
            <a:tailEnd/>
          </a:ln>
        </p:spPr>
        <p:txBody>
          <a:bodyPr/>
          <a:lstStyle/>
          <a:p>
            <a:endParaRPr lang="en-US" dirty="0"/>
          </a:p>
        </p:txBody>
      </p:sp>
      <p:sp>
        <p:nvSpPr>
          <p:cNvPr id="19714" name="Freeform 257"/>
          <p:cNvSpPr>
            <a:spLocks noChangeAspect="1"/>
          </p:cNvSpPr>
          <p:nvPr/>
        </p:nvSpPr>
        <p:spPr bwMode="auto">
          <a:xfrm>
            <a:off x="4667250" y="2849563"/>
            <a:ext cx="42863" cy="41275"/>
          </a:xfrm>
          <a:custGeom>
            <a:avLst/>
            <a:gdLst>
              <a:gd name="T0" fmla="*/ 0 w 52"/>
              <a:gd name="T1" fmla="*/ 27517 h 48"/>
              <a:gd name="T2" fmla="*/ 0 w 52"/>
              <a:gd name="T3" fmla="*/ 27517 h 48"/>
              <a:gd name="T4" fmla="*/ 28850 w 52"/>
              <a:gd name="T5" fmla="*/ 41275 h 48"/>
              <a:gd name="T6" fmla="*/ 28850 w 52"/>
              <a:gd name="T7" fmla="*/ 27517 h 48"/>
              <a:gd name="T8" fmla="*/ 42863 w 52"/>
              <a:gd name="T9" fmla="*/ 27517 h 48"/>
              <a:gd name="T10" fmla="*/ 42863 w 52"/>
              <a:gd name="T11" fmla="*/ 12898 h 48"/>
              <a:gd name="T12" fmla="*/ 28850 w 52"/>
              <a:gd name="T13" fmla="*/ 0 h 48"/>
              <a:gd name="T14" fmla="*/ 14837 w 52"/>
              <a:gd name="T15" fmla="*/ 0 h 48"/>
              <a:gd name="T16" fmla="*/ 0 w 52"/>
              <a:gd name="T17" fmla="*/ 12898 h 48"/>
              <a:gd name="T18" fmla="*/ 14837 w 52"/>
              <a:gd name="T19" fmla="*/ 12898 h 48"/>
              <a:gd name="T20" fmla="*/ 0 w 52"/>
              <a:gd name="T21" fmla="*/ 2751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chemeClr val="bg1"/>
          </a:solidFill>
          <a:ln w="9525">
            <a:solidFill>
              <a:schemeClr val="bg2"/>
            </a:solidFill>
            <a:prstDash val="solid"/>
            <a:round/>
            <a:headEnd/>
            <a:tailEnd/>
          </a:ln>
        </p:spPr>
        <p:txBody>
          <a:bodyPr/>
          <a:lstStyle/>
          <a:p>
            <a:endParaRPr lang="en-US" dirty="0"/>
          </a:p>
        </p:txBody>
      </p:sp>
      <p:sp>
        <p:nvSpPr>
          <p:cNvPr id="19715" name="Freeform 258"/>
          <p:cNvSpPr>
            <a:spLocks noChangeAspect="1"/>
          </p:cNvSpPr>
          <p:nvPr/>
        </p:nvSpPr>
        <p:spPr bwMode="auto">
          <a:xfrm>
            <a:off x="4105275" y="2438400"/>
            <a:ext cx="58738" cy="58738"/>
          </a:xfrm>
          <a:custGeom>
            <a:avLst/>
            <a:gdLst>
              <a:gd name="T0" fmla="*/ 44674 w 71"/>
              <a:gd name="T1" fmla="*/ 58738 h 65"/>
              <a:gd name="T2" fmla="*/ 44674 w 71"/>
              <a:gd name="T3" fmla="*/ 43376 h 65"/>
              <a:gd name="T4" fmla="*/ 14891 w 71"/>
              <a:gd name="T5" fmla="*/ 43376 h 65"/>
              <a:gd name="T6" fmla="*/ 0 w 71"/>
              <a:gd name="T7" fmla="*/ 29821 h 65"/>
              <a:gd name="T8" fmla="*/ 14891 w 71"/>
              <a:gd name="T9" fmla="*/ 0 h 65"/>
              <a:gd name="T10" fmla="*/ 44674 w 71"/>
              <a:gd name="T11" fmla="*/ 16266 h 65"/>
              <a:gd name="T12" fmla="*/ 58738 w 71"/>
              <a:gd name="T13" fmla="*/ 43376 h 65"/>
              <a:gd name="T14" fmla="*/ 44674 w 71"/>
              <a:gd name="T15" fmla="*/ 58738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chemeClr val="bg1"/>
          </a:solidFill>
          <a:ln w="9525">
            <a:solidFill>
              <a:schemeClr val="bg2"/>
            </a:solidFill>
            <a:prstDash val="solid"/>
            <a:round/>
            <a:headEnd/>
            <a:tailEnd/>
          </a:ln>
        </p:spPr>
        <p:txBody>
          <a:bodyPr/>
          <a:lstStyle/>
          <a:p>
            <a:endParaRPr lang="en-US" dirty="0"/>
          </a:p>
        </p:txBody>
      </p:sp>
      <p:sp>
        <p:nvSpPr>
          <p:cNvPr id="19716" name="Freeform 259"/>
          <p:cNvSpPr>
            <a:spLocks noChangeAspect="1"/>
          </p:cNvSpPr>
          <p:nvPr/>
        </p:nvSpPr>
        <p:spPr bwMode="auto">
          <a:xfrm>
            <a:off x="4056063" y="2438400"/>
            <a:ext cx="92075" cy="142875"/>
          </a:xfrm>
          <a:custGeom>
            <a:avLst/>
            <a:gdLst>
              <a:gd name="T0" fmla="*/ 66542 w 119"/>
              <a:gd name="T1" fmla="*/ 0 h 161"/>
              <a:gd name="T2" fmla="*/ 53388 w 119"/>
              <a:gd name="T3" fmla="*/ 29285 h 161"/>
              <a:gd name="T4" fmla="*/ 66542 w 119"/>
              <a:gd name="T5" fmla="*/ 42596 h 161"/>
              <a:gd name="T6" fmla="*/ 92075 w 119"/>
              <a:gd name="T7" fmla="*/ 42596 h 161"/>
              <a:gd name="T8" fmla="*/ 92075 w 119"/>
              <a:gd name="T9" fmla="*/ 57682 h 161"/>
              <a:gd name="T10" fmla="*/ 92075 w 119"/>
              <a:gd name="T11" fmla="*/ 85193 h 161"/>
              <a:gd name="T12" fmla="*/ 78921 w 119"/>
              <a:gd name="T13" fmla="*/ 127789 h 161"/>
              <a:gd name="T14" fmla="*/ 13154 w 119"/>
              <a:gd name="T15" fmla="*/ 142875 h 161"/>
              <a:gd name="T16" fmla="*/ 0 w 119"/>
              <a:gd name="T17" fmla="*/ 127789 h 161"/>
              <a:gd name="T18" fmla="*/ 13154 w 119"/>
              <a:gd name="T19" fmla="*/ 127789 h 161"/>
              <a:gd name="T20" fmla="*/ 27081 w 119"/>
              <a:gd name="T21" fmla="*/ 85193 h 161"/>
              <a:gd name="T22" fmla="*/ 13154 w 119"/>
              <a:gd name="T23" fmla="*/ 71881 h 161"/>
              <a:gd name="T24" fmla="*/ 27081 w 119"/>
              <a:gd name="T25" fmla="*/ 57682 h 161"/>
              <a:gd name="T26" fmla="*/ 13154 w 119"/>
              <a:gd name="T27" fmla="*/ 57682 h 161"/>
              <a:gd name="T28" fmla="*/ 13154 w 119"/>
              <a:gd name="T29" fmla="*/ 42596 h 161"/>
              <a:gd name="T30" fmla="*/ 40234 w 119"/>
              <a:gd name="T31" fmla="*/ 42596 h 161"/>
              <a:gd name="T32" fmla="*/ 53388 w 119"/>
              <a:gd name="T33" fmla="*/ 29285 h 161"/>
              <a:gd name="T34" fmla="*/ 40234 w 119"/>
              <a:gd name="T35" fmla="*/ 29285 h 161"/>
              <a:gd name="T36" fmla="*/ 40234 w 119"/>
              <a:gd name="T37" fmla="*/ 15974 h 161"/>
              <a:gd name="T38" fmla="*/ 66542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chemeClr val="bg1"/>
          </a:solidFill>
          <a:ln w="9525">
            <a:solidFill>
              <a:schemeClr val="bg2"/>
            </a:solidFill>
            <a:prstDash val="solid"/>
            <a:round/>
            <a:headEnd/>
            <a:tailEnd/>
          </a:ln>
        </p:spPr>
        <p:txBody>
          <a:bodyPr/>
          <a:lstStyle/>
          <a:p>
            <a:endParaRPr lang="en-US" dirty="0"/>
          </a:p>
        </p:txBody>
      </p:sp>
      <p:sp>
        <p:nvSpPr>
          <p:cNvPr id="19717" name="Freeform 260"/>
          <p:cNvSpPr>
            <a:spLocks noChangeAspect="1"/>
          </p:cNvSpPr>
          <p:nvPr/>
        </p:nvSpPr>
        <p:spPr bwMode="auto">
          <a:xfrm>
            <a:off x="4081463" y="2835275"/>
            <a:ext cx="257175" cy="225425"/>
          </a:xfrm>
          <a:custGeom>
            <a:avLst/>
            <a:gdLst>
              <a:gd name="T0" fmla="*/ 13329 w 328"/>
              <a:gd name="T1" fmla="*/ 56577 h 255"/>
              <a:gd name="T2" fmla="*/ 13329 w 328"/>
              <a:gd name="T3" fmla="*/ 56577 h 255"/>
              <a:gd name="T4" fmla="*/ 67430 w 328"/>
              <a:gd name="T5" fmla="*/ 56577 h 255"/>
              <a:gd name="T6" fmla="*/ 67430 w 328"/>
              <a:gd name="T7" fmla="*/ 69838 h 255"/>
              <a:gd name="T8" fmla="*/ 54101 w 328"/>
              <a:gd name="T9" fmla="*/ 84866 h 255"/>
              <a:gd name="T10" fmla="*/ 54101 w 328"/>
              <a:gd name="T11" fmla="*/ 112270 h 255"/>
              <a:gd name="T12" fmla="*/ 39988 w 328"/>
              <a:gd name="T13" fmla="*/ 127299 h 255"/>
              <a:gd name="T14" fmla="*/ 54101 w 328"/>
              <a:gd name="T15" fmla="*/ 169732 h 255"/>
              <a:gd name="T16" fmla="*/ 39988 w 328"/>
              <a:gd name="T17" fmla="*/ 197136 h 255"/>
              <a:gd name="T18" fmla="*/ 80759 w 328"/>
              <a:gd name="T19" fmla="*/ 225425 h 255"/>
              <a:gd name="T20" fmla="*/ 94872 w 328"/>
              <a:gd name="T21" fmla="*/ 212165 h 255"/>
              <a:gd name="T22" fmla="*/ 148973 w 328"/>
              <a:gd name="T23" fmla="*/ 212165 h 255"/>
              <a:gd name="T24" fmla="*/ 203074 w 328"/>
              <a:gd name="T25" fmla="*/ 154703 h 255"/>
              <a:gd name="T26" fmla="*/ 188961 w 328"/>
              <a:gd name="T27" fmla="*/ 127299 h 255"/>
              <a:gd name="T28" fmla="*/ 216403 w 328"/>
              <a:gd name="T29" fmla="*/ 84866 h 255"/>
              <a:gd name="T30" fmla="*/ 257175 w 328"/>
              <a:gd name="T31" fmla="*/ 56577 h 255"/>
              <a:gd name="T32" fmla="*/ 257175 w 328"/>
              <a:gd name="T33" fmla="*/ 42433 h 255"/>
              <a:gd name="T34" fmla="*/ 188961 w 328"/>
              <a:gd name="T35" fmla="*/ 27405 h 255"/>
              <a:gd name="T36" fmla="*/ 162303 w 328"/>
              <a:gd name="T37" fmla="*/ 14144 h 255"/>
              <a:gd name="T38" fmla="*/ 148973 w 328"/>
              <a:gd name="T39" fmla="*/ 14144 h 255"/>
              <a:gd name="T40" fmla="*/ 121531 w 328"/>
              <a:gd name="T41" fmla="*/ 14144 h 255"/>
              <a:gd name="T42" fmla="*/ 108202 w 328"/>
              <a:gd name="T43" fmla="*/ 14144 h 255"/>
              <a:gd name="T44" fmla="*/ 26658 w 328"/>
              <a:gd name="T45" fmla="*/ 0 h 255"/>
              <a:gd name="T46" fmla="*/ 13329 w 328"/>
              <a:gd name="T47" fmla="*/ 14144 h 255"/>
              <a:gd name="T48" fmla="*/ 0 w 328"/>
              <a:gd name="T49" fmla="*/ 14144 h 255"/>
              <a:gd name="T50" fmla="*/ 0 w 328"/>
              <a:gd name="T51" fmla="*/ 27405 h 255"/>
              <a:gd name="T52" fmla="*/ 13329 w 328"/>
              <a:gd name="T53" fmla="*/ 56577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chemeClr val="bg1"/>
          </a:solidFill>
          <a:ln w="9525">
            <a:solidFill>
              <a:schemeClr val="bg2"/>
            </a:solidFill>
            <a:prstDash val="solid"/>
            <a:round/>
            <a:headEnd/>
            <a:tailEnd/>
          </a:ln>
        </p:spPr>
        <p:txBody>
          <a:bodyPr/>
          <a:lstStyle/>
          <a:p>
            <a:endParaRPr lang="en-US" dirty="0"/>
          </a:p>
        </p:txBody>
      </p:sp>
      <p:sp>
        <p:nvSpPr>
          <p:cNvPr id="19718" name="Freeform 261"/>
          <p:cNvSpPr>
            <a:spLocks noChangeAspect="1"/>
          </p:cNvSpPr>
          <p:nvPr/>
        </p:nvSpPr>
        <p:spPr bwMode="auto">
          <a:xfrm>
            <a:off x="4081463" y="2890838"/>
            <a:ext cx="66675" cy="141287"/>
          </a:xfrm>
          <a:custGeom>
            <a:avLst/>
            <a:gdLst>
              <a:gd name="T0" fmla="*/ 39687 w 84"/>
              <a:gd name="T1" fmla="*/ 141287 h 159"/>
              <a:gd name="T2" fmla="*/ 39687 w 84"/>
              <a:gd name="T3" fmla="*/ 141287 h 159"/>
              <a:gd name="T4" fmla="*/ 53181 w 84"/>
              <a:gd name="T5" fmla="*/ 113740 h 159"/>
              <a:gd name="T6" fmla="*/ 39687 w 84"/>
              <a:gd name="T7" fmla="*/ 71088 h 159"/>
              <a:gd name="T8" fmla="*/ 53181 w 84"/>
              <a:gd name="T9" fmla="*/ 55982 h 159"/>
              <a:gd name="T10" fmla="*/ 53181 w 84"/>
              <a:gd name="T11" fmla="*/ 28435 h 159"/>
              <a:gd name="T12" fmla="*/ 66675 w 84"/>
              <a:gd name="T13" fmla="*/ 13329 h 159"/>
              <a:gd name="T14" fmla="*/ 66675 w 84"/>
              <a:gd name="T15" fmla="*/ 0 h 159"/>
              <a:gd name="T16" fmla="*/ 13494 w 84"/>
              <a:gd name="T17" fmla="*/ 0 h 159"/>
              <a:gd name="T18" fmla="*/ 13494 w 84"/>
              <a:gd name="T19" fmla="*/ 28435 h 159"/>
              <a:gd name="T20" fmla="*/ 0 w 84"/>
              <a:gd name="T21" fmla="*/ 98634 h 159"/>
              <a:gd name="T22" fmla="*/ 13494 w 84"/>
              <a:gd name="T23" fmla="*/ 98634 h 159"/>
              <a:gd name="T24" fmla="*/ 0 w 84"/>
              <a:gd name="T25" fmla="*/ 141287 h 159"/>
              <a:gd name="T26" fmla="*/ 39687 w 84"/>
              <a:gd name="T27" fmla="*/ 141287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chemeClr val="bg1"/>
          </a:solidFill>
          <a:ln w="9525">
            <a:solidFill>
              <a:schemeClr val="bg2"/>
            </a:solidFill>
            <a:prstDash val="solid"/>
            <a:round/>
            <a:headEnd/>
            <a:tailEnd/>
          </a:ln>
        </p:spPr>
        <p:txBody>
          <a:bodyPr/>
          <a:lstStyle/>
          <a:p>
            <a:endParaRPr lang="en-US" dirty="0"/>
          </a:p>
        </p:txBody>
      </p:sp>
      <p:sp>
        <p:nvSpPr>
          <p:cNvPr id="19719" name="Freeform 262"/>
          <p:cNvSpPr>
            <a:spLocks noChangeAspect="1"/>
          </p:cNvSpPr>
          <p:nvPr/>
        </p:nvSpPr>
        <p:spPr bwMode="auto">
          <a:xfrm>
            <a:off x="4135438" y="2311400"/>
            <a:ext cx="177800" cy="325438"/>
          </a:xfrm>
          <a:custGeom>
            <a:avLst/>
            <a:gdLst>
              <a:gd name="T0" fmla="*/ 26988 w 224"/>
              <a:gd name="T1" fmla="*/ 325438 h 369"/>
              <a:gd name="T2" fmla="*/ 41275 w 224"/>
              <a:gd name="T3" fmla="*/ 311327 h 369"/>
              <a:gd name="T4" fmla="*/ 68263 w 224"/>
              <a:gd name="T5" fmla="*/ 325438 h 369"/>
              <a:gd name="T6" fmla="*/ 68263 w 224"/>
              <a:gd name="T7" fmla="*/ 311327 h 369"/>
              <a:gd name="T8" fmla="*/ 81756 w 224"/>
              <a:gd name="T9" fmla="*/ 296334 h 369"/>
              <a:gd name="T10" fmla="*/ 96044 w 224"/>
              <a:gd name="T11" fmla="*/ 311327 h 369"/>
              <a:gd name="T12" fmla="*/ 109538 w 224"/>
              <a:gd name="T13" fmla="*/ 296334 h 369"/>
              <a:gd name="T14" fmla="*/ 164306 w 224"/>
              <a:gd name="T15" fmla="*/ 296334 h 369"/>
              <a:gd name="T16" fmla="*/ 177800 w 224"/>
              <a:gd name="T17" fmla="*/ 283105 h 369"/>
              <a:gd name="T18" fmla="*/ 150813 w 224"/>
              <a:gd name="T19" fmla="*/ 283105 h 369"/>
              <a:gd name="T20" fmla="*/ 177800 w 224"/>
              <a:gd name="T21" fmla="*/ 240771 h 369"/>
              <a:gd name="T22" fmla="*/ 164306 w 224"/>
              <a:gd name="T23" fmla="*/ 226660 h 369"/>
              <a:gd name="T24" fmla="*/ 150813 w 224"/>
              <a:gd name="T25" fmla="*/ 226660 h 369"/>
              <a:gd name="T26" fmla="*/ 136525 w 224"/>
              <a:gd name="T27" fmla="*/ 226660 h 369"/>
              <a:gd name="T28" fmla="*/ 150813 w 224"/>
              <a:gd name="T29" fmla="*/ 211667 h 369"/>
              <a:gd name="T30" fmla="*/ 150813 w 224"/>
              <a:gd name="T31" fmla="*/ 198438 h 369"/>
              <a:gd name="T32" fmla="*/ 136525 w 224"/>
              <a:gd name="T33" fmla="*/ 169334 h 369"/>
              <a:gd name="T34" fmla="*/ 123031 w 224"/>
              <a:gd name="T35" fmla="*/ 156104 h 369"/>
              <a:gd name="T36" fmla="*/ 96044 w 224"/>
              <a:gd name="T37" fmla="*/ 113771 h 369"/>
              <a:gd name="T38" fmla="*/ 68263 w 224"/>
              <a:gd name="T39" fmla="*/ 100542 h 369"/>
              <a:gd name="T40" fmla="*/ 109538 w 224"/>
              <a:gd name="T41" fmla="*/ 42333 h 369"/>
              <a:gd name="T42" fmla="*/ 96044 w 224"/>
              <a:gd name="T43" fmla="*/ 29104 h 369"/>
              <a:gd name="T44" fmla="*/ 54769 w 224"/>
              <a:gd name="T45" fmla="*/ 42333 h 369"/>
              <a:gd name="T46" fmla="*/ 54769 w 224"/>
              <a:gd name="T47" fmla="*/ 15875 h 369"/>
              <a:gd name="T48" fmla="*/ 81756 w 224"/>
              <a:gd name="T49" fmla="*/ 0 h 369"/>
              <a:gd name="T50" fmla="*/ 68263 w 224"/>
              <a:gd name="T51" fmla="*/ 0 h 369"/>
              <a:gd name="T52" fmla="*/ 41275 w 224"/>
              <a:gd name="T53" fmla="*/ 0 h 369"/>
              <a:gd name="T54" fmla="*/ 13494 w 224"/>
              <a:gd name="T55" fmla="*/ 42333 h 369"/>
              <a:gd name="T56" fmla="*/ 0 w 224"/>
              <a:gd name="T57" fmla="*/ 42333 h 369"/>
              <a:gd name="T58" fmla="*/ 13494 w 224"/>
              <a:gd name="T59" fmla="*/ 58208 h 369"/>
              <a:gd name="T60" fmla="*/ 26988 w 224"/>
              <a:gd name="T61" fmla="*/ 58208 h 369"/>
              <a:gd name="T62" fmla="*/ 13494 w 224"/>
              <a:gd name="T63" fmla="*/ 84667 h 369"/>
              <a:gd name="T64" fmla="*/ 26988 w 224"/>
              <a:gd name="T65" fmla="*/ 84667 h 369"/>
              <a:gd name="T66" fmla="*/ 26988 w 224"/>
              <a:gd name="T67" fmla="*/ 100542 h 369"/>
              <a:gd name="T68" fmla="*/ 13494 w 224"/>
              <a:gd name="T69" fmla="*/ 113771 h 369"/>
              <a:gd name="T70" fmla="*/ 26988 w 224"/>
              <a:gd name="T71" fmla="*/ 113771 h 369"/>
              <a:gd name="T72" fmla="*/ 26988 w 224"/>
              <a:gd name="T73" fmla="*/ 127000 h 369"/>
              <a:gd name="T74" fmla="*/ 26988 w 224"/>
              <a:gd name="T75" fmla="*/ 113771 h 369"/>
              <a:gd name="T76" fmla="*/ 41275 w 224"/>
              <a:gd name="T77" fmla="*/ 127000 h 369"/>
              <a:gd name="T78" fmla="*/ 26988 w 224"/>
              <a:gd name="T79" fmla="*/ 142875 h 369"/>
              <a:gd name="T80" fmla="*/ 41275 w 224"/>
              <a:gd name="T81" fmla="*/ 156104 h 369"/>
              <a:gd name="T82" fmla="*/ 68263 w 224"/>
              <a:gd name="T83" fmla="*/ 142875 h 369"/>
              <a:gd name="T84" fmla="*/ 68263 w 224"/>
              <a:gd name="T85" fmla="*/ 156104 h 369"/>
              <a:gd name="T86" fmla="*/ 68263 w 224"/>
              <a:gd name="T87" fmla="*/ 169334 h 369"/>
              <a:gd name="T88" fmla="*/ 81756 w 224"/>
              <a:gd name="T89" fmla="*/ 169334 h 369"/>
              <a:gd name="T90" fmla="*/ 81756 w 224"/>
              <a:gd name="T91" fmla="*/ 198438 h 369"/>
              <a:gd name="T92" fmla="*/ 41275 w 224"/>
              <a:gd name="T93" fmla="*/ 198438 h 369"/>
              <a:gd name="T94" fmla="*/ 54769 w 224"/>
              <a:gd name="T95" fmla="*/ 211667 h 369"/>
              <a:gd name="T96" fmla="*/ 41275 w 224"/>
              <a:gd name="T97" fmla="*/ 226660 h 369"/>
              <a:gd name="T98" fmla="*/ 54769 w 224"/>
              <a:gd name="T99" fmla="*/ 226660 h 369"/>
              <a:gd name="T100" fmla="*/ 54769 w 224"/>
              <a:gd name="T101" fmla="*/ 240771 h 369"/>
              <a:gd name="T102" fmla="*/ 26988 w 224"/>
              <a:gd name="T103" fmla="*/ 254000 h 369"/>
              <a:gd name="T104" fmla="*/ 41275 w 224"/>
              <a:gd name="T105" fmla="*/ 268993 h 369"/>
              <a:gd name="T106" fmla="*/ 54769 w 224"/>
              <a:gd name="T107" fmla="*/ 268993 h 369"/>
              <a:gd name="T108" fmla="*/ 68263 w 224"/>
              <a:gd name="T109" fmla="*/ 283105 h 369"/>
              <a:gd name="T110" fmla="*/ 81756 w 224"/>
              <a:gd name="T111" fmla="*/ 268993 h 369"/>
              <a:gd name="T112" fmla="*/ 81756 w 224"/>
              <a:gd name="T113" fmla="*/ 283105 h 369"/>
              <a:gd name="T114" fmla="*/ 54769 w 224"/>
              <a:gd name="T115" fmla="*/ 283105 h 369"/>
              <a:gd name="T116" fmla="*/ 26988 w 224"/>
              <a:gd name="T117" fmla="*/ 325438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rgbClr val="000080"/>
          </a:solidFill>
          <a:ln w="9525">
            <a:solidFill>
              <a:schemeClr val="bg2"/>
            </a:solidFill>
            <a:prstDash val="solid"/>
            <a:round/>
            <a:headEnd/>
            <a:tailEnd/>
          </a:ln>
        </p:spPr>
        <p:txBody>
          <a:bodyPr/>
          <a:lstStyle/>
          <a:p>
            <a:endParaRPr lang="en-US" dirty="0"/>
          </a:p>
        </p:txBody>
      </p:sp>
      <p:sp>
        <p:nvSpPr>
          <p:cNvPr id="19720" name="Freeform 263"/>
          <p:cNvSpPr>
            <a:spLocks noChangeAspect="1"/>
          </p:cNvSpPr>
          <p:nvPr/>
        </p:nvSpPr>
        <p:spPr bwMode="auto">
          <a:xfrm>
            <a:off x="4325938" y="2947988"/>
            <a:ext cx="28575" cy="28575"/>
          </a:xfrm>
          <a:custGeom>
            <a:avLst/>
            <a:gdLst>
              <a:gd name="T0" fmla="*/ 0 w 34"/>
              <a:gd name="T1" fmla="*/ 14720 h 33"/>
              <a:gd name="T2" fmla="*/ 0 w 34"/>
              <a:gd name="T3" fmla="*/ 14720 h 33"/>
              <a:gd name="T4" fmla="*/ 14288 w 34"/>
              <a:gd name="T5" fmla="*/ 28575 h 33"/>
              <a:gd name="T6" fmla="*/ 28575 w 34"/>
              <a:gd name="T7" fmla="*/ 14720 h 33"/>
              <a:gd name="T8" fmla="*/ 14288 w 34"/>
              <a:gd name="T9" fmla="*/ 0 h 33"/>
              <a:gd name="T10" fmla="*/ 0 w 34"/>
              <a:gd name="T11" fmla="*/ 1472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9721" name="Freeform 264"/>
          <p:cNvSpPr>
            <a:spLocks noChangeAspect="1"/>
          </p:cNvSpPr>
          <p:nvPr/>
        </p:nvSpPr>
        <p:spPr bwMode="auto">
          <a:xfrm>
            <a:off x="3916363" y="3257550"/>
            <a:ext cx="15875" cy="15875"/>
          </a:xfrm>
          <a:custGeom>
            <a:avLst/>
            <a:gdLst>
              <a:gd name="T0" fmla="*/ 0 w 20"/>
              <a:gd name="T1" fmla="*/ 0 h 15"/>
              <a:gd name="T2" fmla="*/ 0 w 20"/>
              <a:gd name="T3" fmla="*/ 0 h 15"/>
              <a:gd name="T4" fmla="*/ 0 w 20"/>
              <a:gd name="T5" fmla="*/ 15875 h 15"/>
              <a:gd name="T6" fmla="*/ 15875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9722" name="Freeform 265"/>
          <p:cNvSpPr>
            <a:spLocks noChangeAspect="1"/>
          </p:cNvSpPr>
          <p:nvPr/>
        </p:nvSpPr>
        <p:spPr bwMode="auto">
          <a:xfrm>
            <a:off x="4175125" y="2593975"/>
            <a:ext cx="274638" cy="284163"/>
          </a:xfrm>
          <a:custGeom>
            <a:avLst/>
            <a:gdLst>
              <a:gd name="T0" fmla="*/ 164783 w 345"/>
              <a:gd name="T1" fmla="*/ 0 h 320"/>
              <a:gd name="T2" fmla="*/ 164783 w 345"/>
              <a:gd name="T3" fmla="*/ 0 h 320"/>
              <a:gd name="T4" fmla="*/ 136921 w 345"/>
              <a:gd name="T5" fmla="*/ 13320 h 320"/>
              <a:gd name="T6" fmla="*/ 136921 w 345"/>
              <a:gd name="T7" fmla="*/ 42624 h 320"/>
              <a:gd name="T8" fmla="*/ 109855 w 345"/>
              <a:gd name="T9" fmla="*/ 55945 h 320"/>
              <a:gd name="T10" fmla="*/ 95526 w 345"/>
              <a:gd name="T11" fmla="*/ 71041 h 320"/>
              <a:gd name="T12" fmla="*/ 81993 w 345"/>
              <a:gd name="T13" fmla="*/ 71041 h 320"/>
              <a:gd name="T14" fmla="*/ 68460 w 345"/>
              <a:gd name="T15" fmla="*/ 55945 h 320"/>
              <a:gd name="T16" fmla="*/ 54928 w 345"/>
              <a:gd name="T17" fmla="*/ 55945 h 320"/>
              <a:gd name="T18" fmla="*/ 68460 w 345"/>
              <a:gd name="T19" fmla="*/ 85249 h 320"/>
              <a:gd name="T20" fmla="*/ 40599 w 345"/>
              <a:gd name="T21" fmla="*/ 98569 h 320"/>
              <a:gd name="T22" fmla="*/ 40599 w 345"/>
              <a:gd name="T23" fmla="*/ 85249 h 320"/>
              <a:gd name="T24" fmla="*/ 0 w 345"/>
              <a:gd name="T25" fmla="*/ 98569 h 320"/>
              <a:gd name="T26" fmla="*/ 0 w 345"/>
              <a:gd name="T27" fmla="*/ 113665 h 320"/>
              <a:gd name="T28" fmla="*/ 54928 w 345"/>
              <a:gd name="T29" fmla="*/ 127873 h 320"/>
              <a:gd name="T30" fmla="*/ 81993 w 345"/>
              <a:gd name="T31" fmla="*/ 170498 h 320"/>
              <a:gd name="T32" fmla="*/ 81993 w 345"/>
              <a:gd name="T33" fmla="*/ 183818 h 320"/>
              <a:gd name="T34" fmla="*/ 68460 w 345"/>
              <a:gd name="T35" fmla="*/ 255747 h 320"/>
              <a:gd name="T36" fmla="*/ 95526 w 345"/>
              <a:gd name="T37" fmla="*/ 269067 h 320"/>
              <a:gd name="T38" fmla="*/ 164783 w 345"/>
              <a:gd name="T39" fmla="*/ 284163 h 320"/>
              <a:gd name="T40" fmla="*/ 164783 w 345"/>
              <a:gd name="T41" fmla="*/ 269067 h 320"/>
              <a:gd name="T42" fmla="*/ 191849 w 345"/>
              <a:gd name="T43" fmla="*/ 255747 h 320"/>
              <a:gd name="T44" fmla="*/ 233243 w 345"/>
              <a:gd name="T45" fmla="*/ 269067 h 320"/>
              <a:gd name="T46" fmla="*/ 247572 w 345"/>
              <a:gd name="T47" fmla="*/ 269067 h 320"/>
              <a:gd name="T48" fmla="*/ 261105 w 345"/>
              <a:gd name="T49" fmla="*/ 241539 h 320"/>
              <a:gd name="T50" fmla="*/ 247572 w 345"/>
              <a:gd name="T51" fmla="*/ 213122 h 320"/>
              <a:gd name="T52" fmla="*/ 247572 w 345"/>
              <a:gd name="T53" fmla="*/ 183818 h 320"/>
              <a:gd name="T54" fmla="*/ 247572 w 345"/>
              <a:gd name="T55" fmla="*/ 156290 h 320"/>
              <a:gd name="T56" fmla="*/ 233243 w 345"/>
              <a:gd name="T57" fmla="*/ 170498 h 320"/>
              <a:gd name="T58" fmla="*/ 233243 w 345"/>
              <a:gd name="T59" fmla="*/ 156290 h 320"/>
              <a:gd name="T60" fmla="*/ 247572 w 345"/>
              <a:gd name="T61" fmla="*/ 127873 h 320"/>
              <a:gd name="T62" fmla="*/ 261105 w 345"/>
              <a:gd name="T63" fmla="*/ 127873 h 320"/>
              <a:gd name="T64" fmla="*/ 274638 w 345"/>
              <a:gd name="T65" fmla="*/ 85249 h 320"/>
              <a:gd name="T66" fmla="*/ 233243 w 345"/>
              <a:gd name="T67" fmla="*/ 55945 h 320"/>
              <a:gd name="T68" fmla="*/ 219710 w 345"/>
              <a:gd name="T69" fmla="*/ 55945 h 320"/>
              <a:gd name="T70" fmla="*/ 206178 w 345"/>
              <a:gd name="T71" fmla="*/ 55945 h 320"/>
              <a:gd name="T72" fmla="*/ 206178 w 345"/>
              <a:gd name="T73" fmla="*/ 42624 h 320"/>
              <a:gd name="T74" fmla="*/ 191849 w 345"/>
              <a:gd name="T75" fmla="*/ 42624 h 320"/>
              <a:gd name="T76" fmla="*/ 191849 w 345"/>
              <a:gd name="T77" fmla="*/ 28416 h 320"/>
              <a:gd name="T78" fmla="*/ 164783 w 345"/>
              <a:gd name="T79" fmla="*/ 13320 h 320"/>
              <a:gd name="T80" fmla="*/ 164783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chemeClr val="bg1"/>
          </a:solidFill>
          <a:ln w="9525">
            <a:solidFill>
              <a:schemeClr val="bg2"/>
            </a:solidFill>
            <a:prstDash val="solid"/>
            <a:round/>
            <a:headEnd/>
            <a:tailEnd/>
          </a:ln>
        </p:spPr>
        <p:txBody>
          <a:bodyPr/>
          <a:lstStyle/>
          <a:p>
            <a:endParaRPr lang="en-US" dirty="0"/>
          </a:p>
        </p:txBody>
      </p:sp>
      <p:sp>
        <p:nvSpPr>
          <p:cNvPr id="19723" name="Freeform 266"/>
          <p:cNvSpPr>
            <a:spLocks noChangeAspect="1"/>
          </p:cNvSpPr>
          <p:nvPr/>
        </p:nvSpPr>
        <p:spPr bwMode="auto">
          <a:xfrm>
            <a:off x="3973513" y="3257550"/>
            <a:ext cx="11112" cy="15875"/>
          </a:xfrm>
          <a:custGeom>
            <a:avLst/>
            <a:gdLst>
              <a:gd name="T0" fmla="*/ 11112 w 16"/>
              <a:gd name="T1" fmla="*/ 0 h 15"/>
              <a:gd name="T2" fmla="*/ 11112 w 16"/>
              <a:gd name="T3" fmla="*/ 0 h 15"/>
              <a:gd name="T4" fmla="*/ 0 w 16"/>
              <a:gd name="T5" fmla="*/ 15875 h 15"/>
              <a:gd name="T6" fmla="*/ 11112 w 16"/>
              <a:gd name="T7" fmla="*/ 15875 h 15"/>
              <a:gd name="T8" fmla="*/ 11112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chemeClr val="bg1"/>
          </a:solidFill>
          <a:ln w="9525">
            <a:solidFill>
              <a:schemeClr val="bg2"/>
            </a:solidFill>
            <a:prstDash val="solid"/>
            <a:round/>
            <a:headEnd/>
            <a:tailEnd/>
          </a:ln>
        </p:spPr>
        <p:txBody>
          <a:bodyPr/>
          <a:lstStyle/>
          <a:p>
            <a:endParaRPr lang="en-US" dirty="0"/>
          </a:p>
        </p:txBody>
      </p:sp>
      <p:sp>
        <p:nvSpPr>
          <p:cNvPr id="19724" name="Freeform 267"/>
          <p:cNvSpPr>
            <a:spLocks noChangeAspect="1"/>
          </p:cNvSpPr>
          <p:nvPr/>
        </p:nvSpPr>
        <p:spPr bwMode="auto">
          <a:xfrm>
            <a:off x="4449763" y="2354263"/>
            <a:ext cx="68262" cy="100012"/>
          </a:xfrm>
          <a:custGeom>
            <a:avLst/>
            <a:gdLst>
              <a:gd name="T0" fmla="*/ 14738 w 88"/>
              <a:gd name="T1" fmla="*/ 100012 h 114"/>
              <a:gd name="T2" fmla="*/ 14738 w 88"/>
              <a:gd name="T3" fmla="*/ 100012 h 114"/>
              <a:gd name="T4" fmla="*/ 28701 w 88"/>
              <a:gd name="T5" fmla="*/ 100012 h 114"/>
              <a:gd name="T6" fmla="*/ 41888 w 88"/>
              <a:gd name="T7" fmla="*/ 100012 h 114"/>
              <a:gd name="T8" fmla="*/ 55075 w 88"/>
              <a:gd name="T9" fmla="*/ 57902 h 114"/>
              <a:gd name="T10" fmla="*/ 68262 w 88"/>
              <a:gd name="T11" fmla="*/ 57902 h 114"/>
              <a:gd name="T12" fmla="*/ 68262 w 88"/>
              <a:gd name="T13" fmla="*/ 42110 h 114"/>
              <a:gd name="T14" fmla="*/ 55075 w 88"/>
              <a:gd name="T15" fmla="*/ 42110 h 114"/>
              <a:gd name="T16" fmla="*/ 55075 w 88"/>
              <a:gd name="T17" fmla="*/ 0 h 114"/>
              <a:gd name="T18" fmla="*/ 14738 w 88"/>
              <a:gd name="T19" fmla="*/ 15791 h 114"/>
              <a:gd name="T20" fmla="*/ 0 w 88"/>
              <a:gd name="T21" fmla="*/ 42110 h 114"/>
              <a:gd name="T22" fmla="*/ 0 w 88"/>
              <a:gd name="T23" fmla="*/ 71061 h 114"/>
              <a:gd name="T24" fmla="*/ 14738 w 88"/>
              <a:gd name="T25" fmla="*/ 84221 h 114"/>
              <a:gd name="T26" fmla="*/ 14738 w 88"/>
              <a:gd name="T27" fmla="*/ 100012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chemeClr val="bg1"/>
          </a:solidFill>
          <a:ln w="9525">
            <a:solidFill>
              <a:schemeClr val="bg2"/>
            </a:solidFill>
            <a:round/>
            <a:headEnd/>
            <a:tailEnd/>
          </a:ln>
        </p:spPr>
        <p:txBody>
          <a:bodyPr/>
          <a:lstStyle/>
          <a:p>
            <a:endParaRPr lang="en-US" dirty="0"/>
          </a:p>
        </p:txBody>
      </p:sp>
      <p:sp>
        <p:nvSpPr>
          <p:cNvPr id="19725" name="Freeform 268"/>
          <p:cNvSpPr>
            <a:spLocks noChangeAspect="1"/>
          </p:cNvSpPr>
          <p:nvPr/>
        </p:nvSpPr>
        <p:spPr bwMode="auto">
          <a:xfrm>
            <a:off x="4354513" y="2509838"/>
            <a:ext cx="79375" cy="96837"/>
          </a:xfrm>
          <a:custGeom>
            <a:avLst/>
            <a:gdLst>
              <a:gd name="T0" fmla="*/ 52662 w 104"/>
              <a:gd name="T1" fmla="*/ 96837 h 111"/>
              <a:gd name="T2" fmla="*/ 52662 w 104"/>
              <a:gd name="T3" fmla="*/ 96837 h 111"/>
              <a:gd name="T4" fmla="*/ 52662 w 104"/>
              <a:gd name="T5" fmla="*/ 54962 h 111"/>
              <a:gd name="T6" fmla="*/ 66400 w 104"/>
              <a:gd name="T7" fmla="*/ 41875 h 111"/>
              <a:gd name="T8" fmla="*/ 79375 w 104"/>
              <a:gd name="T9" fmla="*/ 0 h 111"/>
              <a:gd name="T10" fmla="*/ 39688 w 104"/>
              <a:gd name="T11" fmla="*/ 13086 h 111"/>
              <a:gd name="T12" fmla="*/ 52662 w 104"/>
              <a:gd name="T13" fmla="*/ 41875 h 111"/>
              <a:gd name="T14" fmla="*/ 39688 w 104"/>
              <a:gd name="T15" fmla="*/ 41875 h 111"/>
              <a:gd name="T16" fmla="*/ 39688 w 104"/>
              <a:gd name="T17" fmla="*/ 27917 h 111"/>
              <a:gd name="T18" fmla="*/ 26713 w 104"/>
              <a:gd name="T19" fmla="*/ 27917 h 111"/>
              <a:gd name="T20" fmla="*/ 0 w 104"/>
              <a:gd name="T21" fmla="*/ 83751 h 111"/>
              <a:gd name="T22" fmla="*/ 39688 w 104"/>
              <a:gd name="T23" fmla="*/ 83751 h 111"/>
              <a:gd name="T24" fmla="*/ 52662 w 104"/>
              <a:gd name="T25" fmla="*/ 9683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noFill/>
          <a:ln w="9525">
            <a:solidFill>
              <a:schemeClr val="bg2"/>
            </a:solidFill>
            <a:prstDash val="solid"/>
            <a:round/>
            <a:headEnd/>
            <a:tailEnd/>
          </a:ln>
        </p:spPr>
        <p:txBody>
          <a:bodyPr/>
          <a:lstStyle/>
          <a:p>
            <a:endParaRPr lang="en-US" dirty="0"/>
          </a:p>
        </p:txBody>
      </p:sp>
      <p:sp>
        <p:nvSpPr>
          <p:cNvPr id="19726" name="Freeform 269"/>
          <p:cNvSpPr>
            <a:spLocks noChangeAspect="1"/>
          </p:cNvSpPr>
          <p:nvPr/>
        </p:nvSpPr>
        <p:spPr bwMode="auto">
          <a:xfrm>
            <a:off x="4337050" y="2593975"/>
            <a:ext cx="69850" cy="57150"/>
          </a:xfrm>
          <a:custGeom>
            <a:avLst/>
            <a:gdLst>
              <a:gd name="T0" fmla="*/ 56356 w 88"/>
              <a:gd name="T1" fmla="*/ 57150 h 63"/>
              <a:gd name="T2" fmla="*/ 56356 w 88"/>
              <a:gd name="T3" fmla="*/ 57150 h 63"/>
              <a:gd name="T4" fmla="*/ 42862 w 88"/>
              <a:gd name="T5" fmla="*/ 57150 h 63"/>
              <a:gd name="T6" fmla="*/ 42862 w 88"/>
              <a:gd name="T7" fmla="*/ 43543 h 63"/>
              <a:gd name="T8" fmla="*/ 28575 w 88"/>
              <a:gd name="T9" fmla="*/ 43543 h 63"/>
              <a:gd name="T10" fmla="*/ 28575 w 88"/>
              <a:gd name="T11" fmla="*/ 29029 h 63"/>
              <a:gd name="T12" fmla="*/ 0 w 88"/>
              <a:gd name="T13" fmla="*/ 13607 h 63"/>
              <a:gd name="T14" fmla="*/ 0 w 88"/>
              <a:gd name="T15" fmla="*/ 0 h 63"/>
              <a:gd name="T16" fmla="*/ 15081 w 88"/>
              <a:gd name="T17" fmla="*/ 0 h 63"/>
              <a:gd name="T18" fmla="*/ 56356 w 88"/>
              <a:gd name="T19" fmla="*/ 0 h 63"/>
              <a:gd name="T20" fmla="*/ 69850 w 88"/>
              <a:gd name="T21" fmla="*/ 13607 h 63"/>
              <a:gd name="T22" fmla="*/ 69850 w 88"/>
              <a:gd name="T23" fmla="*/ 43543 h 63"/>
              <a:gd name="T24" fmla="*/ 56356 w 88"/>
              <a:gd name="T25" fmla="*/ 43543 h 63"/>
              <a:gd name="T26" fmla="*/ 56356 w 88"/>
              <a:gd name="T27" fmla="*/ 57150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noFill/>
          <a:ln w="9525">
            <a:solidFill>
              <a:schemeClr val="bg2"/>
            </a:solidFill>
            <a:round/>
            <a:headEnd/>
            <a:tailEnd/>
          </a:ln>
        </p:spPr>
        <p:txBody>
          <a:bodyPr/>
          <a:lstStyle/>
          <a:p>
            <a:endParaRPr lang="en-US" dirty="0"/>
          </a:p>
        </p:txBody>
      </p:sp>
      <p:sp>
        <p:nvSpPr>
          <p:cNvPr id="19727" name="Freeform 270"/>
          <p:cNvSpPr>
            <a:spLocks noChangeAspect="1"/>
          </p:cNvSpPr>
          <p:nvPr/>
        </p:nvSpPr>
        <p:spPr bwMode="auto">
          <a:xfrm>
            <a:off x="4475163" y="2667000"/>
            <a:ext cx="166687" cy="84138"/>
          </a:xfrm>
          <a:custGeom>
            <a:avLst/>
            <a:gdLst>
              <a:gd name="T0" fmla="*/ 0 w 209"/>
              <a:gd name="T1" fmla="*/ 56092 h 96"/>
              <a:gd name="T2" fmla="*/ 0 w 209"/>
              <a:gd name="T3" fmla="*/ 56092 h 96"/>
              <a:gd name="T4" fmla="*/ 27117 w 209"/>
              <a:gd name="T5" fmla="*/ 56092 h 96"/>
              <a:gd name="T6" fmla="*/ 83742 w 209"/>
              <a:gd name="T7" fmla="*/ 42069 h 96"/>
              <a:gd name="T8" fmla="*/ 83742 w 209"/>
              <a:gd name="T9" fmla="*/ 27170 h 96"/>
              <a:gd name="T10" fmla="*/ 98098 w 209"/>
              <a:gd name="T11" fmla="*/ 14023 h 96"/>
              <a:gd name="T12" fmla="*/ 125215 w 209"/>
              <a:gd name="T13" fmla="*/ 14023 h 96"/>
              <a:gd name="T14" fmla="*/ 125215 w 209"/>
              <a:gd name="T15" fmla="*/ 0 h 96"/>
              <a:gd name="T16" fmla="*/ 166687 w 209"/>
              <a:gd name="T17" fmla="*/ 14023 h 96"/>
              <a:gd name="T18" fmla="*/ 166687 w 209"/>
              <a:gd name="T19" fmla="*/ 42069 h 96"/>
              <a:gd name="T20" fmla="*/ 153129 w 209"/>
              <a:gd name="T21" fmla="*/ 69239 h 96"/>
              <a:gd name="T22" fmla="*/ 98098 w 209"/>
              <a:gd name="T23" fmla="*/ 84138 h 96"/>
              <a:gd name="T24" fmla="*/ 70184 w 209"/>
              <a:gd name="T25" fmla="*/ 69239 h 96"/>
              <a:gd name="T26" fmla="*/ 27117 w 209"/>
              <a:gd name="T27" fmla="*/ 69239 h 96"/>
              <a:gd name="T28" fmla="*/ 13558 w 209"/>
              <a:gd name="T29" fmla="*/ 69239 h 96"/>
              <a:gd name="T30" fmla="*/ 0 w 209"/>
              <a:gd name="T31" fmla="*/ 56092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chemeClr val="bg1"/>
          </a:solidFill>
          <a:ln w="9525">
            <a:solidFill>
              <a:schemeClr val="bg2"/>
            </a:solidFill>
            <a:prstDash val="solid"/>
            <a:round/>
            <a:headEnd/>
            <a:tailEnd/>
          </a:ln>
        </p:spPr>
        <p:txBody>
          <a:bodyPr/>
          <a:lstStyle/>
          <a:p>
            <a:endParaRPr lang="en-US" dirty="0"/>
          </a:p>
        </p:txBody>
      </p:sp>
      <p:sp>
        <p:nvSpPr>
          <p:cNvPr id="19728" name="Freeform 271"/>
          <p:cNvSpPr>
            <a:spLocks noChangeAspect="1"/>
          </p:cNvSpPr>
          <p:nvPr/>
        </p:nvSpPr>
        <p:spPr bwMode="auto">
          <a:xfrm>
            <a:off x="4406900" y="2720975"/>
            <a:ext cx="98425" cy="57150"/>
          </a:xfrm>
          <a:custGeom>
            <a:avLst/>
            <a:gdLst>
              <a:gd name="T0" fmla="*/ 28007 w 123"/>
              <a:gd name="T1" fmla="*/ 57150 h 63"/>
              <a:gd name="T2" fmla="*/ 28007 w 123"/>
              <a:gd name="T3" fmla="*/ 57150 h 63"/>
              <a:gd name="T4" fmla="*/ 56814 w 123"/>
              <a:gd name="T5" fmla="*/ 43543 h 63"/>
              <a:gd name="T6" fmla="*/ 71218 w 123"/>
              <a:gd name="T7" fmla="*/ 43543 h 63"/>
              <a:gd name="T8" fmla="*/ 71218 w 123"/>
              <a:gd name="T9" fmla="*/ 29029 h 63"/>
              <a:gd name="T10" fmla="*/ 84822 w 123"/>
              <a:gd name="T11" fmla="*/ 43543 h 63"/>
              <a:gd name="T12" fmla="*/ 98425 w 123"/>
              <a:gd name="T13" fmla="*/ 13607 h 63"/>
              <a:gd name="T14" fmla="*/ 84822 w 123"/>
              <a:gd name="T15" fmla="*/ 13607 h 63"/>
              <a:gd name="T16" fmla="*/ 71218 w 123"/>
              <a:gd name="T17" fmla="*/ 0 h 63"/>
              <a:gd name="T18" fmla="*/ 28007 w 123"/>
              <a:gd name="T19" fmla="*/ 0 h 63"/>
              <a:gd name="T20" fmla="*/ 14404 w 123"/>
              <a:gd name="T21" fmla="*/ 0 h 63"/>
              <a:gd name="T22" fmla="*/ 0 w 123"/>
              <a:gd name="T23" fmla="*/ 29029 h 63"/>
              <a:gd name="T24" fmla="*/ 0 w 123"/>
              <a:gd name="T25" fmla="*/ 43543 h 63"/>
              <a:gd name="T26" fmla="*/ 14404 w 123"/>
              <a:gd name="T27" fmla="*/ 29029 h 63"/>
              <a:gd name="T28" fmla="*/ 14404 w 123"/>
              <a:gd name="T29" fmla="*/ 57150 h 63"/>
              <a:gd name="T30" fmla="*/ 28007 w 123"/>
              <a:gd name="T31" fmla="*/ 57150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noFill/>
          <a:ln w="9525">
            <a:solidFill>
              <a:schemeClr val="bg2"/>
            </a:solidFill>
            <a:round/>
            <a:headEnd/>
            <a:tailEnd/>
          </a:ln>
        </p:spPr>
        <p:txBody>
          <a:bodyPr/>
          <a:lstStyle/>
          <a:p>
            <a:endParaRPr lang="en-US" dirty="0"/>
          </a:p>
        </p:txBody>
      </p:sp>
      <p:sp>
        <p:nvSpPr>
          <p:cNvPr id="19729" name="Freeform 272"/>
          <p:cNvSpPr>
            <a:spLocks noChangeAspect="1"/>
          </p:cNvSpPr>
          <p:nvPr/>
        </p:nvSpPr>
        <p:spPr bwMode="auto">
          <a:xfrm>
            <a:off x="4122738" y="2311400"/>
            <a:ext cx="25400" cy="42863"/>
          </a:xfrm>
          <a:custGeom>
            <a:avLst/>
            <a:gdLst>
              <a:gd name="T0" fmla="*/ 0 w 33"/>
              <a:gd name="T1" fmla="*/ 42863 h 48"/>
              <a:gd name="T2" fmla="*/ 13855 w 33"/>
              <a:gd name="T3" fmla="*/ 16074 h 48"/>
              <a:gd name="T4" fmla="*/ 25400 w 33"/>
              <a:gd name="T5" fmla="*/ 0 h 48"/>
              <a:gd name="T6" fmla="*/ 0 w 33"/>
              <a:gd name="T7" fmla="*/ 16074 h 48"/>
              <a:gd name="T8" fmla="*/ 0 w 33"/>
              <a:gd name="T9" fmla="*/ 42863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9730" name="Freeform 273"/>
          <p:cNvSpPr>
            <a:spLocks noChangeAspect="1"/>
          </p:cNvSpPr>
          <p:nvPr/>
        </p:nvSpPr>
        <p:spPr bwMode="auto">
          <a:xfrm>
            <a:off x="4243388" y="2225675"/>
            <a:ext cx="14287" cy="15875"/>
          </a:xfrm>
          <a:custGeom>
            <a:avLst/>
            <a:gdLst>
              <a:gd name="T0" fmla="*/ 0 w 17"/>
              <a:gd name="T1" fmla="*/ 15875 h 18"/>
              <a:gd name="T2" fmla="*/ 0 w 17"/>
              <a:gd name="T3" fmla="*/ 15875 h 18"/>
              <a:gd name="T4" fmla="*/ 14287 w 17"/>
              <a:gd name="T5" fmla="*/ 0 h 18"/>
              <a:gd name="T6" fmla="*/ 14287 w 17"/>
              <a:gd name="T7" fmla="*/ 15875 h 18"/>
              <a:gd name="T8" fmla="*/ 0 w 17"/>
              <a:gd name="T9" fmla="*/ 15875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chemeClr val="bg1"/>
          </a:solidFill>
          <a:ln w="9525">
            <a:solidFill>
              <a:schemeClr val="bg2"/>
            </a:solidFill>
            <a:prstDash val="solid"/>
            <a:round/>
            <a:headEnd/>
            <a:tailEnd/>
          </a:ln>
        </p:spPr>
        <p:txBody>
          <a:bodyPr/>
          <a:lstStyle/>
          <a:p>
            <a:endParaRPr lang="en-US" dirty="0"/>
          </a:p>
        </p:txBody>
      </p:sp>
      <p:sp>
        <p:nvSpPr>
          <p:cNvPr id="19731" name="Line 274"/>
          <p:cNvSpPr>
            <a:spLocks noChangeAspect="1" noChangeShapeType="1"/>
          </p:cNvSpPr>
          <p:nvPr/>
        </p:nvSpPr>
        <p:spPr bwMode="auto">
          <a:xfrm>
            <a:off x="4208463" y="2305050"/>
            <a:ext cx="14287" cy="14288"/>
          </a:xfrm>
          <a:prstGeom prst="line">
            <a:avLst/>
          </a:prstGeom>
          <a:noFill/>
          <a:ln w="9525">
            <a:solidFill>
              <a:schemeClr val="bg2"/>
            </a:solidFill>
            <a:round/>
            <a:headEnd/>
            <a:tailEnd/>
          </a:ln>
        </p:spPr>
        <p:txBody>
          <a:bodyPr/>
          <a:lstStyle/>
          <a:p>
            <a:endParaRPr lang="en-US" dirty="0"/>
          </a:p>
        </p:txBody>
      </p:sp>
      <p:sp>
        <p:nvSpPr>
          <p:cNvPr id="19732" name="Freeform 275"/>
          <p:cNvSpPr>
            <a:spLocks noChangeAspect="1"/>
          </p:cNvSpPr>
          <p:nvPr/>
        </p:nvSpPr>
        <p:spPr bwMode="auto">
          <a:xfrm>
            <a:off x="4406900" y="2454275"/>
            <a:ext cx="192088" cy="266700"/>
          </a:xfrm>
          <a:custGeom>
            <a:avLst/>
            <a:gdLst>
              <a:gd name="T0" fmla="*/ 110214 w 244"/>
              <a:gd name="T1" fmla="*/ 41369 h 303"/>
              <a:gd name="T2" fmla="*/ 110214 w 244"/>
              <a:gd name="T3" fmla="*/ 41369 h 303"/>
              <a:gd name="T4" fmla="*/ 165322 w 244"/>
              <a:gd name="T5" fmla="*/ 13203 h 303"/>
              <a:gd name="T6" fmla="*/ 165322 w 244"/>
              <a:gd name="T7" fmla="*/ 26406 h 303"/>
              <a:gd name="T8" fmla="*/ 151151 w 244"/>
              <a:gd name="T9" fmla="*/ 26406 h 303"/>
              <a:gd name="T10" fmla="*/ 178705 w 244"/>
              <a:gd name="T11" fmla="*/ 41369 h 303"/>
              <a:gd name="T12" fmla="*/ 192088 w 244"/>
              <a:gd name="T13" fmla="*/ 153154 h 303"/>
              <a:gd name="T14" fmla="*/ 178705 w 244"/>
              <a:gd name="T15" fmla="*/ 139951 h 303"/>
              <a:gd name="T16" fmla="*/ 151151 w 244"/>
              <a:gd name="T17" fmla="*/ 153154 h 303"/>
              <a:gd name="T18" fmla="*/ 124385 w 244"/>
              <a:gd name="T19" fmla="*/ 168118 h 303"/>
              <a:gd name="T20" fmla="*/ 137768 w 244"/>
              <a:gd name="T21" fmla="*/ 195404 h 303"/>
              <a:gd name="T22" fmla="*/ 165322 w 244"/>
              <a:gd name="T23" fmla="*/ 224450 h 303"/>
              <a:gd name="T24" fmla="*/ 151151 w 244"/>
              <a:gd name="T25" fmla="*/ 237653 h 303"/>
              <a:gd name="T26" fmla="*/ 151151 w 244"/>
              <a:gd name="T27" fmla="*/ 252617 h 303"/>
              <a:gd name="T28" fmla="*/ 96831 w 244"/>
              <a:gd name="T29" fmla="*/ 266700 h 303"/>
              <a:gd name="T30" fmla="*/ 70065 w 244"/>
              <a:gd name="T31" fmla="*/ 266700 h 303"/>
              <a:gd name="T32" fmla="*/ 27554 w 244"/>
              <a:gd name="T33" fmla="*/ 266700 h 303"/>
              <a:gd name="T34" fmla="*/ 42511 w 244"/>
              <a:gd name="T35" fmla="*/ 224450 h 303"/>
              <a:gd name="T36" fmla="*/ 0 w 244"/>
              <a:gd name="T37" fmla="*/ 195404 h 303"/>
              <a:gd name="T38" fmla="*/ 0 w 244"/>
              <a:gd name="T39" fmla="*/ 182201 h 303"/>
              <a:gd name="T40" fmla="*/ 0 w 244"/>
              <a:gd name="T41" fmla="*/ 153154 h 303"/>
              <a:gd name="T42" fmla="*/ 0 w 244"/>
              <a:gd name="T43" fmla="*/ 110905 h 303"/>
              <a:gd name="T44" fmla="*/ 14170 w 244"/>
              <a:gd name="T45" fmla="*/ 97702 h 303"/>
              <a:gd name="T46" fmla="*/ 27554 w 244"/>
              <a:gd name="T47" fmla="*/ 55452 h 303"/>
              <a:gd name="T48" fmla="*/ 55894 w 244"/>
              <a:gd name="T49" fmla="*/ 55452 h 303"/>
              <a:gd name="T50" fmla="*/ 70065 w 244"/>
              <a:gd name="T51" fmla="*/ 26406 h 303"/>
              <a:gd name="T52" fmla="*/ 55894 w 244"/>
              <a:gd name="T53" fmla="*/ 26406 h 303"/>
              <a:gd name="T54" fmla="*/ 70065 w 244"/>
              <a:gd name="T55" fmla="*/ 13203 h 303"/>
              <a:gd name="T56" fmla="*/ 55894 w 244"/>
              <a:gd name="T57" fmla="*/ 0 h 303"/>
              <a:gd name="T58" fmla="*/ 70065 w 244"/>
              <a:gd name="T59" fmla="*/ 0 h 303"/>
              <a:gd name="T60" fmla="*/ 83448 w 244"/>
              <a:gd name="T61" fmla="*/ 0 h 303"/>
              <a:gd name="T62" fmla="*/ 83448 w 244"/>
              <a:gd name="T63" fmla="*/ 13203 h 303"/>
              <a:gd name="T64" fmla="*/ 110214 w 244"/>
              <a:gd name="T65" fmla="*/ 26406 h 303"/>
              <a:gd name="T66" fmla="*/ 96831 w 244"/>
              <a:gd name="T67" fmla="*/ 41369 h 303"/>
              <a:gd name="T68" fmla="*/ 110214 w 244"/>
              <a:gd name="T69" fmla="*/ 41369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chemeClr val="bg1"/>
          </a:solidFill>
          <a:ln w="9525">
            <a:solidFill>
              <a:schemeClr val="bg2"/>
            </a:solidFill>
            <a:round/>
            <a:headEnd/>
            <a:tailEnd/>
          </a:ln>
        </p:spPr>
        <p:txBody>
          <a:bodyPr/>
          <a:lstStyle/>
          <a:p>
            <a:endParaRPr lang="en-US" dirty="0"/>
          </a:p>
        </p:txBody>
      </p:sp>
      <p:sp>
        <p:nvSpPr>
          <p:cNvPr id="19733" name="Freeform 276"/>
          <p:cNvSpPr>
            <a:spLocks noChangeAspect="1"/>
          </p:cNvSpPr>
          <p:nvPr/>
        </p:nvSpPr>
        <p:spPr bwMode="auto">
          <a:xfrm>
            <a:off x="4422775" y="2735263"/>
            <a:ext cx="258763" cy="271462"/>
          </a:xfrm>
          <a:custGeom>
            <a:avLst/>
            <a:gdLst>
              <a:gd name="T0" fmla="*/ 13330 w 330"/>
              <a:gd name="T1" fmla="*/ 100574 h 305"/>
              <a:gd name="T2" fmla="*/ 13330 w 330"/>
              <a:gd name="T3" fmla="*/ 100574 h 305"/>
              <a:gd name="T4" fmla="*/ 39991 w 330"/>
              <a:gd name="T5" fmla="*/ 85444 h 305"/>
              <a:gd name="T6" fmla="*/ 67435 w 330"/>
              <a:gd name="T7" fmla="*/ 100574 h 305"/>
              <a:gd name="T8" fmla="*/ 94096 w 330"/>
              <a:gd name="T9" fmla="*/ 143296 h 305"/>
              <a:gd name="T10" fmla="*/ 108210 w 330"/>
              <a:gd name="T11" fmla="*/ 143296 h 305"/>
              <a:gd name="T12" fmla="*/ 121540 w 330"/>
              <a:gd name="T13" fmla="*/ 170888 h 305"/>
              <a:gd name="T14" fmla="*/ 150553 w 330"/>
              <a:gd name="T15" fmla="*/ 186018 h 305"/>
              <a:gd name="T16" fmla="*/ 177213 w 330"/>
              <a:gd name="T17" fmla="*/ 213609 h 305"/>
              <a:gd name="T18" fmla="*/ 190544 w 330"/>
              <a:gd name="T19" fmla="*/ 213609 h 305"/>
              <a:gd name="T20" fmla="*/ 204658 w 330"/>
              <a:gd name="T21" fmla="*/ 256331 h 305"/>
              <a:gd name="T22" fmla="*/ 190544 w 330"/>
              <a:gd name="T23" fmla="*/ 271462 h 305"/>
              <a:gd name="T24" fmla="*/ 204658 w 330"/>
              <a:gd name="T25" fmla="*/ 271462 h 305"/>
              <a:gd name="T26" fmla="*/ 217988 w 330"/>
              <a:gd name="T27" fmla="*/ 256331 h 305"/>
              <a:gd name="T28" fmla="*/ 217988 w 330"/>
              <a:gd name="T29" fmla="*/ 242981 h 305"/>
              <a:gd name="T30" fmla="*/ 217988 w 330"/>
              <a:gd name="T31" fmla="*/ 228740 h 305"/>
              <a:gd name="T32" fmla="*/ 217988 w 330"/>
              <a:gd name="T33" fmla="*/ 200259 h 305"/>
              <a:gd name="T34" fmla="*/ 244649 w 330"/>
              <a:gd name="T35" fmla="*/ 228740 h 305"/>
              <a:gd name="T36" fmla="*/ 258763 w 330"/>
              <a:gd name="T37" fmla="*/ 213609 h 305"/>
              <a:gd name="T38" fmla="*/ 190544 w 330"/>
              <a:gd name="T39" fmla="*/ 170888 h 305"/>
              <a:gd name="T40" fmla="*/ 204658 w 330"/>
              <a:gd name="T41" fmla="*/ 157537 h 305"/>
              <a:gd name="T42" fmla="*/ 190544 w 330"/>
              <a:gd name="T43" fmla="*/ 157537 h 305"/>
              <a:gd name="T44" fmla="*/ 163883 w 330"/>
              <a:gd name="T45" fmla="*/ 143296 h 305"/>
              <a:gd name="T46" fmla="*/ 150553 w 330"/>
              <a:gd name="T47" fmla="*/ 114815 h 305"/>
              <a:gd name="T48" fmla="*/ 121540 w 330"/>
              <a:gd name="T49" fmla="*/ 85444 h 305"/>
              <a:gd name="T50" fmla="*/ 121540 w 330"/>
              <a:gd name="T51" fmla="*/ 42722 h 305"/>
              <a:gd name="T52" fmla="*/ 136439 w 330"/>
              <a:gd name="T53" fmla="*/ 42722 h 305"/>
              <a:gd name="T54" fmla="*/ 150553 w 330"/>
              <a:gd name="T55" fmla="*/ 42722 h 305"/>
              <a:gd name="T56" fmla="*/ 150553 w 330"/>
              <a:gd name="T57" fmla="*/ 29371 h 305"/>
              <a:gd name="T58" fmla="*/ 150553 w 330"/>
              <a:gd name="T59" fmla="*/ 15131 h 305"/>
              <a:gd name="T60" fmla="*/ 121540 w 330"/>
              <a:gd name="T61" fmla="*/ 0 h 305"/>
              <a:gd name="T62" fmla="*/ 80765 w 330"/>
              <a:gd name="T63" fmla="*/ 0 h 305"/>
              <a:gd name="T64" fmla="*/ 67435 w 330"/>
              <a:gd name="T65" fmla="*/ 29371 h 305"/>
              <a:gd name="T66" fmla="*/ 54105 w 330"/>
              <a:gd name="T67" fmla="*/ 15131 h 305"/>
              <a:gd name="T68" fmla="*/ 54105 w 330"/>
              <a:gd name="T69" fmla="*/ 29371 h 305"/>
              <a:gd name="T70" fmla="*/ 39991 w 330"/>
              <a:gd name="T71" fmla="*/ 29371 h 305"/>
              <a:gd name="T72" fmla="*/ 13330 w 330"/>
              <a:gd name="T73" fmla="*/ 42722 h 305"/>
              <a:gd name="T74" fmla="*/ 0 w 330"/>
              <a:gd name="T75" fmla="*/ 42722 h 305"/>
              <a:gd name="T76" fmla="*/ 0 w 330"/>
              <a:gd name="T77" fmla="*/ 72093 h 305"/>
              <a:gd name="T78" fmla="*/ 13330 w 330"/>
              <a:gd name="T79" fmla="*/ 10057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chemeClr val="bg1"/>
          </a:solidFill>
          <a:ln w="9525">
            <a:solidFill>
              <a:schemeClr val="bg2"/>
            </a:solidFill>
            <a:round/>
            <a:headEnd/>
            <a:tailEnd/>
          </a:ln>
        </p:spPr>
        <p:txBody>
          <a:bodyPr/>
          <a:lstStyle/>
          <a:p>
            <a:endParaRPr lang="en-US" dirty="0"/>
          </a:p>
        </p:txBody>
      </p:sp>
      <p:sp>
        <p:nvSpPr>
          <p:cNvPr id="19734" name="Freeform 277"/>
          <p:cNvSpPr>
            <a:spLocks noChangeAspect="1"/>
          </p:cNvSpPr>
          <p:nvPr/>
        </p:nvSpPr>
        <p:spPr bwMode="auto">
          <a:xfrm>
            <a:off x="4394200" y="2636838"/>
            <a:ext cx="12700" cy="14287"/>
          </a:xfrm>
          <a:custGeom>
            <a:avLst/>
            <a:gdLst>
              <a:gd name="T0" fmla="*/ 0 w 17"/>
              <a:gd name="T1" fmla="*/ 14287 h 15"/>
              <a:gd name="T2" fmla="*/ 0 w 17"/>
              <a:gd name="T3" fmla="*/ 14287 h 15"/>
              <a:gd name="T4" fmla="*/ 0 w 17"/>
              <a:gd name="T5" fmla="*/ 0 h 15"/>
              <a:gd name="T6" fmla="*/ 12700 w 17"/>
              <a:gd name="T7" fmla="*/ 0 h 15"/>
              <a:gd name="T8" fmla="*/ 12700 w 17"/>
              <a:gd name="T9" fmla="*/ 14287 h 15"/>
              <a:gd name="T10" fmla="*/ 0 w 17"/>
              <a:gd name="T11" fmla="*/ 142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noFill/>
          <a:ln w="9525">
            <a:solidFill>
              <a:schemeClr val="bg2"/>
            </a:solidFill>
            <a:prstDash val="solid"/>
            <a:round/>
            <a:headEnd/>
            <a:tailEnd/>
          </a:ln>
        </p:spPr>
        <p:txBody>
          <a:bodyPr/>
          <a:lstStyle/>
          <a:p>
            <a:endParaRPr lang="en-US" dirty="0"/>
          </a:p>
        </p:txBody>
      </p:sp>
      <p:sp>
        <p:nvSpPr>
          <p:cNvPr id="19735" name="Freeform 278"/>
          <p:cNvSpPr>
            <a:spLocks noChangeAspect="1"/>
          </p:cNvSpPr>
          <p:nvPr/>
        </p:nvSpPr>
        <p:spPr bwMode="auto">
          <a:xfrm>
            <a:off x="4575175" y="2735263"/>
            <a:ext cx="55563" cy="42862"/>
          </a:xfrm>
          <a:custGeom>
            <a:avLst/>
            <a:gdLst>
              <a:gd name="T0" fmla="*/ 55563 w 70"/>
              <a:gd name="T1" fmla="*/ 15180 h 48"/>
              <a:gd name="T2" fmla="*/ 55563 w 70"/>
              <a:gd name="T3" fmla="*/ 15180 h 48"/>
              <a:gd name="T4" fmla="*/ 41275 w 70"/>
              <a:gd name="T5" fmla="*/ 15180 h 48"/>
              <a:gd name="T6" fmla="*/ 27782 w 70"/>
              <a:gd name="T7" fmla="*/ 42862 h 48"/>
              <a:gd name="T8" fmla="*/ 14288 w 70"/>
              <a:gd name="T9" fmla="*/ 42862 h 48"/>
              <a:gd name="T10" fmla="*/ 0 w 70"/>
              <a:gd name="T11" fmla="*/ 42862 h 48"/>
              <a:gd name="T12" fmla="*/ 0 w 70"/>
              <a:gd name="T13" fmla="*/ 29468 h 48"/>
              <a:gd name="T14" fmla="*/ 0 w 70"/>
              <a:gd name="T15" fmla="*/ 15180 h 48"/>
              <a:gd name="T16" fmla="*/ 55563 w 70"/>
              <a:gd name="T17" fmla="*/ 0 h 48"/>
              <a:gd name="T18" fmla="*/ 55563 w 70"/>
              <a:gd name="T19" fmla="*/ 1518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chemeClr val="bg1"/>
          </a:solidFill>
          <a:ln w="9525">
            <a:solidFill>
              <a:schemeClr val="bg2"/>
            </a:solidFill>
            <a:prstDash val="solid"/>
            <a:round/>
            <a:headEnd/>
            <a:tailEnd/>
          </a:ln>
        </p:spPr>
        <p:txBody>
          <a:bodyPr/>
          <a:lstStyle/>
          <a:p>
            <a:endParaRPr lang="en-US" dirty="0"/>
          </a:p>
        </p:txBody>
      </p:sp>
      <p:sp>
        <p:nvSpPr>
          <p:cNvPr id="19736" name="Freeform 279"/>
          <p:cNvSpPr>
            <a:spLocks noChangeAspect="1"/>
          </p:cNvSpPr>
          <p:nvPr/>
        </p:nvSpPr>
        <p:spPr bwMode="auto">
          <a:xfrm>
            <a:off x="4725988" y="1704975"/>
            <a:ext cx="231775" cy="536575"/>
          </a:xfrm>
          <a:custGeom>
            <a:avLst/>
            <a:gdLst>
              <a:gd name="T0" fmla="*/ 177379 w 294"/>
              <a:gd name="T1" fmla="*/ 71367 h 609"/>
              <a:gd name="T2" fmla="*/ 177379 w 294"/>
              <a:gd name="T3" fmla="*/ 71367 h 609"/>
              <a:gd name="T4" fmla="*/ 177379 w 294"/>
              <a:gd name="T5" fmla="*/ 113659 h 609"/>
              <a:gd name="T6" fmla="*/ 204971 w 294"/>
              <a:gd name="T7" fmla="*/ 140972 h 609"/>
              <a:gd name="T8" fmla="*/ 190781 w 294"/>
              <a:gd name="T9" fmla="*/ 183264 h 609"/>
              <a:gd name="T10" fmla="*/ 204971 w 294"/>
              <a:gd name="T11" fmla="*/ 253750 h 609"/>
              <a:gd name="T12" fmla="*/ 190781 w 294"/>
              <a:gd name="T13" fmla="*/ 296041 h 609"/>
              <a:gd name="T14" fmla="*/ 218373 w 294"/>
              <a:gd name="T15" fmla="*/ 338333 h 609"/>
              <a:gd name="T16" fmla="*/ 204971 w 294"/>
              <a:gd name="T17" fmla="*/ 367408 h 609"/>
              <a:gd name="T18" fmla="*/ 231775 w 294"/>
              <a:gd name="T19" fmla="*/ 393841 h 609"/>
              <a:gd name="T20" fmla="*/ 231775 w 294"/>
              <a:gd name="T21" fmla="*/ 409700 h 609"/>
              <a:gd name="T22" fmla="*/ 190781 w 294"/>
              <a:gd name="T23" fmla="*/ 478424 h 609"/>
              <a:gd name="T24" fmla="*/ 150575 w 294"/>
              <a:gd name="T25" fmla="*/ 507500 h 609"/>
              <a:gd name="T26" fmla="*/ 136385 w 294"/>
              <a:gd name="T27" fmla="*/ 507500 h 609"/>
              <a:gd name="T28" fmla="*/ 68586 w 294"/>
              <a:gd name="T29" fmla="*/ 536575 h 609"/>
              <a:gd name="T30" fmla="*/ 14190 w 294"/>
              <a:gd name="T31" fmla="*/ 507500 h 609"/>
              <a:gd name="T32" fmla="*/ 27592 w 294"/>
              <a:gd name="T33" fmla="*/ 465208 h 609"/>
              <a:gd name="T34" fmla="*/ 14190 w 294"/>
              <a:gd name="T35" fmla="*/ 422916 h 609"/>
              <a:gd name="T36" fmla="*/ 27592 w 294"/>
              <a:gd name="T37" fmla="*/ 393841 h 609"/>
              <a:gd name="T38" fmla="*/ 81988 w 294"/>
              <a:gd name="T39" fmla="*/ 310139 h 609"/>
              <a:gd name="T40" fmla="*/ 95390 w 294"/>
              <a:gd name="T41" fmla="*/ 296041 h 609"/>
              <a:gd name="T42" fmla="*/ 95390 w 294"/>
              <a:gd name="T43" fmla="*/ 267847 h 609"/>
              <a:gd name="T44" fmla="*/ 81988 w 294"/>
              <a:gd name="T45" fmla="*/ 253750 h 609"/>
              <a:gd name="T46" fmla="*/ 68586 w 294"/>
              <a:gd name="T47" fmla="*/ 253750 h 609"/>
              <a:gd name="T48" fmla="*/ 55185 w 294"/>
              <a:gd name="T49" fmla="*/ 126875 h 609"/>
              <a:gd name="T50" fmla="*/ 0 w 294"/>
              <a:gd name="T51" fmla="*/ 71367 h 609"/>
              <a:gd name="T52" fmla="*/ 14190 w 294"/>
              <a:gd name="T53" fmla="*/ 56389 h 609"/>
              <a:gd name="T54" fmla="*/ 40994 w 294"/>
              <a:gd name="T55" fmla="*/ 84583 h 609"/>
              <a:gd name="T56" fmla="*/ 55185 w 294"/>
              <a:gd name="T57" fmla="*/ 84583 h 609"/>
              <a:gd name="T58" fmla="*/ 68586 w 294"/>
              <a:gd name="T59" fmla="*/ 84583 h 609"/>
              <a:gd name="T60" fmla="*/ 95390 w 294"/>
              <a:gd name="T61" fmla="*/ 84583 h 609"/>
              <a:gd name="T62" fmla="*/ 109581 w 294"/>
              <a:gd name="T63" fmla="*/ 71367 h 609"/>
              <a:gd name="T64" fmla="*/ 122983 w 294"/>
              <a:gd name="T65" fmla="*/ 14097 h 609"/>
              <a:gd name="T66" fmla="*/ 150575 w 294"/>
              <a:gd name="T67" fmla="*/ 0 h 609"/>
              <a:gd name="T68" fmla="*/ 190781 w 294"/>
              <a:gd name="T69" fmla="*/ 29075 h 609"/>
              <a:gd name="T70" fmla="*/ 177379 w 294"/>
              <a:gd name="T71" fmla="*/ 71367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chemeClr val="bg1"/>
          </a:solidFill>
          <a:ln w="9525">
            <a:solidFill>
              <a:schemeClr val="bg2"/>
            </a:solidFill>
            <a:round/>
            <a:headEnd/>
            <a:tailEnd/>
          </a:ln>
        </p:spPr>
        <p:txBody>
          <a:bodyPr/>
          <a:lstStyle/>
          <a:p>
            <a:endParaRPr lang="en-US" dirty="0"/>
          </a:p>
        </p:txBody>
      </p:sp>
      <p:sp>
        <p:nvSpPr>
          <p:cNvPr id="19737" name="Freeform 280"/>
          <p:cNvSpPr>
            <a:spLocks noChangeAspect="1"/>
          </p:cNvSpPr>
          <p:nvPr/>
        </p:nvSpPr>
        <p:spPr bwMode="auto">
          <a:xfrm>
            <a:off x="4381500" y="1633538"/>
            <a:ext cx="576263" cy="693737"/>
          </a:xfrm>
          <a:custGeom>
            <a:avLst/>
            <a:gdLst>
              <a:gd name="T0" fmla="*/ 135963 w 729"/>
              <a:gd name="T1" fmla="*/ 664574 h 785"/>
              <a:gd name="T2" fmla="*/ 122525 w 729"/>
              <a:gd name="T3" fmla="*/ 635410 h 785"/>
              <a:gd name="T4" fmla="*/ 109087 w 729"/>
              <a:gd name="T5" fmla="*/ 651317 h 785"/>
              <a:gd name="T6" fmla="*/ 41105 w 729"/>
              <a:gd name="T7" fmla="*/ 693737 h 785"/>
              <a:gd name="T8" fmla="*/ 26876 w 729"/>
              <a:gd name="T9" fmla="*/ 635410 h 785"/>
              <a:gd name="T10" fmla="*/ 13438 w 729"/>
              <a:gd name="T11" fmla="*/ 635410 h 785"/>
              <a:gd name="T12" fmla="*/ 13438 w 729"/>
              <a:gd name="T13" fmla="*/ 592991 h 785"/>
              <a:gd name="T14" fmla="*/ 13438 w 729"/>
              <a:gd name="T15" fmla="*/ 537315 h 785"/>
              <a:gd name="T16" fmla="*/ 54543 w 729"/>
              <a:gd name="T17" fmla="*/ 481639 h 785"/>
              <a:gd name="T18" fmla="*/ 95649 w 729"/>
              <a:gd name="T19" fmla="*/ 439219 h 785"/>
              <a:gd name="T20" fmla="*/ 135963 w 729"/>
              <a:gd name="T21" fmla="*/ 381776 h 785"/>
              <a:gd name="T22" fmla="*/ 191297 w 729"/>
              <a:gd name="T23" fmla="*/ 282797 h 785"/>
              <a:gd name="T24" fmla="*/ 245841 w 729"/>
              <a:gd name="T25" fmla="*/ 184702 h 785"/>
              <a:gd name="T26" fmla="*/ 177068 w 729"/>
              <a:gd name="T27" fmla="*/ 212098 h 785"/>
              <a:gd name="T28" fmla="*/ 218174 w 729"/>
              <a:gd name="T29" fmla="*/ 184702 h 785"/>
              <a:gd name="T30" fmla="*/ 245841 w 729"/>
              <a:gd name="T31" fmla="*/ 127259 h 785"/>
              <a:gd name="T32" fmla="*/ 259279 w 729"/>
              <a:gd name="T33" fmla="*/ 142282 h 785"/>
              <a:gd name="T34" fmla="*/ 274298 w 729"/>
              <a:gd name="T35" fmla="*/ 142282 h 785"/>
              <a:gd name="T36" fmla="*/ 259279 w 729"/>
              <a:gd name="T37" fmla="*/ 113119 h 785"/>
              <a:gd name="T38" fmla="*/ 301965 w 729"/>
              <a:gd name="T39" fmla="*/ 70699 h 785"/>
              <a:gd name="T40" fmla="*/ 356508 w 729"/>
              <a:gd name="T41" fmla="*/ 57443 h 785"/>
              <a:gd name="T42" fmla="*/ 424490 w 729"/>
              <a:gd name="T43" fmla="*/ 28280 h 785"/>
              <a:gd name="T44" fmla="*/ 452157 w 729"/>
              <a:gd name="T45" fmla="*/ 0 h 785"/>
              <a:gd name="T46" fmla="*/ 465595 w 729"/>
              <a:gd name="T47" fmla="*/ 15024 h 785"/>
              <a:gd name="T48" fmla="*/ 493262 w 729"/>
              <a:gd name="T49" fmla="*/ 0 h 785"/>
              <a:gd name="T50" fmla="*/ 576263 w 729"/>
              <a:gd name="T51" fmla="*/ 57443 h 785"/>
              <a:gd name="T52" fmla="*/ 520139 w 729"/>
              <a:gd name="T53" fmla="*/ 70699 h 785"/>
              <a:gd name="T54" fmla="*/ 562825 w 729"/>
              <a:gd name="T55" fmla="*/ 99863 h 785"/>
              <a:gd name="T56" fmla="*/ 549387 w 729"/>
              <a:gd name="T57" fmla="*/ 113119 h 785"/>
              <a:gd name="T58" fmla="*/ 535158 w 729"/>
              <a:gd name="T59" fmla="*/ 99863 h 785"/>
              <a:gd name="T60" fmla="*/ 465595 w 729"/>
              <a:gd name="T61" fmla="*/ 84839 h 785"/>
              <a:gd name="T62" fmla="*/ 438719 w 729"/>
              <a:gd name="T63" fmla="*/ 155538 h 785"/>
              <a:gd name="T64" fmla="*/ 397614 w 729"/>
              <a:gd name="T65" fmla="*/ 155538 h 785"/>
              <a:gd name="T66" fmla="*/ 356508 w 729"/>
              <a:gd name="T67" fmla="*/ 127259 h 785"/>
              <a:gd name="T68" fmla="*/ 328841 w 729"/>
              <a:gd name="T69" fmla="*/ 142282 h 785"/>
              <a:gd name="T70" fmla="*/ 301965 w 729"/>
              <a:gd name="T71" fmla="*/ 169678 h 785"/>
              <a:gd name="T72" fmla="*/ 287736 w 729"/>
              <a:gd name="T73" fmla="*/ 197958 h 785"/>
              <a:gd name="T74" fmla="*/ 259279 w 729"/>
              <a:gd name="T75" fmla="*/ 212098 h 785"/>
              <a:gd name="T76" fmla="*/ 245841 w 729"/>
              <a:gd name="T77" fmla="*/ 254518 h 785"/>
              <a:gd name="T78" fmla="*/ 218174 w 729"/>
              <a:gd name="T79" fmla="*/ 311961 h 785"/>
              <a:gd name="T80" fmla="*/ 191297 w 729"/>
              <a:gd name="T81" fmla="*/ 381776 h 785"/>
              <a:gd name="T82" fmla="*/ 177068 w 729"/>
              <a:gd name="T83" fmla="*/ 423312 h 785"/>
              <a:gd name="T84" fmla="*/ 150192 w 729"/>
              <a:gd name="T85" fmla="*/ 494895 h 785"/>
              <a:gd name="T86" fmla="*/ 163630 w 729"/>
              <a:gd name="T87" fmla="*/ 566478 h 785"/>
              <a:gd name="T88" fmla="*/ 150192 w 729"/>
              <a:gd name="T89" fmla="*/ 622154 h 785"/>
              <a:gd name="T90" fmla="*/ 135963 w 729"/>
              <a:gd name="T91" fmla="*/ 664574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chemeClr val="bg1"/>
          </a:solidFill>
          <a:ln w="9525">
            <a:solidFill>
              <a:schemeClr val="bg2"/>
            </a:solidFill>
            <a:round/>
            <a:headEnd/>
            <a:tailEnd/>
          </a:ln>
        </p:spPr>
        <p:txBody>
          <a:bodyPr/>
          <a:lstStyle/>
          <a:p>
            <a:endParaRPr lang="en-US" dirty="0"/>
          </a:p>
        </p:txBody>
      </p:sp>
      <p:sp>
        <p:nvSpPr>
          <p:cNvPr id="19738" name="Freeform 281"/>
          <p:cNvSpPr>
            <a:spLocks noChangeAspect="1"/>
          </p:cNvSpPr>
          <p:nvPr/>
        </p:nvSpPr>
        <p:spPr bwMode="auto">
          <a:xfrm>
            <a:off x="4518025" y="1776413"/>
            <a:ext cx="274638" cy="661987"/>
          </a:xfrm>
          <a:custGeom>
            <a:avLst/>
            <a:gdLst>
              <a:gd name="T0" fmla="*/ 0 w 346"/>
              <a:gd name="T1" fmla="*/ 521646 h 750"/>
              <a:gd name="T2" fmla="*/ 0 w 346"/>
              <a:gd name="T3" fmla="*/ 521646 h 750"/>
              <a:gd name="T4" fmla="*/ 14288 w 346"/>
              <a:gd name="T5" fmla="*/ 521646 h 750"/>
              <a:gd name="T6" fmla="*/ 14288 w 346"/>
              <a:gd name="T7" fmla="*/ 479279 h 750"/>
              <a:gd name="T8" fmla="*/ 27781 w 346"/>
              <a:gd name="T9" fmla="*/ 466039 h 750"/>
              <a:gd name="T10" fmla="*/ 27781 w 346"/>
              <a:gd name="T11" fmla="*/ 423672 h 750"/>
              <a:gd name="T12" fmla="*/ 27781 w 346"/>
              <a:gd name="T13" fmla="*/ 407784 h 750"/>
              <a:gd name="T14" fmla="*/ 14288 w 346"/>
              <a:gd name="T15" fmla="*/ 352177 h 750"/>
              <a:gd name="T16" fmla="*/ 27781 w 346"/>
              <a:gd name="T17" fmla="*/ 296570 h 750"/>
              <a:gd name="T18" fmla="*/ 41275 w 346"/>
              <a:gd name="T19" fmla="*/ 280683 h 750"/>
              <a:gd name="T20" fmla="*/ 69056 w 346"/>
              <a:gd name="T21" fmla="*/ 267443 h 750"/>
              <a:gd name="T22" fmla="*/ 55563 w 346"/>
              <a:gd name="T23" fmla="*/ 239198 h 750"/>
              <a:gd name="T24" fmla="*/ 69056 w 346"/>
              <a:gd name="T25" fmla="*/ 211836 h 750"/>
              <a:gd name="T26" fmla="*/ 82550 w 346"/>
              <a:gd name="T27" fmla="*/ 169469 h 750"/>
              <a:gd name="T28" fmla="*/ 110331 w 346"/>
              <a:gd name="T29" fmla="*/ 127102 h 750"/>
              <a:gd name="T30" fmla="*/ 110331 w 346"/>
              <a:gd name="T31" fmla="*/ 112096 h 750"/>
              <a:gd name="T32" fmla="*/ 110331 w 346"/>
              <a:gd name="T33" fmla="*/ 97974 h 750"/>
              <a:gd name="T34" fmla="*/ 123825 w 346"/>
              <a:gd name="T35" fmla="*/ 69729 h 750"/>
              <a:gd name="T36" fmla="*/ 137319 w 346"/>
              <a:gd name="T37" fmla="*/ 55607 h 750"/>
              <a:gd name="T38" fmla="*/ 150813 w 346"/>
              <a:gd name="T39" fmla="*/ 55607 h 750"/>
              <a:gd name="T40" fmla="*/ 150813 w 346"/>
              <a:gd name="T41" fmla="*/ 27362 h 750"/>
              <a:gd name="T42" fmla="*/ 165100 w 346"/>
              <a:gd name="T43" fmla="*/ 27362 h 750"/>
              <a:gd name="T44" fmla="*/ 192088 w 346"/>
              <a:gd name="T45" fmla="*/ 27362 h 750"/>
              <a:gd name="T46" fmla="*/ 192088 w 346"/>
              <a:gd name="T47" fmla="*/ 0 h 750"/>
              <a:gd name="T48" fmla="*/ 206375 w 346"/>
              <a:gd name="T49" fmla="*/ 0 h 750"/>
              <a:gd name="T50" fmla="*/ 261144 w 346"/>
              <a:gd name="T51" fmla="*/ 55607 h 750"/>
              <a:gd name="T52" fmla="*/ 274638 w 346"/>
              <a:gd name="T53" fmla="*/ 182708 h 750"/>
              <a:gd name="T54" fmla="*/ 246857 w 346"/>
              <a:gd name="T55" fmla="*/ 182708 h 750"/>
              <a:gd name="T56" fmla="*/ 219869 w 346"/>
              <a:gd name="T57" fmla="*/ 211836 h 750"/>
              <a:gd name="T58" fmla="*/ 219869 w 346"/>
              <a:gd name="T59" fmla="*/ 225076 h 750"/>
              <a:gd name="T60" fmla="*/ 219869 w 346"/>
              <a:gd name="T61" fmla="*/ 239198 h 750"/>
              <a:gd name="T62" fmla="*/ 233363 w 346"/>
              <a:gd name="T63" fmla="*/ 254203 h 750"/>
              <a:gd name="T64" fmla="*/ 206375 w 346"/>
              <a:gd name="T65" fmla="*/ 280683 h 750"/>
              <a:gd name="T66" fmla="*/ 165100 w 346"/>
              <a:gd name="T67" fmla="*/ 323050 h 750"/>
              <a:gd name="T68" fmla="*/ 137319 w 346"/>
              <a:gd name="T69" fmla="*/ 365417 h 750"/>
              <a:gd name="T70" fmla="*/ 137319 w 346"/>
              <a:gd name="T71" fmla="*/ 436911 h 750"/>
              <a:gd name="T72" fmla="*/ 165100 w 346"/>
              <a:gd name="T73" fmla="*/ 479279 h 750"/>
              <a:gd name="T74" fmla="*/ 150813 w 346"/>
              <a:gd name="T75" fmla="*/ 492518 h 750"/>
              <a:gd name="T76" fmla="*/ 150813 w 346"/>
              <a:gd name="T77" fmla="*/ 508406 h 750"/>
              <a:gd name="T78" fmla="*/ 123825 w 346"/>
              <a:gd name="T79" fmla="*/ 534886 h 750"/>
              <a:gd name="T80" fmla="*/ 110331 w 346"/>
              <a:gd name="T81" fmla="*/ 635508 h 750"/>
              <a:gd name="T82" fmla="*/ 82550 w 346"/>
              <a:gd name="T83" fmla="*/ 635508 h 750"/>
              <a:gd name="T84" fmla="*/ 69056 w 346"/>
              <a:gd name="T85" fmla="*/ 648747 h 750"/>
              <a:gd name="T86" fmla="*/ 69056 w 346"/>
              <a:gd name="T87" fmla="*/ 661987 h 750"/>
              <a:gd name="T88" fmla="*/ 41275 w 346"/>
              <a:gd name="T89" fmla="*/ 661987 h 750"/>
              <a:gd name="T90" fmla="*/ 27781 w 346"/>
              <a:gd name="T91" fmla="*/ 635508 h 750"/>
              <a:gd name="T92" fmla="*/ 41275 w 346"/>
              <a:gd name="T93" fmla="*/ 619620 h 750"/>
              <a:gd name="T94" fmla="*/ 27781 w 346"/>
              <a:gd name="T95" fmla="*/ 606380 h 750"/>
              <a:gd name="T96" fmla="*/ 0 w 346"/>
              <a:gd name="T97" fmla="*/ 521646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chemeClr val="bg1"/>
          </a:solidFill>
          <a:ln w="9525">
            <a:solidFill>
              <a:schemeClr val="bg2"/>
            </a:solidFill>
            <a:round/>
            <a:headEnd/>
            <a:tailEnd/>
          </a:ln>
        </p:spPr>
        <p:txBody>
          <a:bodyPr/>
          <a:lstStyle/>
          <a:p>
            <a:endParaRPr lang="en-US" dirty="0"/>
          </a:p>
        </p:txBody>
      </p:sp>
      <p:sp>
        <p:nvSpPr>
          <p:cNvPr id="19739" name="Freeform 282"/>
          <p:cNvSpPr>
            <a:spLocks noChangeAspect="1"/>
          </p:cNvSpPr>
          <p:nvPr/>
        </p:nvSpPr>
        <p:spPr bwMode="auto">
          <a:xfrm>
            <a:off x="4532313" y="4305300"/>
            <a:ext cx="287337" cy="282575"/>
          </a:xfrm>
          <a:custGeom>
            <a:avLst/>
            <a:gdLst>
              <a:gd name="T0" fmla="*/ 96044 w 362"/>
              <a:gd name="T1" fmla="*/ 282575 h 320"/>
              <a:gd name="T2" fmla="*/ 96044 w 362"/>
              <a:gd name="T3" fmla="*/ 282575 h 320"/>
              <a:gd name="T4" fmla="*/ 81756 w 362"/>
              <a:gd name="T5" fmla="*/ 254318 h 320"/>
              <a:gd name="T6" fmla="*/ 54769 w 362"/>
              <a:gd name="T7" fmla="*/ 169545 h 320"/>
              <a:gd name="T8" fmla="*/ 54769 w 362"/>
              <a:gd name="T9" fmla="*/ 127159 h 320"/>
              <a:gd name="T10" fmla="*/ 0 w 362"/>
              <a:gd name="T11" fmla="*/ 15012 h 320"/>
              <a:gd name="T12" fmla="*/ 0 w 362"/>
              <a:gd name="T13" fmla="*/ 0 h 320"/>
              <a:gd name="T14" fmla="*/ 26987 w 362"/>
              <a:gd name="T15" fmla="*/ 0 h 320"/>
              <a:gd name="T16" fmla="*/ 54769 w 362"/>
              <a:gd name="T17" fmla="*/ 0 h 320"/>
              <a:gd name="T18" fmla="*/ 136525 w 362"/>
              <a:gd name="T19" fmla="*/ 15012 h 320"/>
              <a:gd name="T20" fmla="*/ 164306 w 362"/>
              <a:gd name="T21" fmla="*/ 15012 h 320"/>
              <a:gd name="T22" fmla="*/ 219075 w 362"/>
              <a:gd name="T23" fmla="*/ 29141 h 320"/>
              <a:gd name="T24" fmla="*/ 246856 w 362"/>
              <a:gd name="T25" fmla="*/ 15012 h 320"/>
              <a:gd name="T26" fmla="*/ 260350 w 362"/>
              <a:gd name="T27" fmla="*/ 0 h 320"/>
              <a:gd name="T28" fmla="*/ 287337 w 362"/>
              <a:gd name="T29" fmla="*/ 15012 h 320"/>
              <a:gd name="T30" fmla="*/ 260350 w 362"/>
              <a:gd name="T31" fmla="*/ 42386 h 320"/>
              <a:gd name="T32" fmla="*/ 246856 w 362"/>
              <a:gd name="T33" fmla="*/ 29141 h 320"/>
              <a:gd name="T34" fmla="*/ 205581 w 362"/>
              <a:gd name="T35" fmla="*/ 29141 h 320"/>
              <a:gd name="T36" fmla="*/ 191293 w 362"/>
              <a:gd name="T37" fmla="*/ 113913 h 320"/>
              <a:gd name="T38" fmla="*/ 177800 w 362"/>
              <a:gd name="T39" fmla="*/ 127159 h 320"/>
              <a:gd name="T40" fmla="*/ 177800 w 362"/>
              <a:gd name="T41" fmla="*/ 184557 h 320"/>
              <a:gd name="T42" fmla="*/ 177800 w 362"/>
              <a:gd name="T43" fmla="*/ 269329 h 320"/>
              <a:gd name="T44" fmla="*/ 150812 w 362"/>
              <a:gd name="T45" fmla="*/ 282575 h 320"/>
              <a:gd name="T46" fmla="*/ 123031 w 362"/>
              <a:gd name="T47" fmla="*/ 282575 h 320"/>
              <a:gd name="T48" fmla="*/ 109537 w 362"/>
              <a:gd name="T49" fmla="*/ 269329 h 320"/>
              <a:gd name="T50" fmla="*/ 96044 w 362"/>
              <a:gd name="T51" fmla="*/ 282575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noFill/>
          <a:ln w="9525">
            <a:solidFill>
              <a:schemeClr val="bg2"/>
            </a:solidFill>
            <a:round/>
            <a:headEnd/>
            <a:tailEnd/>
          </a:ln>
        </p:spPr>
        <p:txBody>
          <a:bodyPr/>
          <a:lstStyle/>
          <a:p>
            <a:endParaRPr lang="en-US" dirty="0"/>
          </a:p>
        </p:txBody>
      </p:sp>
      <p:sp>
        <p:nvSpPr>
          <p:cNvPr id="19740" name="Freeform 283"/>
          <p:cNvSpPr>
            <a:spLocks noChangeAspect="1"/>
          </p:cNvSpPr>
          <p:nvPr/>
        </p:nvSpPr>
        <p:spPr bwMode="auto">
          <a:xfrm>
            <a:off x="4629150" y="4416425"/>
            <a:ext cx="354013" cy="327025"/>
          </a:xfrm>
          <a:custGeom>
            <a:avLst/>
            <a:gdLst>
              <a:gd name="T0" fmla="*/ 326540 w 451"/>
              <a:gd name="T1" fmla="*/ 13330 h 368"/>
              <a:gd name="T2" fmla="*/ 339884 w 451"/>
              <a:gd name="T3" fmla="*/ 98641 h 368"/>
              <a:gd name="T4" fmla="*/ 326540 w 451"/>
              <a:gd name="T5" fmla="*/ 98641 h 368"/>
              <a:gd name="T6" fmla="*/ 313196 w 451"/>
              <a:gd name="T7" fmla="*/ 113748 h 368"/>
              <a:gd name="T8" fmla="*/ 326540 w 451"/>
              <a:gd name="T9" fmla="*/ 127078 h 368"/>
              <a:gd name="T10" fmla="*/ 339884 w 451"/>
              <a:gd name="T11" fmla="*/ 113748 h 368"/>
              <a:gd name="T12" fmla="*/ 354013 w 451"/>
              <a:gd name="T13" fmla="*/ 113748 h 368"/>
              <a:gd name="T14" fmla="*/ 354013 w 451"/>
              <a:gd name="T15" fmla="*/ 127078 h 368"/>
              <a:gd name="T16" fmla="*/ 354013 w 451"/>
              <a:gd name="T17" fmla="*/ 169733 h 368"/>
              <a:gd name="T18" fmla="*/ 326540 w 451"/>
              <a:gd name="T19" fmla="*/ 183952 h 368"/>
              <a:gd name="T20" fmla="*/ 299851 w 451"/>
              <a:gd name="T21" fmla="*/ 226607 h 368"/>
              <a:gd name="T22" fmla="*/ 259034 w 451"/>
              <a:gd name="T23" fmla="*/ 269262 h 368"/>
              <a:gd name="T24" fmla="*/ 231561 w 451"/>
              <a:gd name="T25" fmla="*/ 297699 h 368"/>
              <a:gd name="T26" fmla="*/ 190743 w 451"/>
              <a:gd name="T27" fmla="*/ 311918 h 368"/>
              <a:gd name="T28" fmla="*/ 164055 w 451"/>
              <a:gd name="T29" fmla="*/ 311918 h 368"/>
              <a:gd name="T30" fmla="*/ 123237 w 451"/>
              <a:gd name="T31" fmla="*/ 311918 h 368"/>
              <a:gd name="T32" fmla="*/ 80850 w 451"/>
              <a:gd name="T33" fmla="*/ 327025 h 368"/>
              <a:gd name="T34" fmla="*/ 67506 w 451"/>
              <a:gd name="T35" fmla="*/ 327025 h 368"/>
              <a:gd name="T36" fmla="*/ 54162 w 451"/>
              <a:gd name="T37" fmla="*/ 311918 h 368"/>
              <a:gd name="T38" fmla="*/ 40033 w 451"/>
              <a:gd name="T39" fmla="*/ 269262 h 368"/>
              <a:gd name="T40" fmla="*/ 40033 w 451"/>
              <a:gd name="T41" fmla="*/ 255044 h 368"/>
              <a:gd name="T42" fmla="*/ 13344 w 451"/>
              <a:gd name="T43" fmla="*/ 169733 h 368"/>
              <a:gd name="T44" fmla="*/ 0 w 451"/>
              <a:gd name="T45" fmla="*/ 169733 h 368"/>
              <a:gd name="T46" fmla="*/ 13344 w 451"/>
              <a:gd name="T47" fmla="*/ 156403 h 368"/>
              <a:gd name="T48" fmla="*/ 26688 w 451"/>
              <a:gd name="T49" fmla="*/ 169733 h 368"/>
              <a:gd name="T50" fmla="*/ 54162 w 451"/>
              <a:gd name="T51" fmla="*/ 169733 h 368"/>
              <a:gd name="T52" fmla="*/ 80850 w 451"/>
              <a:gd name="T53" fmla="*/ 156403 h 368"/>
              <a:gd name="T54" fmla="*/ 80850 w 451"/>
              <a:gd name="T55" fmla="*/ 71092 h 368"/>
              <a:gd name="T56" fmla="*/ 94979 w 451"/>
              <a:gd name="T57" fmla="*/ 85311 h 368"/>
              <a:gd name="T58" fmla="*/ 94979 w 451"/>
              <a:gd name="T59" fmla="*/ 113748 h 368"/>
              <a:gd name="T60" fmla="*/ 123237 w 451"/>
              <a:gd name="T61" fmla="*/ 113748 h 368"/>
              <a:gd name="T62" fmla="*/ 164055 w 451"/>
              <a:gd name="T63" fmla="*/ 85311 h 368"/>
              <a:gd name="T64" fmla="*/ 177399 w 451"/>
              <a:gd name="T65" fmla="*/ 98641 h 368"/>
              <a:gd name="T66" fmla="*/ 190743 w 451"/>
              <a:gd name="T67" fmla="*/ 85311 h 368"/>
              <a:gd name="T68" fmla="*/ 245690 w 451"/>
              <a:gd name="T69" fmla="*/ 28437 h 368"/>
              <a:gd name="T70" fmla="*/ 285722 w 451"/>
              <a:gd name="T71" fmla="*/ 0 h 368"/>
              <a:gd name="T72" fmla="*/ 313196 w 451"/>
              <a:gd name="T73" fmla="*/ 13330 h 368"/>
              <a:gd name="T74" fmla="*/ 326540 w 451"/>
              <a:gd name="T75" fmla="*/ 13330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noFill/>
          <a:ln w="9525">
            <a:solidFill>
              <a:schemeClr val="bg2"/>
            </a:solidFill>
            <a:round/>
            <a:headEnd/>
            <a:tailEnd/>
          </a:ln>
        </p:spPr>
        <p:txBody>
          <a:bodyPr/>
          <a:lstStyle/>
          <a:p>
            <a:endParaRPr lang="en-US" dirty="0"/>
          </a:p>
        </p:txBody>
      </p:sp>
      <p:sp>
        <p:nvSpPr>
          <p:cNvPr id="19741" name="Freeform 284"/>
          <p:cNvSpPr>
            <a:spLocks noChangeAspect="1"/>
          </p:cNvSpPr>
          <p:nvPr/>
        </p:nvSpPr>
        <p:spPr bwMode="auto">
          <a:xfrm>
            <a:off x="4710113" y="4318000"/>
            <a:ext cx="204787" cy="212725"/>
          </a:xfrm>
          <a:custGeom>
            <a:avLst/>
            <a:gdLst>
              <a:gd name="T0" fmla="*/ 0 w 261"/>
              <a:gd name="T1" fmla="*/ 170180 h 240"/>
              <a:gd name="T2" fmla="*/ 0 w 261"/>
              <a:gd name="T3" fmla="*/ 170180 h 240"/>
              <a:gd name="T4" fmla="*/ 14123 w 261"/>
              <a:gd name="T5" fmla="*/ 184362 h 240"/>
              <a:gd name="T6" fmla="*/ 14123 w 261"/>
              <a:gd name="T7" fmla="*/ 212725 h 240"/>
              <a:gd name="T8" fmla="*/ 40800 w 261"/>
              <a:gd name="T9" fmla="*/ 212725 h 240"/>
              <a:gd name="T10" fmla="*/ 81601 w 261"/>
              <a:gd name="T11" fmla="*/ 184362 h 240"/>
              <a:gd name="T12" fmla="*/ 94940 w 261"/>
              <a:gd name="T13" fmla="*/ 197657 h 240"/>
              <a:gd name="T14" fmla="*/ 109063 w 261"/>
              <a:gd name="T15" fmla="*/ 184362 h 240"/>
              <a:gd name="T16" fmla="*/ 164771 w 261"/>
              <a:gd name="T17" fmla="*/ 127635 h 240"/>
              <a:gd name="T18" fmla="*/ 204787 w 261"/>
              <a:gd name="T19" fmla="*/ 99272 h 240"/>
              <a:gd name="T20" fmla="*/ 178110 w 261"/>
              <a:gd name="T21" fmla="*/ 99272 h 240"/>
              <a:gd name="T22" fmla="*/ 164771 w 261"/>
              <a:gd name="T23" fmla="*/ 70022 h 240"/>
              <a:gd name="T24" fmla="*/ 135740 w 261"/>
              <a:gd name="T25" fmla="*/ 42545 h 240"/>
              <a:gd name="T26" fmla="*/ 109063 w 261"/>
              <a:gd name="T27" fmla="*/ 0 h 240"/>
              <a:gd name="T28" fmla="*/ 81601 w 261"/>
              <a:gd name="T29" fmla="*/ 27477 h 240"/>
              <a:gd name="T30" fmla="*/ 68262 w 261"/>
              <a:gd name="T31" fmla="*/ 14182 h 240"/>
              <a:gd name="T32" fmla="*/ 27462 w 261"/>
              <a:gd name="T33" fmla="*/ 14182 h 240"/>
              <a:gd name="T34" fmla="*/ 14123 w 261"/>
              <a:gd name="T35" fmla="*/ 99272 h 240"/>
              <a:gd name="T36" fmla="*/ 0 w 261"/>
              <a:gd name="T37" fmla="*/ 112567 h 240"/>
              <a:gd name="T38" fmla="*/ 0 w 261"/>
              <a:gd name="T39" fmla="*/ 17018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noFill/>
          <a:ln w="9525">
            <a:solidFill>
              <a:schemeClr val="bg2"/>
            </a:solidFill>
            <a:round/>
            <a:headEnd/>
            <a:tailEnd/>
          </a:ln>
        </p:spPr>
        <p:txBody>
          <a:bodyPr/>
          <a:lstStyle/>
          <a:p>
            <a:endParaRPr lang="en-US" dirty="0"/>
          </a:p>
        </p:txBody>
      </p:sp>
      <p:sp>
        <p:nvSpPr>
          <p:cNvPr id="19742" name="Freeform 285"/>
          <p:cNvSpPr>
            <a:spLocks noChangeAspect="1"/>
          </p:cNvSpPr>
          <p:nvPr/>
        </p:nvSpPr>
        <p:spPr bwMode="auto">
          <a:xfrm>
            <a:off x="4819650" y="4275138"/>
            <a:ext cx="177800" cy="155575"/>
          </a:xfrm>
          <a:custGeom>
            <a:avLst/>
            <a:gdLst>
              <a:gd name="T0" fmla="*/ 109841 w 225"/>
              <a:gd name="T1" fmla="*/ 0 h 175"/>
              <a:gd name="T2" fmla="*/ 109841 w 225"/>
              <a:gd name="T3" fmla="*/ 0 h 175"/>
              <a:gd name="T4" fmla="*/ 82183 w 225"/>
              <a:gd name="T5" fmla="*/ 0 h 175"/>
              <a:gd name="T6" fmla="*/ 82183 w 225"/>
              <a:gd name="T7" fmla="*/ 14224 h 175"/>
              <a:gd name="T8" fmla="*/ 41092 w 225"/>
              <a:gd name="T9" fmla="*/ 42672 h 175"/>
              <a:gd name="T10" fmla="*/ 0 w 225"/>
              <a:gd name="T11" fmla="*/ 42672 h 175"/>
              <a:gd name="T12" fmla="*/ 27658 w 225"/>
              <a:gd name="T13" fmla="*/ 85344 h 175"/>
              <a:gd name="T14" fmla="*/ 55316 w 225"/>
              <a:gd name="T15" fmla="*/ 112903 h 175"/>
              <a:gd name="T16" fmla="*/ 68749 w 225"/>
              <a:gd name="T17" fmla="*/ 142240 h 175"/>
              <a:gd name="T18" fmla="*/ 95617 w 225"/>
              <a:gd name="T19" fmla="*/ 142240 h 175"/>
              <a:gd name="T20" fmla="*/ 123275 w 225"/>
              <a:gd name="T21" fmla="*/ 155575 h 175"/>
              <a:gd name="T22" fmla="*/ 136708 w 225"/>
              <a:gd name="T23" fmla="*/ 155575 h 175"/>
              <a:gd name="T24" fmla="*/ 164366 w 225"/>
              <a:gd name="T25" fmla="*/ 99568 h 175"/>
              <a:gd name="T26" fmla="*/ 177800 w 225"/>
              <a:gd name="T27" fmla="*/ 42672 h 175"/>
              <a:gd name="T28" fmla="*/ 164366 w 225"/>
              <a:gd name="T29" fmla="*/ 14224 h 175"/>
              <a:gd name="T30" fmla="*/ 136708 w 225"/>
              <a:gd name="T31" fmla="*/ 0 h 175"/>
              <a:gd name="T32" fmla="*/ 109841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noFill/>
          <a:ln w="9525">
            <a:solidFill>
              <a:schemeClr val="bg2"/>
            </a:solidFill>
            <a:round/>
            <a:headEnd/>
            <a:tailEnd/>
          </a:ln>
        </p:spPr>
        <p:txBody>
          <a:bodyPr/>
          <a:lstStyle/>
          <a:p>
            <a:endParaRPr lang="en-US" dirty="0"/>
          </a:p>
        </p:txBody>
      </p:sp>
      <p:sp>
        <p:nvSpPr>
          <p:cNvPr id="19743" name="Freeform 286"/>
          <p:cNvSpPr>
            <a:spLocks noChangeAspect="1"/>
          </p:cNvSpPr>
          <p:nvPr/>
        </p:nvSpPr>
        <p:spPr bwMode="auto">
          <a:xfrm>
            <a:off x="4929188" y="4149725"/>
            <a:ext cx="231775" cy="381000"/>
          </a:xfrm>
          <a:custGeom>
            <a:avLst/>
            <a:gdLst>
              <a:gd name="T0" fmla="*/ 54582 w 293"/>
              <a:gd name="T1" fmla="*/ 381000 h 432"/>
              <a:gd name="T2" fmla="*/ 54582 w 293"/>
              <a:gd name="T3" fmla="*/ 381000 h 432"/>
              <a:gd name="T4" fmla="*/ 54582 w 293"/>
              <a:gd name="T5" fmla="*/ 366007 h 432"/>
              <a:gd name="T6" fmla="*/ 54582 w 293"/>
              <a:gd name="T7" fmla="*/ 352778 h 432"/>
              <a:gd name="T8" fmla="*/ 109164 w 293"/>
              <a:gd name="T9" fmla="*/ 338667 h 432"/>
              <a:gd name="T10" fmla="*/ 122611 w 293"/>
              <a:gd name="T11" fmla="*/ 323674 h 432"/>
              <a:gd name="T12" fmla="*/ 122611 w 293"/>
              <a:gd name="T13" fmla="*/ 281340 h 432"/>
              <a:gd name="T14" fmla="*/ 95716 w 293"/>
              <a:gd name="T15" fmla="*/ 225778 h 432"/>
              <a:gd name="T16" fmla="*/ 150298 w 293"/>
              <a:gd name="T17" fmla="*/ 169333 h 432"/>
              <a:gd name="T18" fmla="*/ 191432 w 293"/>
              <a:gd name="T19" fmla="*/ 154340 h 432"/>
              <a:gd name="T20" fmla="*/ 231775 w 293"/>
              <a:gd name="T21" fmla="*/ 112007 h 432"/>
              <a:gd name="T22" fmla="*/ 218327 w 293"/>
              <a:gd name="T23" fmla="*/ 0 h 432"/>
              <a:gd name="T24" fmla="*/ 191432 w 293"/>
              <a:gd name="T25" fmla="*/ 27340 h 432"/>
              <a:gd name="T26" fmla="*/ 136059 w 293"/>
              <a:gd name="T27" fmla="*/ 27340 h 432"/>
              <a:gd name="T28" fmla="*/ 109164 w 293"/>
              <a:gd name="T29" fmla="*/ 27340 h 432"/>
              <a:gd name="T30" fmla="*/ 95716 w 293"/>
              <a:gd name="T31" fmla="*/ 42333 h 432"/>
              <a:gd name="T32" fmla="*/ 109164 w 293"/>
              <a:gd name="T33" fmla="*/ 69674 h 432"/>
              <a:gd name="T34" fmla="*/ 122611 w 293"/>
              <a:gd name="T35" fmla="*/ 98778 h 432"/>
              <a:gd name="T36" fmla="*/ 122611 w 293"/>
              <a:gd name="T37" fmla="*/ 127000 h 432"/>
              <a:gd name="T38" fmla="*/ 109164 w 293"/>
              <a:gd name="T39" fmla="*/ 154340 h 432"/>
              <a:gd name="T40" fmla="*/ 95716 w 293"/>
              <a:gd name="T41" fmla="*/ 127000 h 432"/>
              <a:gd name="T42" fmla="*/ 95716 w 293"/>
              <a:gd name="T43" fmla="*/ 98778 h 432"/>
              <a:gd name="T44" fmla="*/ 81477 w 293"/>
              <a:gd name="T45" fmla="*/ 98778 h 432"/>
              <a:gd name="T46" fmla="*/ 68030 w 293"/>
              <a:gd name="T47" fmla="*/ 84667 h 432"/>
              <a:gd name="T48" fmla="*/ 0 w 293"/>
              <a:gd name="T49" fmla="*/ 112007 h 432"/>
              <a:gd name="T50" fmla="*/ 0 w 293"/>
              <a:gd name="T51" fmla="*/ 127000 h 432"/>
              <a:gd name="T52" fmla="*/ 26895 w 293"/>
              <a:gd name="T53" fmla="*/ 127000 h 432"/>
              <a:gd name="T54" fmla="*/ 54582 w 293"/>
              <a:gd name="T55" fmla="*/ 141111 h 432"/>
              <a:gd name="T56" fmla="*/ 68030 w 293"/>
              <a:gd name="T57" fmla="*/ 169333 h 432"/>
              <a:gd name="T58" fmla="*/ 54582 w 293"/>
              <a:gd name="T59" fmla="*/ 225778 h 432"/>
              <a:gd name="T60" fmla="*/ 26895 w 293"/>
              <a:gd name="T61" fmla="*/ 281340 h 432"/>
              <a:gd name="T62" fmla="*/ 40343 w 293"/>
              <a:gd name="T63" fmla="*/ 366007 h 432"/>
              <a:gd name="T64" fmla="*/ 40343 w 293"/>
              <a:gd name="T65" fmla="*/ 381000 h 432"/>
              <a:gd name="T66" fmla="*/ 54582 w 293"/>
              <a:gd name="T67" fmla="*/ 381000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noFill/>
          <a:ln w="9525">
            <a:solidFill>
              <a:schemeClr val="bg2"/>
            </a:solidFill>
            <a:round/>
            <a:headEnd/>
            <a:tailEnd/>
          </a:ln>
        </p:spPr>
        <p:txBody>
          <a:bodyPr/>
          <a:lstStyle/>
          <a:p>
            <a:endParaRPr lang="en-US" dirty="0"/>
          </a:p>
        </p:txBody>
      </p:sp>
      <p:sp>
        <p:nvSpPr>
          <p:cNvPr id="19744" name="Freeform 287"/>
          <p:cNvSpPr>
            <a:spLocks noChangeAspect="1"/>
          </p:cNvSpPr>
          <p:nvPr/>
        </p:nvSpPr>
        <p:spPr bwMode="auto">
          <a:xfrm>
            <a:off x="4983163" y="4133850"/>
            <a:ext cx="68262" cy="171450"/>
          </a:xfrm>
          <a:custGeom>
            <a:avLst/>
            <a:gdLst>
              <a:gd name="T0" fmla="*/ 13494 w 86"/>
              <a:gd name="T1" fmla="*/ 100905 h 192"/>
              <a:gd name="T2" fmla="*/ 13494 w 86"/>
              <a:gd name="T3" fmla="*/ 100905 h 192"/>
              <a:gd name="T4" fmla="*/ 0 w 86"/>
              <a:gd name="T5" fmla="*/ 85725 h 192"/>
              <a:gd name="T6" fmla="*/ 13494 w 86"/>
              <a:gd name="T7" fmla="*/ 58043 h 192"/>
              <a:gd name="T8" fmla="*/ 13494 w 86"/>
              <a:gd name="T9" fmla="*/ 42863 h 192"/>
              <a:gd name="T10" fmla="*/ 26987 w 86"/>
              <a:gd name="T11" fmla="*/ 29468 h 192"/>
              <a:gd name="T12" fmla="*/ 13494 w 86"/>
              <a:gd name="T13" fmla="*/ 0 h 192"/>
              <a:gd name="T14" fmla="*/ 26987 w 86"/>
              <a:gd name="T15" fmla="*/ 0 h 192"/>
              <a:gd name="T16" fmla="*/ 41275 w 86"/>
              <a:gd name="T17" fmla="*/ 0 h 192"/>
              <a:gd name="T18" fmla="*/ 54768 w 86"/>
              <a:gd name="T19" fmla="*/ 42863 h 192"/>
              <a:gd name="T20" fmla="*/ 41275 w 86"/>
              <a:gd name="T21" fmla="*/ 58043 h 192"/>
              <a:gd name="T22" fmla="*/ 54768 w 86"/>
              <a:gd name="T23" fmla="*/ 85725 h 192"/>
              <a:gd name="T24" fmla="*/ 68262 w 86"/>
              <a:gd name="T25" fmla="*/ 115193 h 192"/>
              <a:gd name="T26" fmla="*/ 68262 w 86"/>
              <a:gd name="T27" fmla="*/ 143768 h 192"/>
              <a:gd name="T28" fmla="*/ 54768 w 86"/>
              <a:gd name="T29" fmla="*/ 171450 h 192"/>
              <a:gd name="T30" fmla="*/ 41275 w 86"/>
              <a:gd name="T31" fmla="*/ 143768 h 192"/>
              <a:gd name="T32" fmla="*/ 41275 w 86"/>
              <a:gd name="T33" fmla="*/ 115193 h 192"/>
              <a:gd name="T34" fmla="*/ 26987 w 86"/>
              <a:gd name="T35" fmla="*/ 115193 h 192"/>
              <a:gd name="T36" fmla="*/ 13494 w 86"/>
              <a:gd name="T37" fmla="*/ 10090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noFill/>
          <a:ln w="9525">
            <a:solidFill>
              <a:schemeClr val="bg2"/>
            </a:solidFill>
            <a:prstDash val="solid"/>
            <a:round/>
            <a:headEnd/>
            <a:tailEnd/>
          </a:ln>
        </p:spPr>
        <p:txBody>
          <a:bodyPr/>
          <a:lstStyle/>
          <a:p>
            <a:endParaRPr lang="en-US" dirty="0"/>
          </a:p>
        </p:txBody>
      </p:sp>
      <p:sp>
        <p:nvSpPr>
          <p:cNvPr id="19745" name="Freeform 288"/>
          <p:cNvSpPr>
            <a:spLocks noChangeAspect="1"/>
          </p:cNvSpPr>
          <p:nvPr/>
        </p:nvSpPr>
        <p:spPr bwMode="auto">
          <a:xfrm>
            <a:off x="4943475" y="4514850"/>
            <a:ext cx="25400" cy="30163"/>
          </a:xfrm>
          <a:custGeom>
            <a:avLst/>
            <a:gdLst>
              <a:gd name="T0" fmla="*/ 25400 w 34"/>
              <a:gd name="T1" fmla="*/ 16024 h 32"/>
              <a:gd name="T2" fmla="*/ 25400 w 34"/>
              <a:gd name="T3" fmla="*/ 16024 h 32"/>
              <a:gd name="T4" fmla="*/ 25400 w 34"/>
              <a:gd name="T5" fmla="*/ 0 h 32"/>
              <a:gd name="T6" fmla="*/ 12700 w 34"/>
              <a:gd name="T7" fmla="*/ 0 h 32"/>
              <a:gd name="T8" fmla="*/ 0 w 34"/>
              <a:gd name="T9" fmla="*/ 16024 h 32"/>
              <a:gd name="T10" fmla="*/ 12700 w 34"/>
              <a:gd name="T11" fmla="*/ 30163 h 32"/>
              <a:gd name="T12" fmla="*/ 25400 w 34"/>
              <a:gd name="T13" fmla="*/ 16024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noFill/>
          <a:ln w="9525">
            <a:solidFill>
              <a:schemeClr val="bg2"/>
            </a:solidFill>
            <a:prstDash val="solid"/>
            <a:round/>
            <a:headEnd/>
            <a:tailEnd/>
          </a:ln>
        </p:spPr>
        <p:txBody>
          <a:bodyPr/>
          <a:lstStyle/>
          <a:p>
            <a:endParaRPr lang="en-US" dirty="0"/>
          </a:p>
        </p:txBody>
      </p:sp>
      <p:sp>
        <p:nvSpPr>
          <p:cNvPr id="19746" name="Freeform 289"/>
          <p:cNvSpPr>
            <a:spLocks noChangeAspect="1"/>
          </p:cNvSpPr>
          <p:nvPr/>
        </p:nvSpPr>
        <p:spPr bwMode="auto">
          <a:xfrm>
            <a:off x="5218113" y="4191000"/>
            <a:ext cx="147637" cy="309563"/>
          </a:xfrm>
          <a:custGeom>
            <a:avLst/>
            <a:gdLst>
              <a:gd name="T0" fmla="*/ 0 w 189"/>
              <a:gd name="T1" fmla="*/ 225137 h 352"/>
              <a:gd name="T2" fmla="*/ 0 w 189"/>
              <a:gd name="T3" fmla="*/ 225137 h 352"/>
              <a:gd name="T4" fmla="*/ 14061 w 189"/>
              <a:gd name="T5" fmla="*/ 280541 h 352"/>
              <a:gd name="T6" fmla="*/ 27340 w 189"/>
              <a:gd name="T7" fmla="*/ 309563 h 352"/>
              <a:gd name="T8" fmla="*/ 67960 w 189"/>
              <a:gd name="T9" fmla="*/ 309563 h 352"/>
              <a:gd name="T10" fmla="*/ 81239 w 189"/>
              <a:gd name="T11" fmla="*/ 295492 h 352"/>
              <a:gd name="T12" fmla="*/ 121859 w 189"/>
              <a:gd name="T13" fmla="*/ 140710 h 352"/>
              <a:gd name="T14" fmla="*/ 135139 w 189"/>
              <a:gd name="T15" fmla="*/ 69476 h 352"/>
              <a:gd name="T16" fmla="*/ 147637 w 189"/>
              <a:gd name="T17" fmla="*/ 84426 h 352"/>
              <a:gd name="T18" fmla="*/ 147637 w 189"/>
              <a:gd name="T19" fmla="*/ 69476 h 352"/>
              <a:gd name="T20" fmla="*/ 135139 w 189"/>
              <a:gd name="T21" fmla="*/ 14071 h 352"/>
              <a:gd name="T22" fmla="*/ 121859 w 189"/>
              <a:gd name="T23" fmla="*/ 0 h 352"/>
              <a:gd name="T24" fmla="*/ 108580 w 189"/>
              <a:gd name="T25" fmla="*/ 27263 h 352"/>
              <a:gd name="T26" fmla="*/ 94519 w 189"/>
              <a:gd name="T27" fmla="*/ 27263 h 352"/>
              <a:gd name="T28" fmla="*/ 94519 w 189"/>
              <a:gd name="T29" fmla="*/ 56284 h 352"/>
              <a:gd name="T30" fmla="*/ 27340 w 189"/>
              <a:gd name="T31" fmla="*/ 98497 h 352"/>
              <a:gd name="T32" fmla="*/ 14061 w 189"/>
              <a:gd name="T33" fmla="*/ 126639 h 352"/>
              <a:gd name="T34" fmla="*/ 27340 w 189"/>
              <a:gd name="T35" fmla="*/ 182924 h 352"/>
              <a:gd name="T36" fmla="*/ 0 w 189"/>
              <a:gd name="T37" fmla="*/ 225137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noFill/>
          <a:ln w="9525">
            <a:solidFill>
              <a:schemeClr val="bg2"/>
            </a:solidFill>
            <a:prstDash val="solid"/>
            <a:round/>
            <a:headEnd/>
            <a:tailEnd/>
          </a:ln>
        </p:spPr>
        <p:txBody>
          <a:bodyPr/>
          <a:lstStyle/>
          <a:p>
            <a:endParaRPr lang="en-US" dirty="0"/>
          </a:p>
        </p:txBody>
      </p:sp>
      <p:sp>
        <p:nvSpPr>
          <p:cNvPr id="19747" name="Freeform 290"/>
          <p:cNvSpPr>
            <a:spLocks noChangeAspect="1"/>
          </p:cNvSpPr>
          <p:nvPr/>
        </p:nvSpPr>
        <p:spPr bwMode="auto">
          <a:xfrm>
            <a:off x="5518150" y="4375150"/>
            <a:ext cx="11113" cy="12700"/>
          </a:xfrm>
          <a:custGeom>
            <a:avLst/>
            <a:gdLst>
              <a:gd name="T0" fmla="*/ 0 w 16"/>
              <a:gd name="T1" fmla="*/ 12700 h 15"/>
              <a:gd name="T2" fmla="*/ 0 w 16"/>
              <a:gd name="T3" fmla="*/ 12700 h 15"/>
              <a:gd name="T4" fmla="*/ 11113 w 16"/>
              <a:gd name="T5" fmla="*/ 12700 h 15"/>
              <a:gd name="T6" fmla="*/ 0 w 16"/>
              <a:gd name="T7" fmla="*/ 0 h 15"/>
              <a:gd name="T8" fmla="*/ 0 w 16"/>
              <a:gd name="T9" fmla="*/ 1270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noFill/>
          <a:ln w="9525">
            <a:solidFill>
              <a:schemeClr val="bg2"/>
            </a:solidFill>
            <a:prstDash val="solid"/>
            <a:round/>
            <a:headEnd/>
            <a:tailEnd/>
          </a:ln>
        </p:spPr>
        <p:txBody>
          <a:bodyPr/>
          <a:lstStyle/>
          <a:p>
            <a:endParaRPr lang="en-US" dirty="0"/>
          </a:p>
        </p:txBody>
      </p:sp>
      <p:sp>
        <p:nvSpPr>
          <p:cNvPr id="19748" name="Freeform 291"/>
          <p:cNvSpPr>
            <a:spLocks noChangeAspect="1"/>
          </p:cNvSpPr>
          <p:nvPr/>
        </p:nvSpPr>
        <p:spPr bwMode="auto">
          <a:xfrm>
            <a:off x="4464050" y="3836988"/>
            <a:ext cx="11113" cy="15875"/>
          </a:xfrm>
          <a:custGeom>
            <a:avLst/>
            <a:gdLst>
              <a:gd name="T0" fmla="*/ 0 w 18"/>
              <a:gd name="T1" fmla="*/ 15875 h 18"/>
              <a:gd name="T2" fmla="*/ 0 w 18"/>
              <a:gd name="T3" fmla="*/ 15875 h 18"/>
              <a:gd name="T4" fmla="*/ 11113 w 18"/>
              <a:gd name="T5" fmla="*/ 0 h 18"/>
              <a:gd name="T6" fmla="*/ 0 w 18"/>
              <a:gd name="T7" fmla="*/ 0 h 18"/>
              <a:gd name="T8" fmla="*/ 0 w 18"/>
              <a:gd name="T9" fmla="*/ 15875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noFill/>
          <a:ln w="9525">
            <a:solidFill>
              <a:schemeClr val="bg2"/>
            </a:solidFill>
            <a:prstDash val="solid"/>
            <a:round/>
            <a:headEnd/>
            <a:tailEnd/>
          </a:ln>
        </p:spPr>
        <p:txBody>
          <a:bodyPr/>
          <a:lstStyle/>
          <a:p>
            <a:endParaRPr lang="en-US" dirty="0"/>
          </a:p>
        </p:txBody>
      </p:sp>
      <p:sp>
        <p:nvSpPr>
          <p:cNvPr id="19749" name="Freeform 292"/>
          <p:cNvSpPr>
            <a:spLocks noChangeAspect="1"/>
          </p:cNvSpPr>
          <p:nvPr/>
        </p:nvSpPr>
        <p:spPr bwMode="auto">
          <a:xfrm>
            <a:off x="4914900" y="3937000"/>
            <a:ext cx="234950" cy="239713"/>
          </a:xfrm>
          <a:custGeom>
            <a:avLst/>
            <a:gdLst>
              <a:gd name="T0" fmla="*/ 82550 w 296"/>
              <a:gd name="T1" fmla="*/ 197097 h 270"/>
              <a:gd name="T2" fmla="*/ 82550 w 296"/>
              <a:gd name="T3" fmla="*/ 197097 h 270"/>
              <a:gd name="T4" fmla="*/ 41275 w 296"/>
              <a:gd name="T5" fmla="*/ 169575 h 270"/>
              <a:gd name="T6" fmla="*/ 27781 w 296"/>
              <a:gd name="T7" fmla="*/ 169575 h 270"/>
              <a:gd name="T8" fmla="*/ 0 w 296"/>
              <a:gd name="T9" fmla="*/ 126959 h 270"/>
              <a:gd name="T10" fmla="*/ 0 w 296"/>
              <a:gd name="T11" fmla="*/ 84343 h 270"/>
              <a:gd name="T12" fmla="*/ 27781 w 296"/>
              <a:gd name="T13" fmla="*/ 55933 h 270"/>
              <a:gd name="T14" fmla="*/ 27781 w 296"/>
              <a:gd name="T15" fmla="*/ 41728 h 270"/>
              <a:gd name="T16" fmla="*/ 27781 w 296"/>
              <a:gd name="T17" fmla="*/ 26635 h 270"/>
              <a:gd name="T18" fmla="*/ 27781 w 296"/>
              <a:gd name="T19" fmla="*/ 0 h 270"/>
              <a:gd name="T20" fmla="*/ 54769 w 296"/>
              <a:gd name="T21" fmla="*/ 0 h 270"/>
              <a:gd name="T22" fmla="*/ 96044 w 296"/>
              <a:gd name="T23" fmla="*/ 0 h 270"/>
              <a:gd name="T24" fmla="*/ 110331 w 296"/>
              <a:gd name="T25" fmla="*/ 0 h 270"/>
              <a:gd name="T26" fmla="*/ 178594 w 296"/>
              <a:gd name="T27" fmla="*/ 41728 h 270"/>
              <a:gd name="T28" fmla="*/ 178594 w 296"/>
              <a:gd name="T29" fmla="*/ 69250 h 270"/>
              <a:gd name="T30" fmla="*/ 221456 w 296"/>
              <a:gd name="T31" fmla="*/ 84343 h 270"/>
              <a:gd name="T32" fmla="*/ 207169 w 296"/>
              <a:gd name="T33" fmla="*/ 111866 h 270"/>
              <a:gd name="T34" fmla="*/ 221456 w 296"/>
              <a:gd name="T35" fmla="*/ 141164 h 270"/>
              <a:gd name="T36" fmla="*/ 221456 w 296"/>
              <a:gd name="T37" fmla="*/ 183780 h 270"/>
              <a:gd name="T38" fmla="*/ 221456 w 296"/>
              <a:gd name="T39" fmla="*/ 197097 h 270"/>
              <a:gd name="T40" fmla="*/ 234950 w 296"/>
              <a:gd name="T41" fmla="*/ 212190 h 270"/>
              <a:gd name="T42" fmla="*/ 207169 w 296"/>
              <a:gd name="T43" fmla="*/ 239713 h 270"/>
              <a:gd name="T44" fmla="*/ 150812 w 296"/>
              <a:gd name="T45" fmla="*/ 239713 h 270"/>
              <a:gd name="T46" fmla="*/ 123825 w 296"/>
              <a:gd name="T47" fmla="*/ 239713 h 270"/>
              <a:gd name="T48" fmla="*/ 110331 w 296"/>
              <a:gd name="T49" fmla="*/ 197097 h 270"/>
              <a:gd name="T50" fmla="*/ 96044 w 296"/>
              <a:gd name="T51" fmla="*/ 197097 h 270"/>
              <a:gd name="T52" fmla="*/ 82550 w 296"/>
              <a:gd name="T53" fmla="*/ 197097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noFill/>
          <a:ln w="9525">
            <a:solidFill>
              <a:schemeClr val="bg2"/>
            </a:solidFill>
            <a:round/>
            <a:headEnd/>
            <a:tailEnd/>
          </a:ln>
        </p:spPr>
        <p:txBody>
          <a:bodyPr/>
          <a:lstStyle/>
          <a:p>
            <a:endParaRPr lang="en-US" dirty="0"/>
          </a:p>
        </p:txBody>
      </p:sp>
      <p:sp>
        <p:nvSpPr>
          <p:cNvPr id="19750" name="Freeform 293"/>
          <p:cNvSpPr>
            <a:spLocks noChangeAspect="1"/>
          </p:cNvSpPr>
          <p:nvPr/>
        </p:nvSpPr>
        <p:spPr bwMode="auto">
          <a:xfrm>
            <a:off x="4464050" y="3867150"/>
            <a:ext cx="123825" cy="141288"/>
          </a:xfrm>
          <a:custGeom>
            <a:avLst/>
            <a:gdLst>
              <a:gd name="T0" fmla="*/ 27087 w 160"/>
              <a:gd name="T1" fmla="*/ 29324 h 159"/>
              <a:gd name="T2" fmla="*/ 27087 w 160"/>
              <a:gd name="T3" fmla="*/ 29324 h 159"/>
              <a:gd name="T4" fmla="*/ 54947 w 160"/>
              <a:gd name="T5" fmla="*/ 29324 h 159"/>
              <a:gd name="T6" fmla="*/ 54947 w 160"/>
              <a:gd name="T7" fmla="*/ 0 h 159"/>
              <a:gd name="T8" fmla="*/ 95190 w 160"/>
              <a:gd name="T9" fmla="*/ 0 h 159"/>
              <a:gd name="T10" fmla="*/ 95190 w 160"/>
              <a:gd name="T11" fmla="*/ 29324 h 159"/>
              <a:gd name="T12" fmla="*/ 109895 w 160"/>
              <a:gd name="T13" fmla="*/ 13329 h 159"/>
              <a:gd name="T14" fmla="*/ 123825 w 160"/>
              <a:gd name="T15" fmla="*/ 29324 h 159"/>
              <a:gd name="T16" fmla="*/ 123825 w 160"/>
              <a:gd name="T17" fmla="*/ 42653 h 159"/>
              <a:gd name="T18" fmla="*/ 123825 w 160"/>
              <a:gd name="T19" fmla="*/ 98635 h 159"/>
              <a:gd name="T20" fmla="*/ 82034 w 160"/>
              <a:gd name="T21" fmla="*/ 98635 h 159"/>
              <a:gd name="T22" fmla="*/ 68878 w 160"/>
              <a:gd name="T23" fmla="*/ 113741 h 159"/>
              <a:gd name="T24" fmla="*/ 68878 w 160"/>
              <a:gd name="T25" fmla="*/ 127959 h 159"/>
              <a:gd name="T26" fmla="*/ 54947 w 160"/>
              <a:gd name="T27" fmla="*/ 127959 h 159"/>
              <a:gd name="T28" fmla="*/ 54947 w 160"/>
              <a:gd name="T29" fmla="*/ 141288 h 159"/>
              <a:gd name="T30" fmla="*/ 27087 w 160"/>
              <a:gd name="T31" fmla="*/ 113741 h 159"/>
              <a:gd name="T32" fmla="*/ 0 w 160"/>
              <a:gd name="T33" fmla="*/ 71977 h 159"/>
              <a:gd name="T34" fmla="*/ 13930 w 160"/>
              <a:gd name="T35" fmla="*/ 55982 h 159"/>
              <a:gd name="T36" fmla="*/ 13930 w 160"/>
              <a:gd name="T37" fmla="*/ 42653 h 159"/>
              <a:gd name="T38" fmla="*/ 27087 w 160"/>
              <a:gd name="T39" fmla="*/ 29324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noFill/>
          <a:ln w="9525">
            <a:solidFill>
              <a:schemeClr val="bg2"/>
            </a:solidFill>
            <a:prstDash val="solid"/>
            <a:round/>
            <a:headEnd/>
            <a:tailEnd/>
          </a:ln>
        </p:spPr>
        <p:txBody>
          <a:bodyPr/>
          <a:lstStyle/>
          <a:p>
            <a:endParaRPr lang="en-US" dirty="0"/>
          </a:p>
        </p:txBody>
      </p:sp>
      <p:sp>
        <p:nvSpPr>
          <p:cNvPr id="19751" name="Freeform 294"/>
          <p:cNvSpPr>
            <a:spLocks noChangeAspect="1"/>
          </p:cNvSpPr>
          <p:nvPr/>
        </p:nvSpPr>
        <p:spPr bwMode="auto">
          <a:xfrm>
            <a:off x="4518025" y="3836988"/>
            <a:ext cx="163513" cy="198437"/>
          </a:xfrm>
          <a:custGeom>
            <a:avLst/>
            <a:gdLst>
              <a:gd name="T0" fmla="*/ 109271 w 208"/>
              <a:gd name="T1" fmla="*/ 15875 h 225"/>
              <a:gd name="T2" fmla="*/ 109271 w 208"/>
              <a:gd name="T3" fmla="*/ 15875 h 225"/>
              <a:gd name="T4" fmla="*/ 109271 w 208"/>
              <a:gd name="T5" fmla="*/ 42333 h 225"/>
              <a:gd name="T6" fmla="*/ 40878 w 208"/>
              <a:gd name="T7" fmla="*/ 29104 h 225"/>
              <a:gd name="T8" fmla="*/ 40878 w 208"/>
              <a:gd name="T9" fmla="*/ 58208 h 225"/>
              <a:gd name="T10" fmla="*/ 55028 w 208"/>
              <a:gd name="T11" fmla="*/ 42333 h 225"/>
              <a:gd name="T12" fmla="*/ 68392 w 208"/>
              <a:gd name="T13" fmla="*/ 58208 h 225"/>
              <a:gd name="T14" fmla="*/ 68392 w 208"/>
              <a:gd name="T15" fmla="*/ 71437 h 225"/>
              <a:gd name="T16" fmla="*/ 68392 w 208"/>
              <a:gd name="T17" fmla="*/ 127000 h 225"/>
              <a:gd name="T18" fmla="*/ 27514 w 208"/>
              <a:gd name="T19" fmla="*/ 127000 h 225"/>
              <a:gd name="T20" fmla="*/ 14150 w 208"/>
              <a:gd name="T21" fmla="*/ 141993 h 225"/>
              <a:gd name="T22" fmla="*/ 14150 w 208"/>
              <a:gd name="T23" fmla="*/ 156104 h 225"/>
              <a:gd name="T24" fmla="*/ 0 w 208"/>
              <a:gd name="T25" fmla="*/ 156104 h 225"/>
              <a:gd name="T26" fmla="*/ 0 w 208"/>
              <a:gd name="T27" fmla="*/ 169333 h 225"/>
              <a:gd name="T28" fmla="*/ 27514 w 208"/>
              <a:gd name="T29" fmla="*/ 198437 h 225"/>
              <a:gd name="T30" fmla="*/ 27514 w 208"/>
              <a:gd name="T31" fmla="*/ 184326 h 225"/>
              <a:gd name="T32" fmla="*/ 40878 w 208"/>
              <a:gd name="T33" fmla="*/ 184326 h 225"/>
              <a:gd name="T34" fmla="*/ 68392 w 208"/>
              <a:gd name="T35" fmla="*/ 184326 h 225"/>
              <a:gd name="T36" fmla="*/ 95121 w 208"/>
              <a:gd name="T37" fmla="*/ 169333 h 225"/>
              <a:gd name="T38" fmla="*/ 109271 w 208"/>
              <a:gd name="T39" fmla="*/ 127000 h 225"/>
              <a:gd name="T40" fmla="*/ 135999 w 208"/>
              <a:gd name="T41" fmla="*/ 100541 h 225"/>
              <a:gd name="T42" fmla="*/ 163513 w 208"/>
              <a:gd name="T43" fmla="*/ 0 h 225"/>
              <a:gd name="T44" fmla="*/ 122635 w 208"/>
              <a:gd name="T45" fmla="*/ 15875 h 225"/>
              <a:gd name="T46" fmla="*/ 109271 w 208"/>
              <a:gd name="T47" fmla="*/ 15875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noFill/>
          <a:ln w="9525">
            <a:solidFill>
              <a:schemeClr val="bg2"/>
            </a:solidFill>
            <a:round/>
            <a:headEnd/>
            <a:tailEnd/>
          </a:ln>
        </p:spPr>
        <p:txBody>
          <a:bodyPr/>
          <a:lstStyle/>
          <a:p>
            <a:endParaRPr lang="en-US" dirty="0"/>
          </a:p>
        </p:txBody>
      </p:sp>
      <p:sp>
        <p:nvSpPr>
          <p:cNvPr id="19752" name="Freeform 295"/>
          <p:cNvSpPr>
            <a:spLocks noChangeAspect="1"/>
          </p:cNvSpPr>
          <p:nvPr/>
        </p:nvSpPr>
        <p:spPr bwMode="auto">
          <a:xfrm>
            <a:off x="4545013" y="3810000"/>
            <a:ext cx="412750" cy="409575"/>
          </a:xfrm>
          <a:custGeom>
            <a:avLst/>
            <a:gdLst>
              <a:gd name="T0" fmla="*/ 330994 w 520"/>
              <a:gd name="T1" fmla="*/ 0 h 462"/>
              <a:gd name="T2" fmla="*/ 330994 w 520"/>
              <a:gd name="T3" fmla="*/ 0 h 462"/>
              <a:gd name="T4" fmla="*/ 233362 w 520"/>
              <a:gd name="T5" fmla="*/ 0 h 462"/>
              <a:gd name="T6" fmla="*/ 219075 w 520"/>
              <a:gd name="T7" fmla="*/ 13298 h 462"/>
              <a:gd name="T8" fmla="*/ 178594 w 520"/>
              <a:gd name="T9" fmla="*/ 13298 h 462"/>
              <a:gd name="T10" fmla="*/ 164306 w 520"/>
              <a:gd name="T11" fmla="*/ 0 h 462"/>
              <a:gd name="T12" fmla="*/ 150812 w 520"/>
              <a:gd name="T13" fmla="*/ 0 h 462"/>
              <a:gd name="T14" fmla="*/ 137319 w 520"/>
              <a:gd name="T15" fmla="*/ 26596 h 462"/>
              <a:gd name="T16" fmla="*/ 109537 w 520"/>
              <a:gd name="T17" fmla="*/ 127660 h 462"/>
              <a:gd name="T18" fmla="*/ 82550 w 520"/>
              <a:gd name="T19" fmla="*/ 154256 h 462"/>
              <a:gd name="T20" fmla="*/ 68262 w 520"/>
              <a:gd name="T21" fmla="*/ 196809 h 462"/>
              <a:gd name="T22" fmla="*/ 41275 w 520"/>
              <a:gd name="T23" fmla="*/ 211880 h 462"/>
              <a:gd name="T24" fmla="*/ 13494 w 520"/>
              <a:gd name="T25" fmla="*/ 211880 h 462"/>
              <a:gd name="T26" fmla="*/ 0 w 520"/>
              <a:gd name="T27" fmla="*/ 239362 h 462"/>
              <a:gd name="T28" fmla="*/ 0 w 520"/>
              <a:gd name="T29" fmla="*/ 254433 h 462"/>
              <a:gd name="T30" fmla="*/ 27781 w 520"/>
              <a:gd name="T31" fmla="*/ 239362 h 462"/>
              <a:gd name="T32" fmla="*/ 82550 w 520"/>
              <a:gd name="T33" fmla="*/ 239362 h 462"/>
              <a:gd name="T34" fmla="*/ 96044 w 520"/>
              <a:gd name="T35" fmla="*/ 239362 h 462"/>
              <a:gd name="T36" fmla="*/ 96044 w 520"/>
              <a:gd name="T37" fmla="*/ 268617 h 462"/>
              <a:gd name="T38" fmla="*/ 123031 w 520"/>
              <a:gd name="T39" fmla="*/ 296986 h 462"/>
              <a:gd name="T40" fmla="*/ 150812 w 520"/>
              <a:gd name="T41" fmla="*/ 281915 h 462"/>
              <a:gd name="T42" fmla="*/ 150812 w 520"/>
              <a:gd name="T43" fmla="*/ 268617 h 462"/>
              <a:gd name="T44" fmla="*/ 178594 w 520"/>
              <a:gd name="T45" fmla="*/ 268617 h 462"/>
              <a:gd name="T46" fmla="*/ 205581 w 520"/>
              <a:gd name="T47" fmla="*/ 281915 h 462"/>
              <a:gd name="T48" fmla="*/ 205581 w 520"/>
              <a:gd name="T49" fmla="*/ 324469 h 462"/>
              <a:gd name="T50" fmla="*/ 219075 w 520"/>
              <a:gd name="T51" fmla="*/ 339539 h 462"/>
              <a:gd name="T52" fmla="*/ 205581 w 520"/>
              <a:gd name="T53" fmla="*/ 353724 h 462"/>
              <a:gd name="T54" fmla="*/ 205581 w 520"/>
              <a:gd name="T55" fmla="*/ 367022 h 462"/>
              <a:gd name="T56" fmla="*/ 246856 w 520"/>
              <a:gd name="T57" fmla="*/ 353724 h 462"/>
              <a:gd name="T58" fmla="*/ 301625 w 520"/>
              <a:gd name="T59" fmla="*/ 382093 h 462"/>
              <a:gd name="T60" fmla="*/ 315119 w 520"/>
              <a:gd name="T61" fmla="*/ 367022 h 462"/>
              <a:gd name="T62" fmla="*/ 357981 w 520"/>
              <a:gd name="T63" fmla="*/ 396277 h 462"/>
              <a:gd name="T64" fmla="*/ 371475 w 520"/>
              <a:gd name="T65" fmla="*/ 409575 h 462"/>
              <a:gd name="T66" fmla="*/ 371475 w 520"/>
              <a:gd name="T67" fmla="*/ 382093 h 462"/>
              <a:gd name="T68" fmla="*/ 357981 w 520"/>
              <a:gd name="T69" fmla="*/ 382093 h 462"/>
              <a:gd name="T70" fmla="*/ 357981 w 520"/>
              <a:gd name="T71" fmla="*/ 367022 h 462"/>
              <a:gd name="T72" fmla="*/ 357981 w 520"/>
              <a:gd name="T73" fmla="*/ 311171 h 462"/>
              <a:gd name="T74" fmla="*/ 357981 w 520"/>
              <a:gd name="T75" fmla="*/ 296986 h 462"/>
              <a:gd name="T76" fmla="*/ 399256 w 520"/>
              <a:gd name="T77" fmla="*/ 296986 h 462"/>
              <a:gd name="T78" fmla="*/ 371475 w 520"/>
              <a:gd name="T79" fmla="*/ 254433 h 462"/>
              <a:gd name="T80" fmla="*/ 371475 w 520"/>
              <a:gd name="T81" fmla="*/ 211880 h 462"/>
              <a:gd name="T82" fmla="*/ 371475 w 520"/>
              <a:gd name="T83" fmla="*/ 183511 h 462"/>
              <a:gd name="T84" fmla="*/ 371475 w 520"/>
              <a:gd name="T85" fmla="*/ 169326 h 462"/>
              <a:gd name="T86" fmla="*/ 357981 w 520"/>
              <a:gd name="T87" fmla="*/ 169326 h 462"/>
              <a:gd name="T88" fmla="*/ 371475 w 520"/>
              <a:gd name="T89" fmla="*/ 140958 h 462"/>
              <a:gd name="T90" fmla="*/ 385762 w 520"/>
              <a:gd name="T91" fmla="*/ 98404 h 462"/>
              <a:gd name="T92" fmla="*/ 399256 w 520"/>
              <a:gd name="T93" fmla="*/ 85106 h 462"/>
              <a:gd name="T94" fmla="*/ 412750 w 520"/>
              <a:gd name="T95" fmla="*/ 55851 h 462"/>
              <a:gd name="T96" fmla="*/ 399256 w 520"/>
              <a:gd name="T97" fmla="*/ 55851 h 462"/>
              <a:gd name="T98" fmla="*/ 399256 w 520"/>
              <a:gd name="T99" fmla="*/ 26596 h 462"/>
              <a:gd name="T100" fmla="*/ 385762 w 520"/>
              <a:gd name="T101" fmla="*/ 13298 h 462"/>
              <a:gd name="T102" fmla="*/ 344487 w 520"/>
              <a:gd name="T103" fmla="*/ 13298 h 462"/>
              <a:gd name="T104" fmla="*/ 33099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noFill/>
          <a:ln w="9525">
            <a:solidFill>
              <a:schemeClr val="bg2"/>
            </a:solidFill>
            <a:round/>
            <a:headEnd/>
            <a:tailEnd/>
          </a:ln>
        </p:spPr>
        <p:txBody>
          <a:bodyPr/>
          <a:lstStyle/>
          <a:p>
            <a:endParaRPr lang="en-US" dirty="0"/>
          </a:p>
        </p:txBody>
      </p:sp>
      <p:sp>
        <p:nvSpPr>
          <p:cNvPr id="19753" name="Freeform 296"/>
          <p:cNvSpPr>
            <a:spLocks noChangeAspect="1"/>
          </p:cNvSpPr>
          <p:nvPr/>
        </p:nvSpPr>
        <p:spPr bwMode="auto">
          <a:xfrm>
            <a:off x="4749800" y="4106863"/>
            <a:ext cx="260350" cy="211137"/>
          </a:xfrm>
          <a:custGeom>
            <a:avLst/>
            <a:gdLst>
              <a:gd name="T0" fmla="*/ 41025 w 330"/>
              <a:gd name="T1" fmla="*/ 56303 h 240"/>
              <a:gd name="T2" fmla="*/ 41025 w 330"/>
              <a:gd name="T3" fmla="*/ 56303 h 240"/>
              <a:gd name="T4" fmla="*/ 97040 w 330"/>
              <a:gd name="T5" fmla="*/ 84455 h 240"/>
              <a:gd name="T6" fmla="*/ 110452 w 330"/>
              <a:gd name="T7" fmla="*/ 69499 h 240"/>
              <a:gd name="T8" fmla="*/ 151476 w 330"/>
              <a:gd name="T9" fmla="*/ 98531 h 240"/>
              <a:gd name="T10" fmla="*/ 164888 w 330"/>
              <a:gd name="T11" fmla="*/ 111727 h 240"/>
              <a:gd name="T12" fmla="*/ 164888 w 330"/>
              <a:gd name="T13" fmla="*/ 84455 h 240"/>
              <a:gd name="T14" fmla="*/ 151476 w 330"/>
              <a:gd name="T15" fmla="*/ 84455 h 240"/>
              <a:gd name="T16" fmla="*/ 151476 w 330"/>
              <a:gd name="T17" fmla="*/ 69499 h 240"/>
              <a:gd name="T18" fmla="*/ 151476 w 330"/>
              <a:gd name="T19" fmla="*/ 14076 h 240"/>
              <a:gd name="T20" fmla="*/ 151476 w 330"/>
              <a:gd name="T21" fmla="*/ 0 h 240"/>
              <a:gd name="T22" fmla="*/ 192501 w 330"/>
              <a:gd name="T23" fmla="*/ 0 h 240"/>
              <a:gd name="T24" fmla="*/ 205913 w 330"/>
              <a:gd name="T25" fmla="*/ 0 h 240"/>
              <a:gd name="T26" fmla="*/ 246938 w 330"/>
              <a:gd name="T27" fmla="*/ 27272 h 240"/>
              <a:gd name="T28" fmla="*/ 260350 w 330"/>
              <a:gd name="T29" fmla="*/ 56303 h 240"/>
              <a:gd name="T30" fmla="*/ 246938 w 330"/>
              <a:gd name="T31" fmla="*/ 69499 h 240"/>
              <a:gd name="T32" fmla="*/ 246938 w 330"/>
              <a:gd name="T33" fmla="*/ 84455 h 240"/>
              <a:gd name="T34" fmla="*/ 233526 w 330"/>
              <a:gd name="T35" fmla="*/ 111727 h 240"/>
              <a:gd name="T36" fmla="*/ 246938 w 330"/>
              <a:gd name="T37" fmla="*/ 126682 h 240"/>
              <a:gd name="T38" fmla="*/ 179089 w 330"/>
              <a:gd name="T39" fmla="*/ 153954 h 240"/>
              <a:gd name="T40" fmla="*/ 179089 w 330"/>
              <a:gd name="T41" fmla="*/ 168910 h 240"/>
              <a:gd name="T42" fmla="*/ 151476 w 330"/>
              <a:gd name="T43" fmla="*/ 168910 h 240"/>
              <a:gd name="T44" fmla="*/ 151476 w 330"/>
              <a:gd name="T45" fmla="*/ 182985 h 240"/>
              <a:gd name="T46" fmla="*/ 110452 w 330"/>
              <a:gd name="T47" fmla="*/ 211137 h 240"/>
              <a:gd name="T48" fmla="*/ 69427 w 330"/>
              <a:gd name="T49" fmla="*/ 211137 h 240"/>
              <a:gd name="T50" fmla="*/ 41025 w 330"/>
              <a:gd name="T51" fmla="*/ 196181 h 240"/>
              <a:gd name="T52" fmla="*/ 27613 w 330"/>
              <a:gd name="T53" fmla="*/ 211137 h 240"/>
              <a:gd name="T54" fmla="*/ 0 w 330"/>
              <a:gd name="T55" fmla="*/ 182985 h 240"/>
              <a:gd name="T56" fmla="*/ 0 w 330"/>
              <a:gd name="T57" fmla="*/ 111727 h 240"/>
              <a:gd name="T58" fmla="*/ 54437 w 330"/>
              <a:gd name="T59" fmla="*/ 98531 h 240"/>
              <a:gd name="T60" fmla="*/ 41025 w 330"/>
              <a:gd name="T61" fmla="*/ 56303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noFill/>
          <a:ln w="9525">
            <a:solidFill>
              <a:schemeClr val="bg2"/>
            </a:solidFill>
            <a:round/>
            <a:headEnd/>
            <a:tailEnd/>
          </a:ln>
        </p:spPr>
        <p:txBody>
          <a:bodyPr/>
          <a:lstStyle/>
          <a:p>
            <a:endParaRPr lang="en-US" dirty="0"/>
          </a:p>
        </p:txBody>
      </p:sp>
      <p:sp>
        <p:nvSpPr>
          <p:cNvPr id="19754" name="Freeform 297"/>
          <p:cNvSpPr>
            <a:spLocks noChangeAspect="1"/>
          </p:cNvSpPr>
          <p:nvPr/>
        </p:nvSpPr>
        <p:spPr bwMode="auto">
          <a:xfrm>
            <a:off x="4532313" y="4049713"/>
            <a:ext cx="274637" cy="282575"/>
          </a:xfrm>
          <a:custGeom>
            <a:avLst/>
            <a:gdLst>
              <a:gd name="T0" fmla="*/ 0 w 345"/>
              <a:gd name="T1" fmla="*/ 253525 h 321"/>
              <a:gd name="T2" fmla="*/ 0 w 345"/>
              <a:gd name="T3" fmla="*/ 253525 h 321"/>
              <a:gd name="T4" fmla="*/ 27066 w 345"/>
              <a:gd name="T5" fmla="*/ 253525 h 321"/>
              <a:gd name="T6" fmla="*/ 54927 w 345"/>
              <a:gd name="T7" fmla="*/ 253525 h 321"/>
              <a:gd name="T8" fmla="*/ 136920 w 345"/>
              <a:gd name="T9" fmla="*/ 268490 h 321"/>
              <a:gd name="T10" fmla="*/ 164782 w 345"/>
              <a:gd name="T11" fmla="*/ 268490 h 321"/>
              <a:gd name="T12" fmla="*/ 219710 w 345"/>
              <a:gd name="T13" fmla="*/ 282575 h 321"/>
              <a:gd name="T14" fmla="*/ 247571 w 345"/>
              <a:gd name="T15" fmla="*/ 268490 h 321"/>
              <a:gd name="T16" fmla="*/ 219710 w 345"/>
              <a:gd name="T17" fmla="*/ 240321 h 321"/>
              <a:gd name="T18" fmla="*/ 219710 w 345"/>
              <a:gd name="T19" fmla="*/ 169017 h 321"/>
              <a:gd name="T20" fmla="*/ 274637 w 345"/>
              <a:gd name="T21" fmla="*/ 155812 h 321"/>
              <a:gd name="T22" fmla="*/ 261104 w 345"/>
              <a:gd name="T23" fmla="*/ 113558 h 321"/>
              <a:gd name="T24" fmla="*/ 219710 w 345"/>
              <a:gd name="T25" fmla="*/ 126763 h 321"/>
              <a:gd name="T26" fmla="*/ 219710 w 345"/>
              <a:gd name="T27" fmla="*/ 113558 h 321"/>
              <a:gd name="T28" fmla="*/ 233242 w 345"/>
              <a:gd name="T29" fmla="*/ 99473 h 321"/>
              <a:gd name="T30" fmla="*/ 219710 w 345"/>
              <a:gd name="T31" fmla="*/ 84508 h 321"/>
              <a:gd name="T32" fmla="*/ 219710 w 345"/>
              <a:gd name="T33" fmla="*/ 42254 h 321"/>
              <a:gd name="T34" fmla="*/ 191848 w 345"/>
              <a:gd name="T35" fmla="*/ 29050 h 321"/>
              <a:gd name="T36" fmla="*/ 164782 w 345"/>
              <a:gd name="T37" fmla="*/ 29050 h 321"/>
              <a:gd name="T38" fmla="*/ 164782 w 345"/>
              <a:gd name="T39" fmla="*/ 42254 h 321"/>
              <a:gd name="T40" fmla="*/ 136920 w 345"/>
              <a:gd name="T41" fmla="*/ 57219 h 321"/>
              <a:gd name="T42" fmla="*/ 109855 w 345"/>
              <a:gd name="T43" fmla="*/ 29050 h 321"/>
              <a:gd name="T44" fmla="*/ 109855 w 345"/>
              <a:gd name="T45" fmla="*/ 0 h 321"/>
              <a:gd name="T46" fmla="*/ 96322 w 345"/>
              <a:gd name="T47" fmla="*/ 0 h 321"/>
              <a:gd name="T48" fmla="*/ 40599 w 345"/>
              <a:gd name="T49" fmla="*/ 0 h 321"/>
              <a:gd name="T50" fmla="*/ 13533 w 345"/>
              <a:gd name="T51" fmla="*/ 14965 h 321"/>
              <a:gd name="T52" fmla="*/ 27066 w 345"/>
              <a:gd name="T53" fmla="*/ 57219 h 321"/>
              <a:gd name="T54" fmla="*/ 27066 w 345"/>
              <a:gd name="T55" fmla="*/ 71304 h 321"/>
              <a:gd name="T56" fmla="*/ 40599 w 345"/>
              <a:gd name="T57" fmla="*/ 126763 h 321"/>
              <a:gd name="T58" fmla="*/ 40599 w 345"/>
              <a:gd name="T59" fmla="*/ 155812 h 321"/>
              <a:gd name="T60" fmla="*/ 13533 w 345"/>
              <a:gd name="T61" fmla="*/ 169017 h 321"/>
              <a:gd name="T62" fmla="*/ 0 w 345"/>
              <a:gd name="T63" fmla="*/ 226236 h 321"/>
              <a:gd name="T64" fmla="*/ 0 w 345"/>
              <a:gd name="T65" fmla="*/ 253525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noFill/>
          <a:ln w="9525">
            <a:solidFill>
              <a:schemeClr val="bg2"/>
            </a:solidFill>
            <a:round/>
            <a:headEnd/>
            <a:tailEnd/>
          </a:ln>
        </p:spPr>
        <p:txBody>
          <a:bodyPr/>
          <a:lstStyle/>
          <a:p>
            <a:endParaRPr lang="en-US" dirty="0"/>
          </a:p>
        </p:txBody>
      </p:sp>
      <p:sp>
        <p:nvSpPr>
          <p:cNvPr id="19755" name="Freeform 298"/>
          <p:cNvSpPr>
            <a:spLocks noChangeAspect="1"/>
          </p:cNvSpPr>
          <p:nvPr/>
        </p:nvSpPr>
        <p:spPr bwMode="auto">
          <a:xfrm>
            <a:off x="4475163" y="3146425"/>
            <a:ext cx="344487" cy="336550"/>
          </a:xfrm>
          <a:custGeom>
            <a:avLst/>
            <a:gdLst>
              <a:gd name="T0" fmla="*/ 54643 w 435"/>
              <a:gd name="T1" fmla="*/ 239266 h 384"/>
              <a:gd name="T2" fmla="*/ 54643 w 435"/>
              <a:gd name="T3" fmla="*/ 239266 h 384"/>
              <a:gd name="T4" fmla="*/ 40388 w 435"/>
              <a:gd name="T5" fmla="*/ 210344 h 384"/>
              <a:gd name="T6" fmla="*/ 26925 w 435"/>
              <a:gd name="T7" fmla="*/ 210344 h 384"/>
              <a:gd name="T8" fmla="*/ 0 w 435"/>
              <a:gd name="T9" fmla="*/ 168275 h 384"/>
              <a:gd name="T10" fmla="*/ 13463 w 435"/>
              <a:gd name="T11" fmla="*/ 155129 h 384"/>
              <a:gd name="T12" fmla="*/ 13463 w 435"/>
              <a:gd name="T13" fmla="*/ 126206 h 384"/>
              <a:gd name="T14" fmla="*/ 13463 w 435"/>
              <a:gd name="T15" fmla="*/ 98160 h 384"/>
              <a:gd name="T16" fmla="*/ 0 w 435"/>
              <a:gd name="T17" fmla="*/ 84138 h 384"/>
              <a:gd name="T18" fmla="*/ 0 w 435"/>
              <a:gd name="T19" fmla="*/ 70991 h 384"/>
              <a:gd name="T20" fmla="*/ 13463 w 435"/>
              <a:gd name="T21" fmla="*/ 56092 h 384"/>
              <a:gd name="T22" fmla="*/ 13463 w 435"/>
              <a:gd name="T23" fmla="*/ 42069 h 384"/>
              <a:gd name="T24" fmla="*/ 40388 w 435"/>
              <a:gd name="T25" fmla="*/ 14023 h 384"/>
              <a:gd name="T26" fmla="*/ 40388 w 435"/>
              <a:gd name="T27" fmla="*/ 0 h 384"/>
              <a:gd name="T28" fmla="*/ 68105 w 435"/>
              <a:gd name="T29" fmla="*/ 0 h 384"/>
              <a:gd name="T30" fmla="*/ 110869 w 435"/>
              <a:gd name="T31" fmla="*/ 14023 h 384"/>
              <a:gd name="T32" fmla="*/ 137795 w 435"/>
              <a:gd name="T33" fmla="*/ 14023 h 384"/>
              <a:gd name="T34" fmla="*/ 137795 w 435"/>
              <a:gd name="T35" fmla="*/ 42069 h 384"/>
              <a:gd name="T36" fmla="*/ 220155 w 435"/>
              <a:gd name="T37" fmla="*/ 70991 h 384"/>
              <a:gd name="T38" fmla="*/ 233618 w 435"/>
              <a:gd name="T39" fmla="*/ 56092 h 384"/>
              <a:gd name="T40" fmla="*/ 233618 w 435"/>
              <a:gd name="T41" fmla="*/ 28922 h 384"/>
              <a:gd name="T42" fmla="*/ 276382 w 435"/>
              <a:gd name="T43" fmla="*/ 0 h 384"/>
              <a:gd name="T44" fmla="*/ 304099 w 435"/>
              <a:gd name="T45" fmla="*/ 14023 h 384"/>
              <a:gd name="T46" fmla="*/ 304099 w 435"/>
              <a:gd name="T47" fmla="*/ 28922 h 384"/>
              <a:gd name="T48" fmla="*/ 344487 w 435"/>
              <a:gd name="T49" fmla="*/ 28922 h 384"/>
              <a:gd name="T50" fmla="*/ 331024 w 435"/>
              <a:gd name="T51" fmla="*/ 84138 h 384"/>
              <a:gd name="T52" fmla="*/ 344487 w 435"/>
              <a:gd name="T53" fmla="*/ 113060 h 384"/>
              <a:gd name="T54" fmla="*/ 344487 w 435"/>
              <a:gd name="T55" fmla="*/ 266435 h 384"/>
              <a:gd name="T56" fmla="*/ 344487 w 435"/>
              <a:gd name="T57" fmla="*/ 308504 h 384"/>
              <a:gd name="T58" fmla="*/ 331024 w 435"/>
              <a:gd name="T59" fmla="*/ 323404 h 384"/>
              <a:gd name="T60" fmla="*/ 317562 w 435"/>
              <a:gd name="T61" fmla="*/ 336550 h 384"/>
              <a:gd name="T62" fmla="*/ 152049 w 435"/>
              <a:gd name="T63" fmla="*/ 239266 h 384"/>
              <a:gd name="T64" fmla="*/ 124332 w 435"/>
              <a:gd name="T65" fmla="*/ 252413 h 384"/>
              <a:gd name="T66" fmla="*/ 110869 w 435"/>
              <a:gd name="T67" fmla="*/ 239266 h 384"/>
              <a:gd name="T68" fmla="*/ 54643 w 435"/>
              <a:gd name="T69" fmla="*/ 239266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chemeClr val="bg1"/>
          </a:solidFill>
          <a:ln w="9525">
            <a:solidFill>
              <a:schemeClr val="bg2"/>
            </a:solidFill>
            <a:round/>
            <a:headEnd/>
            <a:tailEnd/>
          </a:ln>
        </p:spPr>
        <p:txBody>
          <a:bodyPr/>
          <a:lstStyle/>
          <a:p>
            <a:endParaRPr lang="en-US" dirty="0"/>
          </a:p>
        </p:txBody>
      </p:sp>
      <p:sp>
        <p:nvSpPr>
          <p:cNvPr id="19756" name="Freeform 299"/>
          <p:cNvSpPr>
            <a:spLocks noChangeAspect="1"/>
          </p:cNvSpPr>
          <p:nvPr/>
        </p:nvSpPr>
        <p:spPr bwMode="auto">
          <a:xfrm>
            <a:off x="4806950" y="3175000"/>
            <a:ext cx="244475" cy="254000"/>
          </a:xfrm>
          <a:custGeom>
            <a:avLst/>
            <a:gdLst>
              <a:gd name="T0" fmla="*/ 244475 w 311"/>
              <a:gd name="T1" fmla="*/ 224896 h 288"/>
              <a:gd name="T2" fmla="*/ 244475 w 311"/>
              <a:gd name="T3" fmla="*/ 224896 h 288"/>
              <a:gd name="T4" fmla="*/ 203598 w 311"/>
              <a:gd name="T5" fmla="*/ 254000 h 288"/>
              <a:gd name="T6" fmla="*/ 190235 w 311"/>
              <a:gd name="T7" fmla="*/ 239007 h 288"/>
              <a:gd name="T8" fmla="*/ 13364 w 311"/>
              <a:gd name="T9" fmla="*/ 239007 h 288"/>
              <a:gd name="T10" fmla="*/ 13364 w 311"/>
              <a:gd name="T11" fmla="*/ 84667 h 288"/>
              <a:gd name="T12" fmla="*/ 0 w 311"/>
              <a:gd name="T13" fmla="*/ 55562 h 288"/>
              <a:gd name="T14" fmla="*/ 13364 w 311"/>
              <a:gd name="T15" fmla="*/ 0 h 288"/>
              <a:gd name="T16" fmla="*/ 13364 w 311"/>
              <a:gd name="T17" fmla="*/ 13229 h 288"/>
              <a:gd name="T18" fmla="*/ 54240 w 311"/>
              <a:gd name="T19" fmla="*/ 13229 h 288"/>
              <a:gd name="T20" fmla="*/ 95117 w 311"/>
              <a:gd name="T21" fmla="*/ 27340 h 288"/>
              <a:gd name="T22" fmla="*/ 149358 w 311"/>
              <a:gd name="T23" fmla="*/ 13229 h 288"/>
              <a:gd name="T24" fmla="*/ 162721 w 311"/>
              <a:gd name="T25" fmla="*/ 13229 h 288"/>
              <a:gd name="T26" fmla="*/ 162721 w 311"/>
              <a:gd name="T27" fmla="*/ 27340 h 288"/>
              <a:gd name="T28" fmla="*/ 176871 w 311"/>
              <a:gd name="T29" fmla="*/ 13229 h 288"/>
              <a:gd name="T30" fmla="*/ 176871 w 311"/>
              <a:gd name="T31" fmla="*/ 27340 h 288"/>
              <a:gd name="T32" fmla="*/ 203598 w 311"/>
              <a:gd name="T33" fmla="*/ 13229 h 288"/>
              <a:gd name="T34" fmla="*/ 217748 w 311"/>
              <a:gd name="T35" fmla="*/ 69674 h 288"/>
              <a:gd name="T36" fmla="*/ 203598 w 311"/>
              <a:gd name="T37" fmla="*/ 112007 h 288"/>
              <a:gd name="T38" fmla="*/ 190235 w 311"/>
              <a:gd name="T39" fmla="*/ 84667 h 288"/>
              <a:gd name="T40" fmla="*/ 176871 w 311"/>
              <a:gd name="T41" fmla="*/ 42333 h 288"/>
              <a:gd name="T42" fmla="*/ 176871 w 311"/>
              <a:gd name="T43" fmla="*/ 55562 h 288"/>
              <a:gd name="T44" fmla="*/ 176871 w 311"/>
              <a:gd name="T45" fmla="*/ 69674 h 288"/>
              <a:gd name="T46" fmla="*/ 244475 w 311"/>
              <a:gd name="T47" fmla="*/ 224896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chemeClr val="bg1"/>
          </a:solidFill>
          <a:ln w="9525">
            <a:solidFill>
              <a:schemeClr val="bg2"/>
            </a:solidFill>
            <a:round/>
            <a:headEnd/>
            <a:tailEnd/>
          </a:ln>
        </p:spPr>
        <p:txBody>
          <a:bodyPr/>
          <a:lstStyle/>
          <a:p>
            <a:endParaRPr lang="en-US" dirty="0"/>
          </a:p>
        </p:txBody>
      </p:sp>
      <p:sp>
        <p:nvSpPr>
          <p:cNvPr id="19757" name="Freeform 300"/>
          <p:cNvSpPr>
            <a:spLocks noChangeAspect="1"/>
          </p:cNvSpPr>
          <p:nvPr/>
        </p:nvSpPr>
        <p:spPr bwMode="auto">
          <a:xfrm>
            <a:off x="5160963" y="3654425"/>
            <a:ext cx="219075" cy="296863"/>
          </a:xfrm>
          <a:custGeom>
            <a:avLst/>
            <a:gdLst>
              <a:gd name="T0" fmla="*/ 27483 w 279"/>
              <a:gd name="T1" fmla="*/ 182889 h 336"/>
              <a:gd name="T2" fmla="*/ 27483 w 279"/>
              <a:gd name="T3" fmla="*/ 182889 h 336"/>
              <a:gd name="T4" fmla="*/ 0 w 279"/>
              <a:gd name="T5" fmla="*/ 212045 h 336"/>
              <a:gd name="T6" fmla="*/ 0 w 279"/>
              <a:gd name="T7" fmla="*/ 283610 h 336"/>
              <a:gd name="T8" fmla="*/ 14134 w 279"/>
              <a:gd name="T9" fmla="*/ 296863 h 336"/>
              <a:gd name="T10" fmla="*/ 54180 w 279"/>
              <a:gd name="T11" fmla="*/ 254454 h 336"/>
              <a:gd name="T12" fmla="*/ 110715 w 279"/>
              <a:gd name="T13" fmla="*/ 212045 h 336"/>
              <a:gd name="T14" fmla="*/ 150761 w 279"/>
              <a:gd name="T15" fmla="*/ 169636 h 336"/>
              <a:gd name="T16" fmla="*/ 178244 w 279"/>
              <a:gd name="T17" fmla="*/ 140480 h 336"/>
              <a:gd name="T18" fmla="*/ 219075 w 279"/>
              <a:gd name="T19" fmla="*/ 29156 h 336"/>
              <a:gd name="T20" fmla="*/ 219075 w 279"/>
              <a:gd name="T21" fmla="*/ 0 h 336"/>
              <a:gd name="T22" fmla="*/ 204941 w 279"/>
              <a:gd name="T23" fmla="*/ 0 h 336"/>
              <a:gd name="T24" fmla="*/ 178244 w 279"/>
              <a:gd name="T25" fmla="*/ 13253 h 336"/>
              <a:gd name="T26" fmla="*/ 81662 w 279"/>
              <a:gd name="T27" fmla="*/ 42409 h 336"/>
              <a:gd name="T28" fmla="*/ 68314 w 279"/>
              <a:gd name="T29" fmla="*/ 29156 h 336"/>
              <a:gd name="T30" fmla="*/ 54180 w 279"/>
              <a:gd name="T31" fmla="*/ 13253 h 336"/>
              <a:gd name="T32" fmla="*/ 40831 w 279"/>
              <a:gd name="T33" fmla="*/ 29156 h 336"/>
              <a:gd name="T34" fmla="*/ 40831 w 279"/>
              <a:gd name="T35" fmla="*/ 42409 h 336"/>
              <a:gd name="T36" fmla="*/ 68314 w 279"/>
              <a:gd name="T37" fmla="*/ 71565 h 336"/>
              <a:gd name="T38" fmla="*/ 137413 w 279"/>
              <a:gd name="T39" fmla="*/ 84818 h 336"/>
              <a:gd name="T40" fmla="*/ 150761 w 279"/>
              <a:gd name="T41" fmla="*/ 84818 h 336"/>
              <a:gd name="T42" fmla="*/ 95011 w 279"/>
              <a:gd name="T43" fmla="*/ 156383 h 336"/>
              <a:gd name="T44" fmla="*/ 54180 w 279"/>
              <a:gd name="T45" fmla="*/ 156383 h 336"/>
              <a:gd name="T46" fmla="*/ 27483 w 279"/>
              <a:gd name="T47" fmla="*/ 182889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noFill/>
          <a:ln w="9525">
            <a:solidFill>
              <a:schemeClr val="bg2"/>
            </a:solidFill>
            <a:prstDash val="solid"/>
            <a:round/>
            <a:headEnd/>
            <a:tailEnd/>
          </a:ln>
        </p:spPr>
        <p:txBody>
          <a:bodyPr/>
          <a:lstStyle/>
          <a:p>
            <a:endParaRPr lang="en-US" dirty="0"/>
          </a:p>
        </p:txBody>
      </p:sp>
      <p:sp>
        <p:nvSpPr>
          <p:cNvPr id="19758" name="Freeform 301"/>
          <p:cNvSpPr>
            <a:spLocks noChangeAspect="1"/>
          </p:cNvSpPr>
          <p:nvPr/>
        </p:nvSpPr>
        <p:spPr bwMode="auto">
          <a:xfrm>
            <a:off x="4586288" y="3668713"/>
            <a:ext cx="287337" cy="184150"/>
          </a:xfrm>
          <a:custGeom>
            <a:avLst/>
            <a:gdLst>
              <a:gd name="T0" fmla="*/ 177310 w 363"/>
              <a:gd name="T1" fmla="*/ 0 h 210"/>
              <a:gd name="T2" fmla="*/ 177310 w 363"/>
              <a:gd name="T3" fmla="*/ 0 h 210"/>
              <a:gd name="T4" fmla="*/ 205015 w 363"/>
              <a:gd name="T5" fmla="*/ 28938 h 210"/>
              <a:gd name="T6" fmla="*/ 205015 w 363"/>
              <a:gd name="T7" fmla="*/ 57876 h 210"/>
              <a:gd name="T8" fmla="*/ 232719 w 363"/>
              <a:gd name="T9" fmla="*/ 71029 h 210"/>
              <a:gd name="T10" fmla="*/ 287337 w 363"/>
              <a:gd name="T11" fmla="*/ 142059 h 210"/>
              <a:gd name="T12" fmla="*/ 191558 w 363"/>
              <a:gd name="T13" fmla="*/ 142059 h 210"/>
              <a:gd name="T14" fmla="*/ 177310 w 363"/>
              <a:gd name="T15" fmla="*/ 155212 h 210"/>
              <a:gd name="T16" fmla="*/ 136940 w 363"/>
              <a:gd name="T17" fmla="*/ 155212 h 210"/>
              <a:gd name="T18" fmla="*/ 122692 w 363"/>
              <a:gd name="T19" fmla="*/ 142059 h 210"/>
              <a:gd name="T20" fmla="*/ 109236 w 363"/>
              <a:gd name="T21" fmla="*/ 142059 h 210"/>
              <a:gd name="T22" fmla="*/ 95779 w 363"/>
              <a:gd name="T23" fmla="*/ 168366 h 210"/>
              <a:gd name="T24" fmla="*/ 54618 w 363"/>
              <a:gd name="T25" fmla="*/ 184150 h 210"/>
              <a:gd name="T26" fmla="*/ 41161 w 363"/>
              <a:gd name="T27" fmla="*/ 184150 h 210"/>
              <a:gd name="T28" fmla="*/ 13457 w 363"/>
              <a:gd name="T29" fmla="*/ 142059 h 210"/>
              <a:gd name="T30" fmla="*/ 0 w 363"/>
              <a:gd name="T31" fmla="*/ 126274 h 210"/>
              <a:gd name="T32" fmla="*/ 26913 w 363"/>
              <a:gd name="T33" fmla="*/ 84183 h 210"/>
              <a:gd name="T34" fmla="*/ 95779 w 363"/>
              <a:gd name="T35" fmla="*/ 71029 h 210"/>
              <a:gd name="T36" fmla="*/ 109236 w 363"/>
              <a:gd name="T37" fmla="*/ 57876 h 210"/>
              <a:gd name="T38" fmla="*/ 95779 w 363"/>
              <a:gd name="T39" fmla="*/ 57876 h 210"/>
              <a:gd name="T40" fmla="*/ 136940 w 363"/>
              <a:gd name="T41" fmla="*/ 42091 h 210"/>
              <a:gd name="T42" fmla="*/ 163853 w 363"/>
              <a:gd name="T43" fmla="*/ 15784 h 210"/>
              <a:gd name="T44" fmla="*/ 177310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noFill/>
          <a:ln w="9525">
            <a:solidFill>
              <a:schemeClr val="bg2"/>
            </a:solidFill>
            <a:round/>
            <a:headEnd/>
            <a:tailEnd/>
          </a:ln>
        </p:spPr>
        <p:txBody>
          <a:bodyPr/>
          <a:lstStyle/>
          <a:p>
            <a:endParaRPr lang="en-US" dirty="0"/>
          </a:p>
        </p:txBody>
      </p:sp>
      <p:sp>
        <p:nvSpPr>
          <p:cNvPr id="19759" name="Freeform 302"/>
          <p:cNvSpPr>
            <a:spLocks noChangeAspect="1"/>
          </p:cNvSpPr>
          <p:nvPr/>
        </p:nvSpPr>
        <p:spPr bwMode="auto">
          <a:xfrm>
            <a:off x="4575175" y="3386138"/>
            <a:ext cx="217488" cy="366712"/>
          </a:xfrm>
          <a:custGeom>
            <a:avLst/>
            <a:gdLst>
              <a:gd name="T0" fmla="*/ 27680 w 275"/>
              <a:gd name="T1" fmla="*/ 13287 h 414"/>
              <a:gd name="T2" fmla="*/ 27680 w 275"/>
              <a:gd name="T3" fmla="*/ 13287 h 414"/>
              <a:gd name="T4" fmla="*/ 27680 w 275"/>
              <a:gd name="T5" fmla="*/ 42517 h 414"/>
              <a:gd name="T6" fmla="*/ 55361 w 275"/>
              <a:gd name="T7" fmla="*/ 69976 h 414"/>
              <a:gd name="T8" fmla="*/ 41125 w 275"/>
              <a:gd name="T9" fmla="*/ 155011 h 414"/>
              <a:gd name="T10" fmla="*/ 0 w 275"/>
              <a:gd name="T11" fmla="*/ 212587 h 414"/>
              <a:gd name="T12" fmla="*/ 0 w 275"/>
              <a:gd name="T13" fmla="*/ 225873 h 414"/>
              <a:gd name="T14" fmla="*/ 14236 w 275"/>
              <a:gd name="T15" fmla="*/ 239160 h 414"/>
              <a:gd name="T16" fmla="*/ 14236 w 275"/>
              <a:gd name="T17" fmla="*/ 255104 h 414"/>
              <a:gd name="T18" fmla="*/ 41125 w 275"/>
              <a:gd name="T19" fmla="*/ 310908 h 414"/>
              <a:gd name="T20" fmla="*/ 14236 w 275"/>
              <a:gd name="T21" fmla="*/ 310908 h 414"/>
              <a:gd name="T22" fmla="*/ 14236 w 275"/>
              <a:gd name="T23" fmla="*/ 324195 h 414"/>
              <a:gd name="T24" fmla="*/ 27680 w 275"/>
              <a:gd name="T25" fmla="*/ 340139 h 414"/>
              <a:gd name="T26" fmla="*/ 41125 w 275"/>
              <a:gd name="T27" fmla="*/ 366712 h 414"/>
              <a:gd name="T28" fmla="*/ 108349 w 275"/>
              <a:gd name="T29" fmla="*/ 353425 h 414"/>
              <a:gd name="T30" fmla="*/ 121793 w 275"/>
              <a:gd name="T31" fmla="*/ 340139 h 414"/>
              <a:gd name="T32" fmla="*/ 108349 w 275"/>
              <a:gd name="T33" fmla="*/ 340139 h 414"/>
              <a:gd name="T34" fmla="*/ 149474 w 275"/>
              <a:gd name="T35" fmla="*/ 324195 h 414"/>
              <a:gd name="T36" fmla="*/ 176363 w 275"/>
              <a:gd name="T37" fmla="*/ 297621 h 414"/>
              <a:gd name="T38" fmla="*/ 189808 w 275"/>
              <a:gd name="T39" fmla="*/ 281677 h 414"/>
              <a:gd name="T40" fmla="*/ 204043 w 275"/>
              <a:gd name="T41" fmla="*/ 281677 h 414"/>
              <a:gd name="T42" fmla="*/ 176363 w 275"/>
              <a:gd name="T43" fmla="*/ 239160 h 414"/>
              <a:gd name="T44" fmla="*/ 204043 w 275"/>
              <a:gd name="T45" fmla="*/ 183356 h 414"/>
              <a:gd name="T46" fmla="*/ 217488 w 275"/>
              <a:gd name="T47" fmla="*/ 183356 h 414"/>
              <a:gd name="T48" fmla="*/ 217488 w 275"/>
              <a:gd name="T49" fmla="*/ 170069 h 414"/>
              <a:gd name="T50" fmla="*/ 217488 w 275"/>
              <a:gd name="T51" fmla="*/ 98321 h 414"/>
              <a:gd name="T52" fmla="*/ 55361 w 275"/>
              <a:gd name="T53" fmla="*/ 0 h 414"/>
              <a:gd name="T54" fmla="*/ 27680 w 275"/>
              <a:gd name="T55" fmla="*/ 13287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chemeClr val="bg1"/>
          </a:solidFill>
          <a:ln w="9525">
            <a:solidFill>
              <a:schemeClr val="bg2"/>
            </a:solidFill>
            <a:round/>
            <a:headEnd/>
            <a:tailEnd/>
          </a:ln>
        </p:spPr>
        <p:txBody>
          <a:bodyPr/>
          <a:lstStyle/>
          <a:p>
            <a:endParaRPr lang="en-US" dirty="0"/>
          </a:p>
        </p:txBody>
      </p:sp>
      <p:sp>
        <p:nvSpPr>
          <p:cNvPr id="19760" name="Freeform 303"/>
          <p:cNvSpPr>
            <a:spLocks noChangeAspect="1"/>
          </p:cNvSpPr>
          <p:nvPr/>
        </p:nvSpPr>
        <p:spPr bwMode="auto">
          <a:xfrm>
            <a:off x="5067300" y="3513138"/>
            <a:ext cx="133350" cy="127000"/>
          </a:xfrm>
          <a:custGeom>
            <a:avLst/>
            <a:gdLst>
              <a:gd name="T0" fmla="*/ 120093 w 171"/>
              <a:gd name="T1" fmla="*/ 127000 h 144"/>
              <a:gd name="T2" fmla="*/ 120093 w 171"/>
              <a:gd name="T3" fmla="*/ 127000 h 144"/>
              <a:gd name="T4" fmla="*/ 133350 w 171"/>
              <a:gd name="T5" fmla="*/ 127000 h 144"/>
              <a:gd name="T6" fmla="*/ 92799 w 171"/>
              <a:gd name="T7" fmla="*/ 84667 h 144"/>
              <a:gd name="T8" fmla="*/ 66285 w 171"/>
              <a:gd name="T9" fmla="*/ 55562 h 144"/>
              <a:gd name="T10" fmla="*/ 40551 w 171"/>
              <a:gd name="T11" fmla="*/ 0 h 144"/>
              <a:gd name="T12" fmla="*/ 40551 w 171"/>
              <a:gd name="T13" fmla="*/ 13229 h 144"/>
              <a:gd name="T14" fmla="*/ 14037 w 171"/>
              <a:gd name="T15" fmla="*/ 27340 h 144"/>
              <a:gd name="T16" fmla="*/ 0 w 171"/>
              <a:gd name="T17" fmla="*/ 84667 h 144"/>
              <a:gd name="T18" fmla="*/ 14037 w 171"/>
              <a:gd name="T19" fmla="*/ 84667 h 144"/>
              <a:gd name="T20" fmla="*/ 27294 w 171"/>
              <a:gd name="T21" fmla="*/ 97896 h 144"/>
              <a:gd name="T22" fmla="*/ 27294 w 171"/>
              <a:gd name="T23" fmla="*/ 68792 h 144"/>
              <a:gd name="T24" fmla="*/ 40551 w 171"/>
              <a:gd name="T25" fmla="*/ 84667 h 144"/>
              <a:gd name="T26" fmla="*/ 79542 w 171"/>
              <a:gd name="T27" fmla="*/ 84667 h 144"/>
              <a:gd name="T28" fmla="*/ 120093 w 171"/>
              <a:gd name="T29" fmla="*/ 127000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chemeClr val="bg1"/>
          </a:solidFill>
          <a:ln w="9525">
            <a:solidFill>
              <a:schemeClr val="bg2"/>
            </a:solidFill>
            <a:round/>
            <a:headEnd/>
            <a:tailEnd/>
          </a:ln>
        </p:spPr>
        <p:txBody>
          <a:bodyPr/>
          <a:lstStyle/>
          <a:p>
            <a:endParaRPr lang="en-US" dirty="0"/>
          </a:p>
        </p:txBody>
      </p:sp>
      <p:sp>
        <p:nvSpPr>
          <p:cNvPr id="19761" name="Freeform 304"/>
          <p:cNvSpPr>
            <a:spLocks noChangeAspect="1"/>
          </p:cNvSpPr>
          <p:nvPr/>
        </p:nvSpPr>
        <p:spPr bwMode="auto">
          <a:xfrm>
            <a:off x="4749800" y="3398838"/>
            <a:ext cx="357188" cy="438150"/>
          </a:xfrm>
          <a:custGeom>
            <a:avLst/>
            <a:gdLst>
              <a:gd name="T0" fmla="*/ 316186 w 453"/>
              <a:gd name="T1" fmla="*/ 199159 h 495"/>
              <a:gd name="T2" fmla="*/ 316186 w 453"/>
              <a:gd name="T3" fmla="*/ 199159 h 495"/>
              <a:gd name="T4" fmla="*/ 330379 w 453"/>
              <a:gd name="T5" fmla="*/ 141624 h 495"/>
              <a:gd name="T6" fmla="*/ 357188 w 453"/>
              <a:gd name="T7" fmla="*/ 127462 h 495"/>
              <a:gd name="T8" fmla="*/ 357188 w 453"/>
              <a:gd name="T9" fmla="*/ 114185 h 495"/>
              <a:gd name="T10" fmla="*/ 343784 w 453"/>
              <a:gd name="T11" fmla="*/ 99137 h 495"/>
              <a:gd name="T12" fmla="*/ 330379 w 453"/>
              <a:gd name="T13" fmla="*/ 14162 h 495"/>
              <a:gd name="T14" fmla="*/ 301205 w 453"/>
              <a:gd name="T15" fmla="*/ 0 h 495"/>
              <a:gd name="T16" fmla="*/ 260203 w 453"/>
              <a:gd name="T17" fmla="*/ 29210 h 495"/>
              <a:gd name="T18" fmla="*/ 246799 w 453"/>
              <a:gd name="T19" fmla="*/ 14162 h 495"/>
              <a:gd name="T20" fmla="*/ 69388 w 453"/>
              <a:gd name="T21" fmla="*/ 14162 h 495"/>
              <a:gd name="T22" fmla="*/ 69388 w 453"/>
              <a:gd name="T23" fmla="*/ 56650 h 495"/>
              <a:gd name="T24" fmla="*/ 55983 w 453"/>
              <a:gd name="T25" fmla="*/ 71697 h 495"/>
              <a:gd name="T26" fmla="*/ 41002 w 453"/>
              <a:gd name="T27" fmla="*/ 84975 h 495"/>
              <a:gd name="T28" fmla="*/ 41002 w 453"/>
              <a:gd name="T29" fmla="*/ 156672 h 495"/>
              <a:gd name="T30" fmla="*/ 41002 w 453"/>
              <a:gd name="T31" fmla="*/ 169949 h 495"/>
              <a:gd name="T32" fmla="*/ 27597 w 453"/>
              <a:gd name="T33" fmla="*/ 169949 h 495"/>
              <a:gd name="T34" fmla="*/ 0 w 453"/>
              <a:gd name="T35" fmla="*/ 225714 h 495"/>
              <a:gd name="T36" fmla="*/ 27597 w 453"/>
              <a:gd name="T37" fmla="*/ 268201 h 495"/>
              <a:gd name="T38" fmla="*/ 13404 w 453"/>
              <a:gd name="T39" fmla="*/ 268201 h 495"/>
              <a:gd name="T40" fmla="*/ 41002 w 453"/>
              <a:gd name="T41" fmla="*/ 297411 h 495"/>
              <a:gd name="T42" fmla="*/ 41002 w 453"/>
              <a:gd name="T43" fmla="*/ 326621 h 495"/>
              <a:gd name="T44" fmla="*/ 69388 w 453"/>
              <a:gd name="T45" fmla="*/ 339898 h 495"/>
              <a:gd name="T46" fmla="*/ 124582 w 453"/>
              <a:gd name="T47" fmla="*/ 411595 h 495"/>
              <a:gd name="T48" fmla="*/ 137987 w 453"/>
              <a:gd name="T49" fmla="*/ 424873 h 495"/>
              <a:gd name="T50" fmla="*/ 178988 w 453"/>
              <a:gd name="T51" fmla="*/ 424873 h 495"/>
              <a:gd name="T52" fmla="*/ 192393 w 453"/>
              <a:gd name="T53" fmla="*/ 438150 h 495"/>
              <a:gd name="T54" fmla="*/ 219202 w 453"/>
              <a:gd name="T55" fmla="*/ 438150 h 495"/>
              <a:gd name="T56" fmla="*/ 260203 w 453"/>
              <a:gd name="T57" fmla="*/ 424873 h 495"/>
              <a:gd name="T58" fmla="*/ 274396 w 453"/>
              <a:gd name="T59" fmla="*/ 424873 h 495"/>
              <a:gd name="T60" fmla="*/ 301205 w 453"/>
              <a:gd name="T61" fmla="*/ 424873 h 495"/>
              <a:gd name="T62" fmla="*/ 301205 w 453"/>
              <a:gd name="T63" fmla="*/ 395663 h 495"/>
              <a:gd name="T64" fmla="*/ 287801 w 453"/>
              <a:gd name="T65" fmla="*/ 395663 h 495"/>
              <a:gd name="T66" fmla="*/ 260203 w 453"/>
              <a:gd name="T67" fmla="*/ 353175 h 495"/>
              <a:gd name="T68" fmla="*/ 246799 w 453"/>
              <a:gd name="T69" fmla="*/ 339898 h 495"/>
              <a:gd name="T70" fmla="*/ 260203 w 453"/>
              <a:gd name="T71" fmla="*/ 326621 h 495"/>
              <a:gd name="T72" fmla="*/ 274396 w 453"/>
              <a:gd name="T73" fmla="*/ 284134 h 495"/>
              <a:gd name="T74" fmla="*/ 316186 w 453"/>
              <a:gd name="T75" fmla="*/ 225714 h 495"/>
              <a:gd name="T76" fmla="*/ 316186 w 453"/>
              <a:gd name="T77" fmla="*/ 199159 h 4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3"/>
              <a:gd name="T118" fmla="*/ 0 h 495"/>
              <a:gd name="T119" fmla="*/ 453 w 453"/>
              <a:gd name="T120" fmla="*/ 495 h 4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3" h="495">
                <a:moveTo>
                  <a:pt x="401" y="225"/>
                </a:moveTo>
                <a:lnTo>
                  <a:pt x="401" y="225"/>
                </a:lnTo>
                <a:lnTo>
                  <a:pt x="419" y="160"/>
                </a:lnTo>
                <a:lnTo>
                  <a:pt x="453" y="144"/>
                </a:lnTo>
                <a:lnTo>
                  <a:pt x="453" y="129"/>
                </a:lnTo>
                <a:lnTo>
                  <a:pt x="436" y="112"/>
                </a:lnTo>
                <a:lnTo>
                  <a:pt x="419" y="16"/>
                </a:lnTo>
                <a:lnTo>
                  <a:pt x="382" y="0"/>
                </a:lnTo>
                <a:lnTo>
                  <a:pt x="330" y="33"/>
                </a:lnTo>
                <a:lnTo>
                  <a:pt x="313" y="16"/>
                </a:lnTo>
                <a:lnTo>
                  <a:pt x="88" y="16"/>
                </a:lnTo>
                <a:lnTo>
                  <a:pt x="88" y="64"/>
                </a:lnTo>
                <a:lnTo>
                  <a:pt x="71" y="81"/>
                </a:lnTo>
                <a:lnTo>
                  <a:pt x="52" y="96"/>
                </a:lnTo>
                <a:lnTo>
                  <a:pt x="52" y="177"/>
                </a:lnTo>
                <a:lnTo>
                  <a:pt x="52" y="192"/>
                </a:lnTo>
                <a:lnTo>
                  <a:pt x="35" y="192"/>
                </a:lnTo>
                <a:lnTo>
                  <a:pt x="0" y="255"/>
                </a:lnTo>
                <a:lnTo>
                  <a:pt x="35" y="303"/>
                </a:lnTo>
                <a:lnTo>
                  <a:pt x="17" y="303"/>
                </a:lnTo>
                <a:lnTo>
                  <a:pt x="52" y="336"/>
                </a:lnTo>
                <a:lnTo>
                  <a:pt x="52" y="369"/>
                </a:lnTo>
                <a:lnTo>
                  <a:pt x="88" y="384"/>
                </a:lnTo>
                <a:lnTo>
                  <a:pt x="158" y="465"/>
                </a:lnTo>
                <a:lnTo>
                  <a:pt x="175" y="480"/>
                </a:lnTo>
                <a:lnTo>
                  <a:pt x="227" y="480"/>
                </a:lnTo>
                <a:lnTo>
                  <a:pt x="244" y="495"/>
                </a:lnTo>
                <a:lnTo>
                  <a:pt x="278" y="495"/>
                </a:lnTo>
                <a:lnTo>
                  <a:pt x="330" y="480"/>
                </a:lnTo>
                <a:lnTo>
                  <a:pt x="348" y="480"/>
                </a:lnTo>
                <a:lnTo>
                  <a:pt x="382" y="480"/>
                </a:lnTo>
                <a:lnTo>
                  <a:pt x="382" y="447"/>
                </a:lnTo>
                <a:lnTo>
                  <a:pt x="365" y="447"/>
                </a:lnTo>
                <a:lnTo>
                  <a:pt x="330" y="399"/>
                </a:lnTo>
                <a:lnTo>
                  <a:pt x="313" y="384"/>
                </a:lnTo>
                <a:lnTo>
                  <a:pt x="330" y="369"/>
                </a:lnTo>
                <a:lnTo>
                  <a:pt x="348" y="321"/>
                </a:lnTo>
                <a:lnTo>
                  <a:pt x="401" y="255"/>
                </a:lnTo>
                <a:lnTo>
                  <a:pt x="401" y="225"/>
                </a:lnTo>
                <a:close/>
              </a:path>
            </a:pathLst>
          </a:custGeom>
          <a:solidFill>
            <a:schemeClr val="bg1"/>
          </a:solidFill>
          <a:ln w="9525">
            <a:solidFill>
              <a:schemeClr val="bg2"/>
            </a:solidFill>
            <a:round/>
            <a:headEnd/>
            <a:tailEnd/>
          </a:ln>
        </p:spPr>
        <p:txBody>
          <a:bodyPr/>
          <a:lstStyle/>
          <a:p>
            <a:endParaRPr lang="en-US" dirty="0"/>
          </a:p>
        </p:txBody>
      </p:sp>
      <p:sp>
        <p:nvSpPr>
          <p:cNvPr id="19762" name="Freeform 305"/>
          <p:cNvSpPr>
            <a:spLocks noChangeAspect="1"/>
          </p:cNvSpPr>
          <p:nvPr/>
        </p:nvSpPr>
        <p:spPr bwMode="auto">
          <a:xfrm>
            <a:off x="4464050" y="3625850"/>
            <a:ext cx="166688" cy="254000"/>
          </a:xfrm>
          <a:custGeom>
            <a:avLst/>
            <a:gdLst>
              <a:gd name="T0" fmla="*/ 0 w 212"/>
              <a:gd name="T1" fmla="*/ 185208 h 288"/>
              <a:gd name="T2" fmla="*/ 0 w 212"/>
              <a:gd name="T3" fmla="*/ 185208 h 288"/>
              <a:gd name="T4" fmla="*/ 27519 w 212"/>
              <a:gd name="T5" fmla="*/ 142875 h 288"/>
              <a:gd name="T6" fmla="*/ 40886 w 212"/>
              <a:gd name="T7" fmla="*/ 142875 h 288"/>
              <a:gd name="T8" fmla="*/ 54252 w 212"/>
              <a:gd name="T9" fmla="*/ 156104 h 288"/>
              <a:gd name="T10" fmla="*/ 69978 w 212"/>
              <a:gd name="T11" fmla="*/ 142875 h 288"/>
              <a:gd name="T12" fmla="*/ 96710 w 212"/>
              <a:gd name="T13" fmla="*/ 100542 h 288"/>
              <a:gd name="T14" fmla="*/ 110863 w 212"/>
              <a:gd name="T15" fmla="*/ 58208 h 288"/>
              <a:gd name="T16" fmla="*/ 124230 w 212"/>
              <a:gd name="T17" fmla="*/ 29104 h 288"/>
              <a:gd name="T18" fmla="*/ 124230 w 212"/>
              <a:gd name="T19" fmla="*/ 15875 h 288"/>
              <a:gd name="T20" fmla="*/ 124230 w 212"/>
              <a:gd name="T21" fmla="*/ 0 h 288"/>
              <a:gd name="T22" fmla="*/ 124230 w 212"/>
              <a:gd name="T23" fmla="*/ 15875 h 288"/>
              <a:gd name="T24" fmla="*/ 152535 w 212"/>
              <a:gd name="T25" fmla="*/ 71437 h 288"/>
              <a:gd name="T26" fmla="*/ 124230 w 212"/>
              <a:gd name="T27" fmla="*/ 71437 h 288"/>
              <a:gd name="T28" fmla="*/ 124230 w 212"/>
              <a:gd name="T29" fmla="*/ 84667 h 288"/>
              <a:gd name="T30" fmla="*/ 139169 w 212"/>
              <a:gd name="T31" fmla="*/ 100542 h 288"/>
              <a:gd name="T32" fmla="*/ 152535 w 212"/>
              <a:gd name="T33" fmla="*/ 127000 h 288"/>
              <a:gd name="T34" fmla="*/ 124230 w 212"/>
              <a:gd name="T35" fmla="*/ 169333 h 288"/>
              <a:gd name="T36" fmla="*/ 139169 w 212"/>
              <a:gd name="T37" fmla="*/ 185208 h 288"/>
              <a:gd name="T38" fmla="*/ 166688 w 212"/>
              <a:gd name="T39" fmla="*/ 227542 h 288"/>
              <a:gd name="T40" fmla="*/ 166688 w 212"/>
              <a:gd name="T41" fmla="*/ 254000 h 288"/>
              <a:gd name="T42" fmla="*/ 96710 w 212"/>
              <a:gd name="T43" fmla="*/ 240771 h 288"/>
              <a:gd name="T44" fmla="*/ 54252 w 212"/>
              <a:gd name="T45" fmla="*/ 240771 h 288"/>
              <a:gd name="T46" fmla="*/ 27519 w 212"/>
              <a:gd name="T47" fmla="*/ 240771 h 288"/>
              <a:gd name="T48" fmla="*/ 27519 w 212"/>
              <a:gd name="T49" fmla="*/ 227542 h 288"/>
              <a:gd name="T50" fmla="*/ 14153 w 212"/>
              <a:gd name="T51" fmla="*/ 211667 h 288"/>
              <a:gd name="T52" fmla="*/ 0 w 212"/>
              <a:gd name="T53" fmla="*/ 198437 h 288"/>
              <a:gd name="T54" fmla="*/ 0 w 212"/>
              <a:gd name="T55" fmla="*/ 185208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noFill/>
          <a:ln w="9525">
            <a:solidFill>
              <a:schemeClr val="bg2"/>
            </a:solidFill>
            <a:round/>
            <a:headEnd/>
            <a:tailEnd/>
          </a:ln>
        </p:spPr>
        <p:txBody>
          <a:bodyPr/>
          <a:lstStyle/>
          <a:p>
            <a:endParaRPr lang="en-US" dirty="0"/>
          </a:p>
        </p:txBody>
      </p:sp>
      <p:sp>
        <p:nvSpPr>
          <p:cNvPr id="19763" name="Freeform 306"/>
          <p:cNvSpPr>
            <a:spLocks noChangeAspect="1"/>
          </p:cNvSpPr>
          <p:nvPr/>
        </p:nvSpPr>
        <p:spPr bwMode="auto">
          <a:xfrm>
            <a:off x="4475163" y="3867150"/>
            <a:ext cx="42862" cy="26988"/>
          </a:xfrm>
          <a:custGeom>
            <a:avLst/>
            <a:gdLst>
              <a:gd name="T0" fmla="*/ 42862 w 53"/>
              <a:gd name="T1" fmla="*/ 0 h 33"/>
              <a:gd name="T2" fmla="*/ 42862 w 53"/>
              <a:gd name="T3" fmla="*/ 0 h 33"/>
              <a:gd name="T4" fmla="*/ 42862 w 53"/>
              <a:gd name="T5" fmla="*/ 26988 h 33"/>
              <a:gd name="T6" fmla="*/ 13748 w 53"/>
              <a:gd name="T7" fmla="*/ 26988 h 33"/>
              <a:gd name="T8" fmla="*/ 0 w 53"/>
              <a:gd name="T9" fmla="*/ 26988 h 33"/>
              <a:gd name="T10" fmla="*/ 13748 w 53"/>
              <a:gd name="T11" fmla="*/ 0 h 33"/>
              <a:gd name="T12" fmla="*/ 4286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noFill/>
          <a:ln w="9525">
            <a:solidFill>
              <a:schemeClr val="bg2"/>
            </a:solidFill>
            <a:prstDash val="solid"/>
            <a:round/>
            <a:headEnd/>
            <a:tailEnd/>
          </a:ln>
        </p:spPr>
        <p:txBody>
          <a:bodyPr/>
          <a:lstStyle/>
          <a:p>
            <a:endParaRPr lang="en-US" dirty="0"/>
          </a:p>
        </p:txBody>
      </p:sp>
      <p:sp>
        <p:nvSpPr>
          <p:cNvPr id="19764" name="Freeform 307"/>
          <p:cNvSpPr>
            <a:spLocks noChangeAspect="1"/>
          </p:cNvSpPr>
          <p:nvPr/>
        </p:nvSpPr>
        <p:spPr bwMode="auto">
          <a:xfrm>
            <a:off x="4997450" y="3584575"/>
            <a:ext cx="314325" cy="252413"/>
          </a:xfrm>
          <a:custGeom>
            <a:avLst/>
            <a:gdLst>
              <a:gd name="T0" fmla="*/ 192219 w 399"/>
              <a:gd name="T1" fmla="*/ 57845 h 288"/>
              <a:gd name="T2" fmla="*/ 192219 w 399"/>
              <a:gd name="T3" fmla="*/ 57845 h 288"/>
              <a:gd name="T4" fmla="*/ 192219 w 399"/>
              <a:gd name="T5" fmla="*/ 84138 h 288"/>
              <a:gd name="T6" fmla="*/ 192219 w 399"/>
              <a:gd name="T7" fmla="*/ 99913 h 288"/>
              <a:gd name="T8" fmla="*/ 205611 w 399"/>
              <a:gd name="T9" fmla="*/ 99913 h 288"/>
              <a:gd name="T10" fmla="*/ 205611 w 399"/>
              <a:gd name="T11" fmla="*/ 113060 h 288"/>
              <a:gd name="T12" fmla="*/ 233183 w 399"/>
              <a:gd name="T13" fmla="*/ 141982 h 288"/>
              <a:gd name="T14" fmla="*/ 300933 w 399"/>
              <a:gd name="T15" fmla="*/ 155129 h 288"/>
              <a:gd name="T16" fmla="*/ 314325 w 399"/>
              <a:gd name="T17" fmla="*/ 155129 h 288"/>
              <a:gd name="T18" fmla="*/ 259968 w 399"/>
              <a:gd name="T19" fmla="*/ 226120 h 288"/>
              <a:gd name="T20" fmla="*/ 219003 w 399"/>
              <a:gd name="T21" fmla="*/ 226120 h 288"/>
              <a:gd name="T22" fmla="*/ 192219 w 399"/>
              <a:gd name="T23" fmla="*/ 252413 h 288"/>
              <a:gd name="T24" fmla="*/ 163071 w 399"/>
              <a:gd name="T25" fmla="*/ 239266 h 288"/>
              <a:gd name="T26" fmla="*/ 122894 w 399"/>
              <a:gd name="T27" fmla="*/ 252413 h 288"/>
              <a:gd name="T28" fmla="*/ 54357 w 399"/>
              <a:gd name="T29" fmla="*/ 239266 h 288"/>
              <a:gd name="T30" fmla="*/ 54357 w 399"/>
              <a:gd name="T31" fmla="*/ 210344 h 288"/>
              <a:gd name="T32" fmla="*/ 40965 w 399"/>
              <a:gd name="T33" fmla="*/ 210344 h 288"/>
              <a:gd name="T34" fmla="*/ 13392 w 399"/>
              <a:gd name="T35" fmla="*/ 168275 h 288"/>
              <a:gd name="T36" fmla="*/ 0 w 399"/>
              <a:gd name="T37" fmla="*/ 155129 h 288"/>
              <a:gd name="T38" fmla="*/ 13392 w 399"/>
              <a:gd name="T39" fmla="*/ 141982 h 288"/>
              <a:gd name="T40" fmla="*/ 27572 w 399"/>
              <a:gd name="T41" fmla="*/ 99913 h 288"/>
              <a:gd name="T42" fmla="*/ 67749 w 399"/>
              <a:gd name="T43" fmla="*/ 42069 h 288"/>
              <a:gd name="T44" fmla="*/ 67749 w 399"/>
              <a:gd name="T45" fmla="*/ 15776 h 288"/>
              <a:gd name="T46" fmla="*/ 81929 w 399"/>
              <a:gd name="T47" fmla="*/ 15776 h 288"/>
              <a:gd name="T48" fmla="*/ 95322 w 399"/>
              <a:gd name="T49" fmla="*/ 28922 h 288"/>
              <a:gd name="T50" fmla="*/ 95322 w 399"/>
              <a:gd name="T51" fmla="*/ 0 h 288"/>
              <a:gd name="T52" fmla="*/ 108714 w 399"/>
              <a:gd name="T53" fmla="*/ 15776 h 288"/>
              <a:gd name="T54" fmla="*/ 149679 w 399"/>
              <a:gd name="T55" fmla="*/ 15776 h 288"/>
              <a:gd name="T56" fmla="*/ 192219 w 399"/>
              <a:gd name="T57" fmla="*/ 57845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noFill/>
          <a:ln w="9525">
            <a:solidFill>
              <a:schemeClr val="bg2"/>
            </a:solidFill>
            <a:round/>
            <a:headEnd/>
            <a:tailEnd/>
          </a:ln>
        </p:spPr>
        <p:txBody>
          <a:bodyPr/>
          <a:lstStyle/>
          <a:p>
            <a:endParaRPr lang="en-US" dirty="0"/>
          </a:p>
        </p:txBody>
      </p:sp>
      <p:sp>
        <p:nvSpPr>
          <p:cNvPr id="19765" name="Freeform 308"/>
          <p:cNvSpPr>
            <a:spLocks noChangeAspect="1"/>
          </p:cNvSpPr>
          <p:nvPr/>
        </p:nvSpPr>
        <p:spPr bwMode="auto">
          <a:xfrm>
            <a:off x="5187950" y="3640138"/>
            <a:ext cx="30163" cy="41275"/>
          </a:xfrm>
          <a:custGeom>
            <a:avLst/>
            <a:gdLst>
              <a:gd name="T0" fmla="*/ 15082 w 34"/>
              <a:gd name="T1" fmla="*/ 41275 h 48"/>
              <a:gd name="T2" fmla="*/ 15082 w 34"/>
              <a:gd name="T3" fmla="*/ 41275 h 48"/>
              <a:gd name="T4" fmla="*/ 0 w 34"/>
              <a:gd name="T5" fmla="*/ 41275 h 48"/>
              <a:gd name="T6" fmla="*/ 0 w 34"/>
              <a:gd name="T7" fmla="*/ 25797 h 48"/>
              <a:gd name="T8" fmla="*/ 0 w 34"/>
              <a:gd name="T9" fmla="*/ 0 h 48"/>
              <a:gd name="T10" fmla="*/ 15082 w 34"/>
              <a:gd name="T11" fmla="*/ 0 h 48"/>
              <a:gd name="T12" fmla="*/ 30163 w 34"/>
              <a:gd name="T13" fmla="*/ 0 h 48"/>
              <a:gd name="T14" fmla="*/ 30163 w 34"/>
              <a:gd name="T15" fmla="*/ 12898 h 48"/>
              <a:gd name="T16" fmla="*/ 15082 w 34"/>
              <a:gd name="T17" fmla="*/ 12898 h 48"/>
              <a:gd name="T18" fmla="*/ 30163 w 34"/>
              <a:gd name="T19" fmla="*/ 25797 h 48"/>
              <a:gd name="T20" fmla="*/ 15082 w 34"/>
              <a:gd name="T21" fmla="*/ 4127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noFill/>
          <a:ln w="9525">
            <a:solidFill>
              <a:schemeClr val="bg2"/>
            </a:solidFill>
            <a:prstDash val="solid"/>
            <a:round/>
            <a:headEnd/>
            <a:tailEnd/>
          </a:ln>
        </p:spPr>
        <p:txBody>
          <a:bodyPr/>
          <a:lstStyle/>
          <a:p>
            <a:endParaRPr lang="en-US" dirty="0"/>
          </a:p>
        </p:txBody>
      </p:sp>
      <p:sp>
        <p:nvSpPr>
          <p:cNvPr id="19766" name="Freeform 309"/>
          <p:cNvSpPr>
            <a:spLocks noChangeAspect="1"/>
          </p:cNvSpPr>
          <p:nvPr/>
        </p:nvSpPr>
        <p:spPr bwMode="auto">
          <a:xfrm>
            <a:off x="5010150" y="3822700"/>
            <a:ext cx="177800" cy="198438"/>
          </a:xfrm>
          <a:custGeom>
            <a:avLst/>
            <a:gdLst>
              <a:gd name="T0" fmla="*/ 177800 w 227"/>
              <a:gd name="T1" fmla="*/ 13288 h 224"/>
              <a:gd name="T2" fmla="*/ 177800 w 227"/>
              <a:gd name="T3" fmla="*/ 13288 h 224"/>
              <a:gd name="T4" fmla="*/ 150386 w 227"/>
              <a:gd name="T5" fmla="*/ 0 h 224"/>
              <a:gd name="T6" fmla="*/ 109656 w 227"/>
              <a:gd name="T7" fmla="*/ 13288 h 224"/>
              <a:gd name="T8" fmla="*/ 40730 w 227"/>
              <a:gd name="T9" fmla="*/ 0 h 224"/>
              <a:gd name="T10" fmla="*/ 14099 w 227"/>
              <a:gd name="T11" fmla="*/ 0 h 224"/>
              <a:gd name="T12" fmla="*/ 0 w 227"/>
              <a:gd name="T13" fmla="*/ 0 h 224"/>
              <a:gd name="T14" fmla="*/ 14099 w 227"/>
              <a:gd name="T15" fmla="*/ 13288 h 224"/>
              <a:gd name="T16" fmla="*/ 27414 w 227"/>
              <a:gd name="T17" fmla="*/ 55811 h 224"/>
              <a:gd name="T18" fmla="*/ 0 w 227"/>
              <a:gd name="T19" fmla="*/ 98333 h 224"/>
              <a:gd name="T20" fmla="*/ 0 w 227"/>
              <a:gd name="T21" fmla="*/ 114279 h 224"/>
              <a:gd name="T22" fmla="*/ 14099 w 227"/>
              <a:gd name="T23" fmla="*/ 114279 h 224"/>
              <a:gd name="T24" fmla="*/ 81459 w 227"/>
              <a:gd name="T25" fmla="*/ 155916 h 224"/>
              <a:gd name="T26" fmla="*/ 81459 w 227"/>
              <a:gd name="T27" fmla="*/ 183378 h 224"/>
              <a:gd name="T28" fmla="*/ 123755 w 227"/>
              <a:gd name="T29" fmla="*/ 198438 h 224"/>
              <a:gd name="T30" fmla="*/ 137070 w 227"/>
              <a:gd name="T31" fmla="*/ 155916 h 224"/>
              <a:gd name="T32" fmla="*/ 150386 w 227"/>
              <a:gd name="T33" fmla="*/ 155916 h 224"/>
              <a:gd name="T34" fmla="*/ 164485 w 227"/>
              <a:gd name="T35" fmla="*/ 127567 h 224"/>
              <a:gd name="T36" fmla="*/ 150386 w 227"/>
              <a:gd name="T37" fmla="*/ 114279 h 224"/>
              <a:gd name="T38" fmla="*/ 150386 w 227"/>
              <a:gd name="T39" fmla="*/ 42522 h 224"/>
              <a:gd name="T40" fmla="*/ 177800 w 227"/>
              <a:gd name="T41" fmla="*/ 13288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noFill/>
          <a:ln w="9525">
            <a:solidFill>
              <a:schemeClr val="bg2"/>
            </a:solidFill>
            <a:round/>
            <a:headEnd/>
            <a:tailEnd/>
          </a:ln>
        </p:spPr>
        <p:txBody>
          <a:bodyPr/>
          <a:lstStyle/>
          <a:p>
            <a:endParaRPr lang="en-US" dirty="0"/>
          </a:p>
        </p:txBody>
      </p:sp>
      <p:sp>
        <p:nvSpPr>
          <p:cNvPr id="19767" name="Freeform 310"/>
          <p:cNvSpPr>
            <a:spLocks noChangeAspect="1"/>
          </p:cNvSpPr>
          <p:nvPr/>
        </p:nvSpPr>
        <p:spPr bwMode="auto">
          <a:xfrm>
            <a:off x="4914900" y="3822700"/>
            <a:ext cx="122238" cy="128588"/>
          </a:xfrm>
          <a:custGeom>
            <a:avLst/>
            <a:gdLst>
              <a:gd name="T0" fmla="*/ 94813 w 156"/>
              <a:gd name="T1" fmla="*/ 0 h 144"/>
              <a:gd name="T2" fmla="*/ 94813 w 156"/>
              <a:gd name="T3" fmla="*/ 0 h 144"/>
              <a:gd name="T4" fmla="*/ 108917 w 156"/>
              <a:gd name="T5" fmla="*/ 13395 h 144"/>
              <a:gd name="T6" fmla="*/ 122238 w 156"/>
              <a:gd name="T7" fmla="*/ 56257 h 144"/>
              <a:gd name="T8" fmla="*/ 94813 w 156"/>
              <a:gd name="T9" fmla="*/ 99120 h 144"/>
              <a:gd name="T10" fmla="*/ 94813 w 156"/>
              <a:gd name="T11" fmla="*/ 115193 h 144"/>
              <a:gd name="T12" fmla="*/ 54067 w 156"/>
              <a:gd name="T13" fmla="*/ 115193 h 144"/>
              <a:gd name="T14" fmla="*/ 27425 w 156"/>
              <a:gd name="T15" fmla="*/ 115193 h 144"/>
              <a:gd name="T16" fmla="*/ 0 w 156"/>
              <a:gd name="T17" fmla="*/ 128588 h 144"/>
              <a:gd name="T18" fmla="*/ 14104 w 156"/>
              <a:gd name="T19" fmla="*/ 85725 h 144"/>
              <a:gd name="T20" fmla="*/ 27425 w 156"/>
              <a:gd name="T21" fmla="*/ 72331 h 144"/>
              <a:gd name="T22" fmla="*/ 40746 w 156"/>
              <a:gd name="T23" fmla="*/ 42863 h 144"/>
              <a:gd name="T24" fmla="*/ 27425 w 156"/>
              <a:gd name="T25" fmla="*/ 42863 h 144"/>
              <a:gd name="T26" fmla="*/ 27425 w 156"/>
              <a:gd name="T27" fmla="*/ 13395 h 144"/>
              <a:gd name="T28" fmla="*/ 54067 w 156"/>
              <a:gd name="T29" fmla="*/ 13395 h 144"/>
              <a:gd name="T30" fmla="*/ 94813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noFill/>
          <a:ln w="9525">
            <a:solidFill>
              <a:schemeClr val="bg2"/>
            </a:solidFill>
            <a:round/>
            <a:headEnd/>
            <a:tailEnd/>
          </a:ln>
        </p:spPr>
        <p:txBody>
          <a:bodyPr/>
          <a:lstStyle/>
          <a:p>
            <a:endParaRPr lang="en-US" dirty="0"/>
          </a:p>
        </p:txBody>
      </p:sp>
      <p:sp>
        <p:nvSpPr>
          <p:cNvPr id="19768" name="Freeform 311"/>
          <p:cNvSpPr>
            <a:spLocks noChangeAspect="1"/>
          </p:cNvSpPr>
          <p:nvPr/>
        </p:nvSpPr>
        <p:spPr bwMode="auto">
          <a:xfrm>
            <a:off x="4900613" y="3937000"/>
            <a:ext cx="42862" cy="41275"/>
          </a:xfrm>
          <a:custGeom>
            <a:avLst/>
            <a:gdLst>
              <a:gd name="T0" fmla="*/ 42862 w 52"/>
              <a:gd name="T1" fmla="*/ 41275 h 47"/>
              <a:gd name="T2" fmla="*/ 42862 w 52"/>
              <a:gd name="T3" fmla="*/ 41275 h 47"/>
              <a:gd name="T4" fmla="*/ 14013 w 52"/>
              <a:gd name="T5" fmla="*/ 41275 h 47"/>
              <a:gd name="T6" fmla="*/ 0 w 52"/>
              <a:gd name="T7" fmla="*/ 41275 h 47"/>
              <a:gd name="T8" fmla="*/ 14013 w 52"/>
              <a:gd name="T9" fmla="*/ 13173 h 47"/>
              <a:gd name="T10" fmla="*/ 42862 w 52"/>
              <a:gd name="T11" fmla="*/ 0 h 47"/>
              <a:gd name="T12" fmla="*/ 42862 w 52"/>
              <a:gd name="T13" fmla="*/ 26346 h 47"/>
              <a:gd name="T14" fmla="*/ 42862 w 52"/>
              <a:gd name="T15" fmla="*/ 41275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noFill/>
          <a:ln w="9525">
            <a:solidFill>
              <a:schemeClr val="bg2"/>
            </a:solidFill>
            <a:prstDash val="solid"/>
            <a:round/>
            <a:headEnd/>
            <a:tailEnd/>
          </a:ln>
        </p:spPr>
        <p:txBody>
          <a:bodyPr/>
          <a:lstStyle/>
          <a:p>
            <a:endParaRPr lang="en-US" dirty="0"/>
          </a:p>
        </p:txBody>
      </p:sp>
      <p:sp>
        <p:nvSpPr>
          <p:cNvPr id="19769" name="Freeform 312"/>
          <p:cNvSpPr>
            <a:spLocks noChangeAspect="1"/>
          </p:cNvSpPr>
          <p:nvPr/>
        </p:nvSpPr>
        <p:spPr bwMode="auto">
          <a:xfrm>
            <a:off x="4914900" y="3978275"/>
            <a:ext cx="28575" cy="42863"/>
          </a:xfrm>
          <a:custGeom>
            <a:avLst/>
            <a:gdLst>
              <a:gd name="T0" fmla="*/ 28575 w 35"/>
              <a:gd name="T1" fmla="*/ 0 h 48"/>
              <a:gd name="T2" fmla="*/ 28575 w 35"/>
              <a:gd name="T3" fmla="*/ 0 h 48"/>
              <a:gd name="T4" fmla="*/ 28575 w 35"/>
              <a:gd name="T5" fmla="*/ 14288 h 48"/>
              <a:gd name="T6" fmla="*/ 0 w 35"/>
              <a:gd name="T7" fmla="*/ 42863 h 48"/>
              <a:gd name="T8" fmla="*/ 0 w 35"/>
              <a:gd name="T9" fmla="*/ 14288 h 48"/>
              <a:gd name="T10" fmla="*/ 0 w 35"/>
              <a:gd name="T11" fmla="*/ 0 h 48"/>
              <a:gd name="T12" fmla="*/ 28575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noFill/>
          <a:ln w="9525">
            <a:solidFill>
              <a:schemeClr val="bg2"/>
            </a:solidFill>
            <a:prstDash val="solid"/>
            <a:round/>
            <a:headEnd/>
            <a:tailEnd/>
          </a:ln>
        </p:spPr>
        <p:txBody>
          <a:bodyPr/>
          <a:lstStyle/>
          <a:p>
            <a:endParaRPr lang="en-US" dirty="0"/>
          </a:p>
        </p:txBody>
      </p:sp>
      <p:sp>
        <p:nvSpPr>
          <p:cNvPr id="19770" name="Freeform 313"/>
          <p:cNvSpPr>
            <a:spLocks noChangeAspect="1"/>
          </p:cNvSpPr>
          <p:nvPr/>
        </p:nvSpPr>
        <p:spPr bwMode="auto">
          <a:xfrm>
            <a:off x="3998913" y="3076575"/>
            <a:ext cx="258762" cy="212725"/>
          </a:xfrm>
          <a:custGeom>
            <a:avLst/>
            <a:gdLst>
              <a:gd name="T0" fmla="*/ 232102 w 330"/>
              <a:gd name="T1" fmla="*/ 15068 h 240"/>
              <a:gd name="T2" fmla="*/ 232102 w 330"/>
              <a:gd name="T3" fmla="*/ 15068 h 240"/>
              <a:gd name="T4" fmla="*/ 245432 w 330"/>
              <a:gd name="T5" fmla="*/ 15068 h 240"/>
              <a:gd name="T6" fmla="*/ 258762 w 330"/>
              <a:gd name="T7" fmla="*/ 85090 h 240"/>
              <a:gd name="T8" fmla="*/ 204657 w 330"/>
              <a:gd name="T9" fmla="*/ 100158 h 240"/>
              <a:gd name="T10" fmla="*/ 204657 w 330"/>
              <a:gd name="T11" fmla="*/ 113453 h 240"/>
              <a:gd name="T12" fmla="*/ 163883 w 330"/>
              <a:gd name="T13" fmla="*/ 142703 h 240"/>
              <a:gd name="T14" fmla="*/ 109778 w 330"/>
              <a:gd name="T15" fmla="*/ 170180 h 240"/>
              <a:gd name="T16" fmla="*/ 96448 w 330"/>
              <a:gd name="T17" fmla="*/ 185248 h 240"/>
              <a:gd name="T18" fmla="*/ 96448 w 330"/>
              <a:gd name="T19" fmla="*/ 212725 h 240"/>
              <a:gd name="T20" fmla="*/ 0 w 330"/>
              <a:gd name="T21" fmla="*/ 198543 h 240"/>
              <a:gd name="T22" fmla="*/ 28229 w 330"/>
              <a:gd name="T23" fmla="*/ 198543 h 240"/>
              <a:gd name="T24" fmla="*/ 55673 w 330"/>
              <a:gd name="T25" fmla="*/ 170180 h 240"/>
              <a:gd name="T26" fmla="*/ 69003 w 330"/>
              <a:gd name="T27" fmla="*/ 142703 h 240"/>
              <a:gd name="T28" fmla="*/ 69003 w 330"/>
              <a:gd name="T29" fmla="*/ 113453 h 240"/>
              <a:gd name="T30" fmla="*/ 83117 w 330"/>
              <a:gd name="T31" fmla="*/ 85090 h 240"/>
              <a:gd name="T32" fmla="*/ 96448 w 330"/>
              <a:gd name="T33" fmla="*/ 57613 h 240"/>
              <a:gd name="T34" fmla="*/ 137222 w 330"/>
              <a:gd name="T35" fmla="*/ 42545 h 240"/>
              <a:gd name="T36" fmla="*/ 150552 w 330"/>
              <a:gd name="T37" fmla="*/ 0 h 240"/>
              <a:gd name="T38" fmla="*/ 163883 w 330"/>
              <a:gd name="T39" fmla="*/ 0 h 240"/>
              <a:gd name="T40" fmla="*/ 177997 w 330"/>
              <a:gd name="T41" fmla="*/ 15068 h 240"/>
              <a:gd name="T42" fmla="*/ 217987 w 330"/>
              <a:gd name="T43" fmla="*/ 15068 h 240"/>
              <a:gd name="T44" fmla="*/ 232102 w 330"/>
              <a:gd name="T45" fmla="*/ 15068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chemeClr val="bg1"/>
          </a:solidFill>
          <a:ln w="9525">
            <a:solidFill>
              <a:schemeClr val="bg2"/>
            </a:solidFill>
            <a:prstDash val="solid"/>
            <a:round/>
            <a:headEnd/>
            <a:tailEnd/>
          </a:ln>
        </p:spPr>
        <p:txBody>
          <a:bodyPr/>
          <a:lstStyle/>
          <a:p>
            <a:endParaRPr lang="en-US" dirty="0"/>
          </a:p>
        </p:txBody>
      </p:sp>
      <p:sp>
        <p:nvSpPr>
          <p:cNvPr id="19771" name="Freeform 314"/>
          <p:cNvSpPr>
            <a:spLocks noChangeAspect="1"/>
          </p:cNvSpPr>
          <p:nvPr/>
        </p:nvSpPr>
        <p:spPr bwMode="auto">
          <a:xfrm>
            <a:off x="4094163" y="3033713"/>
            <a:ext cx="436562" cy="452437"/>
          </a:xfrm>
          <a:custGeom>
            <a:avLst/>
            <a:gdLst>
              <a:gd name="T0" fmla="*/ 136081 w 555"/>
              <a:gd name="T1" fmla="*/ 57438 h 512"/>
              <a:gd name="T2" fmla="*/ 136081 w 555"/>
              <a:gd name="T3" fmla="*/ 57438 h 512"/>
              <a:gd name="T4" fmla="*/ 151027 w 555"/>
              <a:gd name="T5" fmla="*/ 57438 h 512"/>
              <a:gd name="T6" fmla="*/ 164399 w 555"/>
              <a:gd name="T7" fmla="*/ 127248 h 512"/>
              <a:gd name="T8" fmla="*/ 108551 w 555"/>
              <a:gd name="T9" fmla="*/ 142270 h 512"/>
              <a:gd name="T10" fmla="*/ 108551 w 555"/>
              <a:gd name="T11" fmla="*/ 155525 h 512"/>
              <a:gd name="T12" fmla="*/ 67647 w 555"/>
              <a:gd name="T13" fmla="*/ 184686 h 512"/>
              <a:gd name="T14" fmla="*/ 13372 w 555"/>
              <a:gd name="T15" fmla="*/ 212080 h 512"/>
              <a:gd name="T16" fmla="*/ 0 w 555"/>
              <a:gd name="T17" fmla="*/ 227102 h 512"/>
              <a:gd name="T18" fmla="*/ 0 w 555"/>
              <a:gd name="T19" fmla="*/ 254496 h 512"/>
              <a:gd name="T20" fmla="*/ 81806 w 555"/>
              <a:gd name="T21" fmla="*/ 311934 h 512"/>
              <a:gd name="T22" fmla="*/ 205302 w 555"/>
              <a:gd name="T23" fmla="*/ 410021 h 512"/>
              <a:gd name="T24" fmla="*/ 218674 w 555"/>
              <a:gd name="T25" fmla="*/ 424160 h 512"/>
              <a:gd name="T26" fmla="*/ 246205 w 555"/>
              <a:gd name="T27" fmla="*/ 439182 h 512"/>
              <a:gd name="T28" fmla="*/ 259577 w 555"/>
              <a:gd name="T29" fmla="*/ 452437 h 512"/>
              <a:gd name="T30" fmla="*/ 272950 w 555"/>
              <a:gd name="T31" fmla="*/ 452437 h 512"/>
              <a:gd name="T32" fmla="*/ 300480 w 555"/>
              <a:gd name="T33" fmla="*/ 452437 h 512"/>
              <a:gd name="T34" fmla="*/ 436562 w 555"/>
              <a:gd name="T35" fmla="*/ 354350 h 512"/>
              <a:gd name="T36" fmla="*/ 422403 w 555"/>
              <a:gd name="T37" fmla="*/ 325189 h 512"/>
              <a:gd name="T38" fmla="*/ 409031 w 555"/>
              <a:gd name="T39" fmla="*/ 325189 h 512"/>
              <a:gd name="T40" fmla="*/ 382287 w 555"/>
              <a:gd name="T41" fmla="*/ 282773 h 512"/>
              <a:gd name="T42" fmla="*/ 395659 w 555"/>
              <a:gd name="T43" fmla="*/ 269518 h 512"/>
              <a:gd name="T44" fmla="*/ 395659 w 555"/>
              <a:gd name="T45" fmla="*/ 240357 h 512"/>
              <a:gd name="T46" fmla="*/ 395659 w 555"/>
              <a:gd name="T47" fmla="*/ 212080 h 512"/>
              <a:gd name="T48" fmla="*/ 382287 w 555"/>
              <a:gd name="T49" fmla="*/ 197941 h 512"/>
              <a:gd name="T50" fmla="*/ 382287 w 555"/>
              <a:gd name="T51" fmla="*/ 184686 h 512"/>
              <a:gd name="T52" fmla="*/ 382287 w 555"/>
              <a:gd name="T53" fmla="*/ 142270 h 512"/>
              <a:gd name="T54" fmla="*/ 354756 w 555"/>
              <a:gd name="T55" fmla="*/ 127248 h 512"/>
              <a:gd name="T56" fmla="*/ 341384 w 555"/>
              <a:gd name="T57" fmla="*/ 99854 h 512"/>
              <a:gd name="T58" fmla="*/ 368128 w 555"/>
              <a:gd name="T59" fmla="*/ 70693 h 512"/>
              <a:gd name="T60" fmla="*/ 354756 w 555"/>
              <a:gd name="T61" fmla="*/ 15022 h 512"/>
              <a:gd name="T62" fmla="*/ 368128 w 555"/>
              <a:gd name="T63" fmla="*/ 0 h 512"/>
              <a:gd name="T64" fmla="*/ 354756 w 555"/>
              <a:gd name="T65" fmla="*/ 15022 h 512"/>
              <a:gd name="T66" fmla="*/ 313853 w 555"/>
              <a:gd name="T67" fmla="*/ 0 h 512"/>
              <a:gd name="T68" fmla="*/ 300480 w 555"/>
              <a:gd name="T69" fmla="*/ 15022 h 512"/>
              <a:gd name="T70" fmla="*/ 272950 w 555"/>
              <a:gd name="T71" fmla="*/ 0 h 512"/>
              <a:gd name="T72" fmla="*/ 246205 w 555"/>
              <a:gd name="T73" fmla="*/ 15022 h 512"/>
              <a:gd name="T74" fmla="*/ 205302 w 555"/>
              <a:gd name="T75" fmla="*/ 15022 h 512"/>
              <a:gd name="T76" fmla="*/ 136081 w 555"/>
              <a:gd name="T77" fmla="*/ 57438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chemeClr val="bg1"/>
          </a:solidFill>
          <a:ln w="9525">
            <a:solidFill>
              <a:schemeClr val="bg2"/>
            </a:solidFill>
            <a:round/>
            <a:headEnd/>
            <a:tailEnd/>
          </a:ln>
        </p:spPr>
        <p:txBody>
          <a:bodyPr/>
          <a:lstStyle/>
          <a:p>
            <a:endParaRPr lang="en-US" dirty="0"/>
          </a:p>
        </p:txBody>
      </p:sp>
      <p:sp>
        <p:nvSpPr>
          <p:cNvPr id="19772" name="Freeform 315"/>
          <p:cNvSpPr>
            <a:spLocks noChangeAspect="1"/>
          </p:cNvSpPr>
          <p:nvPr/>
        </p:nvSpPr>
        <p:spPr bwMode="auto">
          <a:xfrm>
            <a:off x="4433888" y="3033713"/>
            <a:ext cx="84137" cy="187325"/>
          </a:xfrm>
          <a:custGeom>
            <a:avLst/>
            <a:gdLst>
              <a:gd name="T0" fmla="*/ 84137 w 105"/>
              <a:gd name="T1" fmla="*/ 114725 h 209"/>
              <a:gd name="T2" fmla="*/ 84137 w 105"/>
              <a:gd name="T3" fmla="*/ 114725 h 209"/>
              <a:gd name="T4" fmla="*/ 84137 w 105"/>
              <a:gd name="T5" fmla="*/ 129066 h 209"/>
              <a:gd name="T6" fmla="*/ 56893 w 105"/>
              <a:gd name="T7" fmla="*/ 157747 h 209"/>
              <a:gd name="T8" fmla="*/ 56893 w 105"/>
              <a:gd name="T9" fmla="*/ 172088 h 209"/>
              <a:gd name="T10" fmla="*/ 43270 w 105"/>
              <a:gd name="T11" fmla="*/ 187325 h 209"/>
              <a:gd name="T12" fmla="*/ 43270 w 105"/>
              <a:gd name="T13" fmla="*/ 144303 h 209"/>
              <a:gd name="T14" fmla="*/ 13622 w 105"/>
              <a:gd name="T15" fmla="*/ 129066 h 209"/>
              <a:gd name="T16" fmla="*/ 0 w 105"/>
              <a:gd name="T17" fmla="*/ 101281 h 209"/>
              <a:gd name="T18" fmla="*/ 27244 w 105"/>
              <a:gd name="T19" fmla="*/ 71703 h 209"/>
              <a:gd name="T20" fmla="*/ 13622 w 105"/>
              <a:gd name="T21" fmla="*/ 15237 h 209"/>
              <a:gd name="T22" fmla="*/ 27244 w 105"/>
              <a:gd name="T23" fmla="*/ 0 h 209"/>
              <a:gd name="T24" fmla="*/ 56893 w 105"/>
              <a:gd name="T25" fmla="*/ 0 h 209"/>
              <a:gd name="T26" fmla="*/ 70515 w 105"/>
              <a:gd name="T27" fmla="*/ 15237 h 209"/>
              <a:gd name="T28" fmla="*/ 84137 w 105"/>
              <a:gd name="T29" fmla="*/ 0 h 209"/>
              <a:gd name="T30" fmla="*/ 70515 w 105"/>
              <a:gd name="T31" fmla="*/ 28681 h 209"/>
              <a:gd name="T32" fmla="*/ 84137 w 105"/>
              <a:gd name="T33" fmla="*/ 58259 h 209"/>
              <a:gd name="T34" fmla="*/ 56893 w 105"/>
              <a:gd name="T35" fmla="*/ 86044 h 209"/>
              <a:gd name="T36" fmla="*/ 56893 w 105"/>
              <a:gd name="T37" fmla="*/ 101281 h 209"/>
              <a:gd name="T38" fmla="*/ 84137 w 105"/>
              <a:gd name="T39" fmla="*/ 101281 h 209"/>
              <a:gd name="T40" fmla="*/ 84137 w 105"/>
              <a:gd name="T41" fmla="*/ 114725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chemeClr val="bg1"/>
          </a:solidFill>
          <a:ln w="9525">
            <a:solidFill>
              <a:schemeClr val="bg2"/>
            </a:solidFill>
            <a:round/>
            <a:headEnd/>
            <a:tailEnd/>
          </a:ln>
        </p:spPr>
        <p:txBody>
          <a:bodyPr/>
          <a:lstStyle/>
          <a:p>
            <a:endParaRPr lang="en-US" dirty="0"/>
          </a:p>
        </p:txBody>
      </p:sp>
      <p:sp>
        <p:nvSpPr>
          <p:cNvPr id="19773" name="Freeform 316"/>
          <p:cNvSpPr>
            <a:spLocks noChangeAspect="1"/>
          </p:cNvSpPr>
          <p:nvPr/>
        </p:nvSpPr>
        <p:spPr bwMode="auto">
          <a:xfrm>
            <a:off x="4013200" y="3344863"/>
            <a:ext cx="354013" cy="350837"/>
          </a:xfrm>
          <a:custGeom>
            <a:avLst/>
            <a:gdLst>
              <a:gd name="T0" fmla="*/ 163997 w 449"/>
              <a:gd name="T1" fmla="*/ 0 h 399"/>
              <a:gd name="T2" fmla="*/ 163997 w 449"/>
              <a:gd name="T3" fmla="*/ 0 h 399"/>
              <a:gd name="T4" fmla="*/ 286207 w 449"/>
              <a:gd name="T5" fmla="*/ 97601 h 399"/>
              <a:gd name="T6" fmla="*/ 299610 w 449"/>
              <a:gd name="T7" fmla="*/ 111670 h 399"/>
              <a:gd name="T8" fmla="*/ 327206 w 449"/>
              <a:gd name="T9" fmla="*/ 126618 h 399"/>
              <a:gd name="T10" fmla="*/ 340609 w 449"/>
              <a:gd name="T11" fmla="*/ 139807 h 399"/>
              <a:gd name="T12" fmla="*/ 354013 w 449"/>
              <a:gd name="T13" fmla="*/ 139807 h 399"/>
              <a:gd name="T14" fmla="*/ 354013 w 449"/>
              <a:gd name="T15" fmla="*/ 211030 h 399"/>
              <a:gd name="T16" fmla="*/ 340609 w 449"/>
              <a:gd name="T17" fmla="*/ 224219 h 399"/>
              <a:gd name="T18" fmla="*/ 272803 w 449"/>
              <a:gd name="T19" fmla="*/ 237409 h 399"/>
              <a:gd name="T20" fmla="*/ 245207 w 449"/>
              <a:gd name="T21" fmla="*/ 237409 h 399"/>
              <a:gd name="T22" fmla="*/ 218400 w 449"/>
              <a:gd name="T23" fmla="*/ 266425 h 399"/>
              <a:gd name="T24" fmla="*/ 190804 w 449"/>
              <a:gd name="T25" fmla="*/ 279614 h 399"/>
              <a:gd name="T26" fmla="*/ 163997 w 449"/>
              <a:gd name="T27" fmla="*/ 321820 h 399"/>
              <a:gd name="T28" fmla="*/ 149805 w 449"/>
              <a:gd name="T29" fmla="*/ 337648 h 399"/>
              <a:gd name="T30" fmla="*/ 136401 w 449"/>
              <a:gd name="T31" fmla="*/ 350837 h 399"/>
              <a:gd name="T32" fmla="*/ 122998 w 449"/>
              <a:gd name="T33" fmla="*/ 337648 h 399"/>
              <a:gd name="T34" fmla="*/ 108806 w 449"/>
              <a:gd name="T35" fmla="*/ 350837 h 399"/>
              <a:gd name="T36" fmla="*/ 95402 w 449"/>
              <a:gd name="T37" fmla="*/ 350837 h 399"/>
              <a:gd name="T38" fmla="*/ 68595 w 449"/>
              <a:gd name="T39" fmla="*/ 295442 h 399"/>
              <a:gd name="T40" fmla="*/ 40999 w 449"/>
              <a:gd name="T41" fmla="*/ 308631 h 399"/>
              <a:gd name="T42" fmla="*/ 13404 w 449"/>
              <a:gd name="T43" fmla="*/ 308631 h 399"/>
              <a:gd name="T44" fmla="*/ 27596 w 449"/>
              <a:gd name="T45" fmla="*/ 295442 h 399"/>
              <a:gd name="T46" fmla="*/ 0 w 449"/>
              <a:gd name="T47" fmla="*/ 237409 h 399"/>
              <a:gd name="T48" fmla="*/ 27596 w 449"/>
              <a:gd name="T49" fmla="*/ 224219 h 399"/>
              <a:gd name="T50" fmla="*/ 40999 w 449"/>
              <a:gd name="T51" fmla="*/ 237409 h 399"/>
              <a:gd name="T52" fmla="*/ 54403 w 449"/>
              <a:gd name="T53" fmla="*/ 224219 h 399"/>
              <a:gd name="T54" fmla="*/ 149805 w 449"/>
              <a:gd name="T55" fmla="*/ 224219 h 399"/>
              <a:gd name="T56" fmla="*/ 122998 w 449"/>
              <a:gd name="T57" fmla="*/ 0 h 399"/>
              <a:gd name="T58" fmla="*/ 163997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chemeClr val="bg1"/>
          </a:solidFill>
          <a:ln w="9525">
            <a:solidFill>
              <a:schemeClr val="bg2"/>
            </a:solidFill>
            <a:round/>
            <a:headEnd/>
            <a:tailEnd/>
          </a:ln>
        </p:spPr>
        <p:txBody>
          <a:bodyPr/>
          <a:lstStyle/>
          <a:p>
            <a:endParaRPr lang="en-US" dirty="0"/>
          </a:p>
        </p:txBody>
      </p:sp>
      <p:sp>
        <p:nvSpPr>
          <p:cNvPr id="19774" name="Freeform 317"/>
          <p:cNvSpPr>
            <a:spLocks noChangeAspect="1"/>
          </p:cNvSpPr>
          <p:nvPr/>
        </p:nvSpPr>
        <p:spPr bwMode="auto">
          <a:xfrm>
            <a:off x="3916363" y="3289300"/>
            <a:ext cx="258762" cy="296863"/>
          </a:xfrm>
          <a:custGeom>
            <a:avLst/>
            <a:gdLst>
              <a:gd name="T0" fmla="*/ 0 w 331"/>
              <a:gd name="T1" fmla="*/ 155964 h 335"/>
              <a:gd name="T2" fmla="*/ 0 w 331"/>
              <a:gd name="T3" fmla="*/ 155964 h 335"/>
              <a:gd name="T4" fmla="*/ 14072 w 331"/>
              <a:gd name="T5" fmla="*/ 142671 h 335"/>
              <a:gd name="T6" fmla="*/ 82866 w 331"/>
              <a:gd name="T7" fmla="*/ 142671 h 335"/>
              <a:gd name="T8" fmla="*/ 82866 w 331"/>
              <a:gd name="T9" fmla="*/ 113428 h 335"/>
              <a:gd name="T10" fmla="*/ 109446 w 331"/>
              <a:gd name="T11" fmla="*/ 100136 h 335"/>
              <a:gd name="T12" fmla="*/ 109446 w 331"/>
              <a:gd name="T13" fmla="*/ 28357 h 335"/>
              <a:gd name="T14" fmla="*/ 177459 w 331"/>
              <a:gd name="T15" fmla="*/ 28357 h 335"/>
              <a:gd name="T16" fmla="*/ 177459 w 331"/>
              <a:gd name="T17" fmla="*/ 0 h 335"/>
              <a:gd name="T18" fmla="*/ 258762 w 331"/>
              <a:gd name="T19" fmla="*/ 57600 h 335"/>
              <a:gd name="T20" fmla="*/ 218111 w 331"/>
              <a:gd name="T21" fmla="*/ 57600 h 335"/>
              <a:gd name="T22" fmla="*/ 244690 w 331"/>
              <a:gd name="T23" fmla="*/ 283571 h 335"/>
              <a:gd name="T24" fmla="*/ 150098 w 331"/>
              <a:gd name="T25" fmla="*/ 283571 h 335"/>
              <a:gd name="T26" fmla="*/ 136808 w 331"/>
              <a:gd name="T27" fmla="*/ 296863 h 335"/>
              <a:gd name="T28" fmla="*/ 123518 w 331"/>
              <a:gd name="T29" fmla="*/ 283571 h 335"/>
              <a:gd name="T30" fmla="*/ 96156 w 331"/>
              <a:gd name="T31" fmla="*/ 296863 h 335"/>
              <a:gd name="T32" fmla="*/ 82866 w 331"/>
              <a:gd name="T33" fmla="*/ 270278 h 335"/>
              <a:gd name="T34" fmla="*/ 40651 w 331"/>
              <a:gd name="T35" fmla="*/ 255214 h 335"/>
              <a:gd name="T36" fmla="*/ 14072 w 331"/>
              <a:gd name="T37" fmla="*/ 255214 h 335"/>
              <a:gd name="T38" fmla="*/ 0 w 331"/>
              <a:gd name="T39" fmla="*/ 270278 h 335"/>
              <a:gd name="T40" fmla="*/ 14072 w 331"/>
              <a:gd name="T41" fmla="*/ 212678 h 335"/>
              <a:gd name="T42" fmla="*/ 0 w 331"/>
              <a:gd name="T43" fmla="*/ 198499 h 335"/>
              <a:gd name="T44" fmla="*/ 14072 w 331"/>
              <a:gd name="T45" fmla="*/ 170142 h 335"/>
              <a:gd name="T46" fmla="*/ 0 w 331"/>
              <a:gd name="T47" fmla="*/ 155964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chemeClr val="bg1"/>
          </a:solidFill>
          <a:ln w="9525">
            <a:solidFill>
              <a:schemeClr val="bg2"/>
            </a:solidFill>
            <a:round/>
            <a:headEnd/>
            <a:tailEnd/>
          </a:ln>
        </p:spPr>
        <p:txBody>
          <a:bodyPr/>
          <a:lstStyle/>
          <a:p>
            <a:endParaRPr lang="en-US" dirty="0"/>
          </a:p>
        </p:txBody>
      </p:sp>
      <p:sp>
        <p:nvSpPr>
          <p:cNvPr id="19775" name="Freeform 318"/>
          <p:cNvSpPr>
            <a:spLocks noChangeAspect="1"/>
          </p:cNvSpPr>
          <p:nvPr/>
        </p:nvSpPr>
        <p:spPr bwMode="auto">
          <a:xfrm>
            <a:off x="3916363" y="3273425"/>
            <a:ext cx="177800" cy="171450"/>
          </a:xfrm>
          <a:custGeom>
            <a:avLst/>
            <a:gdLst>
              <a:gd name="T0" fmla="*/ 0 w 227"/>
              <a:gd name="T1" fmla="*/ 171450 h 192"/>
              <a:gd name="T2" fmla="*/ 0 w 227"/>
              <a:gd name="T3" fmla="*/ 171450 h 192"/>
              <a:gd name="T4" fmla="*/ 14099 w 227"/>
              <a:gd name="T5" fmla="*/ 158055 h 192"/>
              <a:gd name="T6" fmla="*/ 83026 w 227"/>
              <a:gd name="T7" fmla="*/ 158055 h 192"/>
              <a:gd name="T8" fmla="*/ 83026 w 227"/>
              <a:gd name="T9" fmla="*/ 128588 h 192"/>
              <a:gd name="T10" fmla="*/ 109656 w 227"/>
              <a:gd name="T11" fmla="*/ 115193 h 192"/>
              <a:gd name="T12" fmla="*/ 109656 w 227"/>
              <a:gd name="T13" fmla="*/ 42863 h 192"/>
              <a:gd name="T14" fmla="*/ 177800 w 227"/>
              <a:gd name="T15" fmla="*/ 42863 h 192"/>
              <a:gd name="T16" fmla="*/ 177800 w 227"/>
              <a:gd name="T17" fmla="*/ 14288 h 192"/>
              <a:gd name="T18" fmla="*/ 83026 w 227"/>
              <a:gd name="T19" fmla="*/ 0 h 192"/>
              <a:gd name="T20" fmla="*/ 69710 w 227"/>
              <a:gd name="T21" fmla="*/ 29468 h 192"/>
              <a:gd name="T22" fmla="*/ 54045 w 227"/>
              <a:gd name="T23" fmla="*/ 42863 h 192"/>
              <a:gd name="T24" fmla="*/ 40730 w 227"/>
              <a:gd name="T25" fmla="*/ 85725 h 192"/>
              <a:gd name="T26" fmla="*/ 0 w 227"/>
              <a:gd name="T27" fmla="*/ 142875 h 192"/>
              <a:gd name="T28" fmla="*/ 0 w 227"/>
              <a:gd name="T29" fmla="*/ 17145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chemeClr val="bg1"/>
          </a:solidFill>
          <a:ln w="9525">
            <a:solidFill>
              <a:schemeClr val="bg2"/>
            </a:solidFill>
            <a:prstDash val="solid"/>
            <a:round/>
            <a:headEnd/>
            <a:tailEnd/>
          </a:ln>
        </p:spPr>
        <p:txBody>
          <a:bodyPr/>
          <a:lstStyle/>
          <a:p>
            <a:endParaRPr lang="en-US" dirty="0"/>
          </a:p>
        </p:txBody>
      </p:sp>
      <p:sp>
        <p:nvSpPr>
          <p:cNvPr id="19776" name="Freeform 319"/>
          <p:cNvSpPr>
            <a:spLocks noChangeAspect="1"/>
          </p:cNvSpPr>
          <p:nvPr/>
        </p:nvSpPr>
        <p:spPr bwMode="auto">
          <a:xfrm>
            <a:off x="3913188" y="3611563"/>
            <a:ext cx="68262" cy="14287"/>
          </a:xfrm>
          <a:custGeom>
            <a:avLst/>
            <a:gdLst>
              <a:gd name="T0" fmla="*/ 0 w 87"/>
              <a:gd name="T1" fmla="*/ 14287 h 15"/>
              <a:gd name="T2" fmla="*/ 0 w 87"/>
              <a:gd name="T3" fmla="*/ 14287 h 15"/>
              <a:gd name="T4" fmla="*/ 14123 w 87"/>
              <a:gd name="T5" fmla="*/ 14287 h 15"/>
              <a:gd name="T6" fmla="*/ 40800 w 87"/>
              <a:gd name="T7" fmla="*/ 0 h 15"/>
              <a:gd name="T8" fmla="*/ 54139 w 87"/>
              <a:gd name="T9" fmla="*/ 14287 h 15"/>
              <a:gd name="T10" fmla="*/ 68262 w 87"/>
              <a:gd name="T11" fmla="*/ 0 h 15"/>
              <a:gd name="T12" fmla="*/ 40800 w 87"/>
              <a:gd name="T13" fmla="*/ 0 h 15"/>
              <a:gd name="T14" fmla="*/ 0 w 87"/>
              <a:gd name="T15" fmla="*/ 0 h 15"/>
              <a:gd name="T16" fmla="*/ 0 w 87"/>
              <a:gd name="T17" fmla="*/ 142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777" name="Freeform 320"/>
          <p:cNvSpPr>
            <a:spLocks noChangeAspect="1"/>
          </p:cNvSpPr>
          <p:nvPr/>
        </p:nvSpPr>
        <p:spPr bwMode="auto">
          <a:xfrm>
            <a:off x="3913188" y="3640138"/>
            <a:ext cx="68262" cy="41275"/>
          </a:xfrm>
          <a:custGeom>
            <a:avLst/>
            <a:gdLst>
              <a:gd name="T0" fmla="*/ 40800 w 87"/>
              <a:gd name="T1" fmla="*/ 41275 h 48"/>
              <a:gd name="T2" fmla="*/ 40800 w 87"/>
              <a:gd name="T3" fmla="*/ 41275 h 48"/>
              <a:gd name="T4" fmla="*/ 68262 w 87"/>
              <a:gd name="T5" fmla="*/ 12898 h 48"/>
              <a:gd name="T6" fmla="*/ 68262 w 87"/>
              <a:gd name="T7" fmla="*/ 0 h 48"/>
              <a:gd name="T8" fmla="*/ 0 w 87"/>
              <a:gd name="T9" fmla="*/ 0 h 48"/>
              <a:gd name="T10" fmla="*/ 27462 w 87"/>
              <a:gd name="T11" fmla="*/ 12898 h 48"/>
              <a:gd name="T12" fmla="*/ 27462 w 87"/>
              <a:gd name="T13" fmla="*/ 25797 h 48"/>
              <a:gd name="T14" fmla="*/ 40800 w 87"/>
              <a:gd name="T15" fmla="*/ 4127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chemeClr val="bg1"/>
          </a:solidFill>
          <a:ln w="9525">
            <a:solidFill>
              <a:schemeClr val="bg2"/>
            </a:solidFill>
            <a:prstDash val="solid"/>
            <a:round/>
            <a:headEnd/>
            <a:tailEnd/>
          </a:ln>
        </p:spPr>
        <p:txBody>
          <a:bodyPr/>
          <a:lstStyle/>
          <a:p>
            <a:endParaRPr lang="en-US" dirty="0"/>
          </a:p>
        </p:txBody>
      </p:sp>
      <p:sp>
        <p:nvSpPr>
          <p:cNvPr id="19778" name="Freeform 321"/>
          <p:cNvSpPr>
            <a:spLocks noChangeAspect="1"/>
          </p:cNvSpPr>
          <p:nvPr/>
        </p:nvSpPr>
        <p:spPr bwMode="auto">
          <a:xfrm>
            <a:off x="3997325" y="3695700"/>
            <a:ext cx="57150" cy="71438"/>
          </a:xfrm>
          <a:custGeom>
            <a:avLst/>
            <a:gdLst>
              <a:gd name="T0" fmla="*/ 0 w 71"/>
              <a:gd name="T1" fmla="*/ 13229 h 81"/>
              <a:gd name="T2" fmla="*/ 0 w 71"/>
              <a:gd name="T3" fmla="*/ 13229 h 81"/>
              <a:gd name="T4" fmla="*/ 15294 w 71"/>
              <a:gd name="T5" fmla="*/ 0 h 81"/>
              <a:gd name="T6" fmla="*/ 28977 w 71"/>
              <a:gd name="T7" fmla="*/ 0 h 81"/>
              <a:gd name="T8" fmla="*/ 57150 w 71"/>
              <a:gd name="T9" fmla="*/ 29104 h 81"/>
              <a:gd name="T10" fmla="*/ 57150 w 71"/>
              <a:gd name="T11" fmla="*/ 42334 h 81"/>
              <a:gd name="T12" fmla="*/ 28977 w 71"/>
              <a:gd name="T13" fmla="*/ 71438 h 81"/>
              <a:gd name="T14" fmla="*/ 15294 w 71"/>
              <a:gd name="T15" fmla="*/ 55563 h 81"/>
              <a:gd name="T16" fmla="*/ 0 w 71"/>
              <a:gd name="T17" fmla="*/ 55563 h 81"/>
              <a:gd name="T18" fmla="*/ 0 w 71"/>
              <a:gd name="T19" fmla="*/ 13229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9779" name="Freeform 322"/>
          <p:cNvSpPr>
            <a:spLocks noChangeAspect="1"/>
          </p:cNvSpPr>
          <p:nvPr/>
        </p:nvSpPr>
        <p:spPr bwMode="auto">
          <a:xfrm>
            <a:off x="4022725" y="3725863"/>
            <a:ext cx="96838" cy="96837"/>
          </a:xfrm>
          <a:custGeom>
            <a:avLst/>
            <a:gdLst>
              <a:gd name="T0" fmla="*/ 96838 w 122"/>
              <a:gd name="T1" fmla="*/ 96837 h 111"/>
              <a:gd name="T2" fmla="*/ 96838 w 122"/>
              <a:gd name="T3" fmla="*/ 96837 h 111"/>
              <a:gd name="T4" fmla="*/ 96838 w 122"/>
              <a:gd name="T5" fmla="*/ 68048 h 111"/>
              <a:gd name="T6" fmla="*/ 68263 w 122"/>
              <a:gd name="T7" fmla="*/ 54962 h 111"/>
              <a:gd name="T8" fmla="*/ 68263 w 122"/>
              <a:gd name="T9" fmla="*/ 26172 h 111"/>
              <a:gd name="T10" fmla="*/ 54769 w 122"/>
              <a:gd name="T11" fmla="*/ 26172 h 111"/>
              <a:gd name="T12" fmla="*/ 40481 w 122"/>
              <a:gd name="T13" fmla="*/ 0 h 111"/>
              <a:gd name="T14" fmla="*/ 26988 w 122"/>
              <a:gd name="T15" fmla="*/ 13086 h 111"/>
              <a:gd name="T16" fmla="*/ 0 w 122"/>
              <a:gd name="T17" fmla="*/ 41875 h 111"/>
              <a:gd name="T18" fmla="*/ 68263 w 122"/>
              <a:gd name="T19" fmla="*/ 96837 h 111"/>
              <a:gd name="T20" fmla="*/ 96838 w 122"/>
              <a:gd name="T21" fmla="*/ 9683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chemeClr val="bg1"/>
          </a:solidFill>
          <a:ln w="9525">
            <a:solidFill>
              <a:schemeClr val="bg2"/>
            </a:solidFill>
            <a:prstDash val="solid"/>
            <a:round/>
            <a:headEnd/>
            <a:tailEnd/>
          </a:ln>
        </p:spPr>
        <p:txBody>
          <a:bodyPr/>
          <a:lstStyle/>
          <a:p>
            <a:endParaRPr lang="en-US" dirty="0"/>
          </a:p>
        </p:txBody>
      </p:sp>
      <p:sp>
        <p:nvSpPr>
          <p:cNvPr id="19780" name="Freeform 323"/>
          <p:cNvSpPr>
            <a:spLocks noChangeAspect="1"/>
          </p:cNvSpPr>
          <p:nvPr/>
        </p:nvSpPr>
        <p:spPr bwMode="auto">
          <a:xfrm>
            <a:off x="4092575" y="3681413"/>
            <a:ext cx="138113" cy="141287"/>
          </a:xfrm>
          <a:custGeom>
            <a:avLst/>
            <a:gdLst>
              <a:gd name="T0" fmla="*/ 123743 w 173"/>
              <a:gd name="T1" fmla="*/ 127958 h 159"/>
              <a:gd name="T2" fmla="*/ 123743 w 173"/>
              <a:gd name="T3" fmla="*/ 127958 h 159"/>
              <a:gd name="T4" fmla="*/ 123743 w 173"/>
              <a:gd name="T5" fmla="*/ 85305 h 159"/>
              <a:gd name="T6" fmla="*/ 138113 w 173"/>
              <a:gd name="T7" fmla="*/ 55982 h 159"/>
              <a:gd name="T8" fmla="*/ 123743 w 173"/>
              <a:gd name="T9" fmla="*/ 26658 h 159"/>
              <a:gd name="T10" fmla="*/ 110171 w 173"/>
              <a:gd name="T11" fmla="*/ 13329 h 159"/>
              <a:gd name="T12" fmla="*/ 83027 w 173"/>
              <a:gd name="T13" fmla="*/ 13329 h 159"/>
              <a:gd name="T14" fmla="*/ 68657 w 173"/>
              <a:gd name="T15" fmla="*/ 0 h 159"/>
              <a:gd name="T16" fmla="*/ 55086 w 173"/>
              <a:gd name="T17" fmla="*/ 13329 h 159"/>
              <a:gd name="T18" fmla="*/ 41514 w 173"/>
              <a:gd name="T19" fmla="*/ 0 h 159"/>
              <a:gd name="T20" fmla="*/ 27144 w 173"/>
              <a:gd name="T21" fmla="*/ 13329 h 159"/>
              <a:gd name="T22" fmla="*/ 13572 w 173"/>
              <a:gd name="T23" fmla="*/ 13329 h 159"/>
              <a:gd name="T24" fmla="*/ 13572 w 173"/>
              <a:gd name="T25" fmla="*/ 26658 h 159"/>
              <a:gd name="T26" fmla="*/ 13572 w 173"/>
              <a:gd name="T27" fmla="*/ 42653 h 159"/>
              <a:gd name="T28" fmla="*/ 13572 w 173"/>
              <a:gd name="T29" fmla="*/ 55982 h 159"/>
              <a:gd name="T30" fmla="*/ 13572 w 173"/>
              <a:gd name="T31" fmla="*/ 69311 h 159"/>
              <a:gd name="T32" fmla="*/ 0 w 173"/>
              <a:gd name="T33" fmla="*/ 69311 h 159"/>
              <a:gd name="T34" fmla="*/ 0 w 173"/>
              <a:gd name="T35" fmla="*/ 98634 h 159"/>
              <a:gd name="T36" fmla="*/ 27144 w 173"/>
              <a:gd name="T37" fmla="*/ 111963 h 159"/>
              <a:gd name="T38" fmla="*/ 27144 w 173"/>
              <a:gd name="T39" fmla="*/ 141287 h 159"/>
              <a:gd name="T40" fmla="*/ 55086 w 173"/>
              <a:gd name="T41" fmla="*/ 127958 h 159"/>
              <a:gd name="T42" fmla="*/ 96599 w 173"/>
              <a:gd name="T43" fmla="*/ 127958 h 159"/>
              <a:gd name="T44" fmla="*/ 123743 w 173"/>
              <a:gd name="T45" fmla="*/ 12795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chemeClr val="bg1"/>
          </a:solidFill>
          <a:ln w="9525">
            <a:solidFill>
              <a:schemeClr val="bg2"/>
            </a:solidFill>
            <a:round/>
            <a:headEnd/>
            <a:tailEnd/>
          </a:ln>
        </p:spPr>
        <p:txBody>
          <a:bodyPr/>
          <a:lstStyle/>
          <a:p>
            <a:endParaRPr lang="en-US" dirty="0"/>
          </a:p>
        </p:txBody>
      </p:sp>
      <p:sp>
        <p:nvSpPr>
          <p:cNvPr id="19781" name="Freeform 324"/>
          <p:cNvSpPr>
            <a:spLocks noChangeAspect="1"/>
          </p:cNvSpPr>
          <p:nvPr/>
        </p:nvSpPr>
        <p:spPr bwMode="auto">
          <a:xfrm>
            <a:off x="4162425" y="3584575"/>
            <a:ext cx="161925" cy="127000"/>
          </a:xfrm>
          <a:custGeom>
            <a:avLst/>
            <a:gdLst>
              <a:gd name="T0" fmla="*/ 0 w 208"/>
              <a:gd name="T1" fmla="*/ 100542 h 144"/>
              <a:gd name="T2" fmla="*/ 0 w 208"/>
              <a:gd name="T3" fmla="*/ 100542 h 144"/>
              <a:gd name="T4" fmla="*/ 14013 w 208"/>
              <a:gd name="T5" fmla="*/ 84667 h 144"/>
              <a:gd name="T6" fmla="*/ 40481 w 208"/>
              <a:gd name="T7" fmla="*/ 42333 h 144"/>
              <a:gd name="T8" fmla="*/ 67728 w 208"/>
              <a:gd name="T9" fmla="*/ 29104 h 144"/>
              <a:gd name="T10" fmla="*/ 94197 w 208"/>
              <a:gd name="T11" fmla="*/ 0 h 144"/>
              <a:gd name="T12" fmla="*/ 121444 w 208"/>
              <a:gd name="T13" fmla="*/ 0 h 144"/>
              <a:gd name="T14" fmla="*/ 121444 w 208"/>
              <a:gd name="T15" fmla="*/ 29104 h 144"/>
              <a:gd name="T16" fmla="*/ 147912 w 208"/>
              <a:gd name="T17" fmla="*/ 58208 h 144"/>
              <a:gd name="T18" fmla="*/ 161925 w 208"/>
              <a:gd name="T19" fmla="*/ 58208 h 144"/>
              <a:gd name="T20" fmla="*/ 161925 w 208"/>
              <a:gd name="T21" fmla="*/ 71437 h 144"/>
              <a:gd name="T22" fmla="*/ 134678 w 208"/>
              <a:gd name="T23" fmla="*/ 84667 h 144"/>
              <a:gd name="T24" fmla="*/ 107431 w 208"/>
              <a:gd name="T25" fmla="*/ 84667 h 144"/>
              <a:gd name="T26" fmla="*/ 53716 w 208"/>
              <a:gd name="T27" fmla="*/ 84667 h 144"/>
              <a:gd name="T28" fmla="*/ 53716 w 208"/>
              <a:gd name="T29" fmla="*/ 100542 h 144"/>
              <a:gd name="T30" fmla="*/ 53716 w 208"/>
              <a:gd name="T31" fmla="*/ 127000 h 144"/>
              <a:gd name="T32" fmla="*/ 40481 w 208"/>
              <a:gd name="T33" fmla="*/ 113771 h 144"/>
              <a:gd name="T34" fmla="*/ 14013 w 208"/>
              <a:gd name="T35" fmla="*/ 113771 h 144"/>
              <a:gd name="T36" fmla="*/ 0 w 208"/>
              <a:gd name="T37" fmla="*/ 100542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chemeClr val="bg1"/>
          </a:solidFill>
          <a:ln w="9525">
            <a:solidFill>
              <a:schemeClr val="bg2"/>
            </a:solidFill>
            <a:round/>
            <a:headEnd/>
            <a:tailEnd/>
          </a:ln>
        </p:spPr>
        <p:txBody>
          <a:bodyPr/>
          <a:lstStyle/>
          <a:p>
            <a:endParaRPr lang="en-US" dirty="0"/>
          </a:p>
        </p:txBody>
      </p:sp>
      <p:sp>
        <p:nvSpPr>
          <p:cNvPr id="19782" name="Freeform 325"/>
          <p:cNvSpPr>
            <a:spLocks noChangeAspect="1"/>
          </p:cNvSpPr>
          <p:nvPr/>
        </p:nvSpPr>
        <p:spPr bwMode="auto">
          <a:xfrm>
            <a:off x="4268788" y="3668713"/>
            <a:ext cx="42862" cy="114300"/>
          </a:xfrm>
          <a:custGeom>
            <a:avLst/>
            <a:gdLst>
              <a:gd name="T0" fmla="*/ 28849 w 52"/>
              <a:gd name="T1" fmla="*/ 0 h 129"/>
              <a:gd name="T2" fmla="*/ 28849 w 52"/>
              <a:gd name="T3" fmla="*/ 0 h 129"/>
              <a:gd name="T4" fmla="*/ 0 w 52"/>
              <a:gd name="T5" fmla="*/ 0 h 129"/>
              <a:gd name="T6" fmla="*/ 14837 w 52"/>
              <a:gd name="T7" fmla="*/ 58479 h 129"/>
              <a:gd name="T8" fmla="*/ 28849 w 52"/>
              <a:gd name="T9" fmla="*/ 101009 h 129"/>
              <a:gd name="T10" fmla="*/ 28849 w 52"/>
              <a:gd name="T11" fmla="*/ 114300 h 129"/>
              <a:gd name="T12" fmla="*/ 42862 w 52"/>
              <a:gd name="T13" fmla="*/ 114300 h 129"/>
              <a:gd name="T14" fmla="*/ 42862 w 52"/>
              <a:gd name="T15" fmla="*/ 58479 h 129"/>
              <a:gd name="T16" fmla="*/ 42862 w 52"/>
              <a:gd name="T17" fmla="*/ 29240 h 129"/>
              <a:gd name="T18" fmla="*/ 28849 w 52"/>
              <a:gd name="T19" fmla="*/ 15949 h 129"/>
              <a:gd name="T20" fmla="*/ 28849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noFill/>
          <a:ln w="9525">
            <a:solidFill>
              <a:schemeClr val="bg2"/>
            </a:solidFill>
            <a:prstDash val="solid"/>
            <a:round/>
            <a:headEnd/>
            <a:tailEnd/>
          </a:ln>
        </p:spPr>
        <p:txBody>
          <a:bodyPr/>
          <a:lstStyle/>
          <a:p>
            <a:endParaRPr lang="en-US" dirty="0"/>
          </a:p>
        </p:txBody>
      </p:sp>
      <p:sp>
        <p:nvSpPr>
          <p:cNvPr id="19783" name="Freeform 326"/>
          <p:cNvSpPr>
            <a:spLocks noChangeAspect="1"/>
          </p:cNvSpPr>
          <p:nvPr/>
        </p:nvSpPr>
        <p:spPr bwMode="auto">
          <a:xfrm>
            <a:off x="4286250" y="3386138"/>
            <a:ext cx="344488" cy="268287"/>
          </a:xfrm>
          <a:custGeom>
            <a:avLst/>
            <a:gdLst>
              <a:gd name="T0" fmla="*/ 289180 w 436"/>
              <a:gd name="T1" fmla="*/ 225786 h 303"/>
              <a:gd name="T2" fmla="*/ 289180 w 436"/>
              <a:gd name="T3" fmla="*/ 225786 h 303"/>
              <a:gd name="T4" fmla="*/ 289180 w 436"/>
              <a:gd name="T5" fmla="*/ 212505 h 303"/>
              <a:gd name="T6" fmla="*/ 330266 w 436"/>
              <a:gd name="T7" fmla="*/ 154951 h 303"/>
              <a:gd name="T8" fmla="*/ 344488 w 436"/>
              <a:gd name="T9" fmla="*/ 69949 h 303"/>
              <a:gd name="T10" fmla="*/ 316834 w 436"/>
              <a:gd name="T11" fmla="*/ 42501 h 303"/>
              <a:gd name="T12" fmla="*/ 316834 w 436"/>
              <a:gd name="T13" fmla="*/ 13282 h 303"/>
              <a:gd name="T14" fmla="*/ 303402 w 436"/>
              <a:gd name="T15" fmla="*/ 0 h 303"/>
              <a:gd name="T16" fmla="*/ 247304 w 436"/>
              <a:gd name="T17" fmla="*/ 0 h 303"/>
              <a:gd name="T18" fmla="*/ 110615 w 436"/>
              <a:gd name="T19" fmla="*/ 98283 h 303"/>
              <a:gd name="T20" fmla="*/ 82962 w 436"/>
              <a:gd name="T21" fmla="*/ 98283 h 303"/>
              <a:gd name="T22" fmla="*/ 82962 w 436"/>
              <a:gd name="T23" fmla="*/ 170004 h 303"/>
              <a:gd name="T24" fmla="*/ 67949 w 436"/>
              <a:gd name="T25" fmla="*/ 183285 h 303"/>
              <a:gd name="T26" fmla="*/ 0 w 436"/>
              <a:gd name="T27" fmla="*/ 196567 h 303"/>
              <a:gd name="T28" fmla="*/ 0 w 436"/>
              <a:gd name="T29" fmla="*/ 225786 h 303"/>
              <a:gd name="T30" fmla="*/ 26864 w 436"/>
              <a:gd name="T31" fmla="*/ 255005 h 303"/>
              <a:gd name="T32" fmla="*/ 41086 w 436"/>
              <a:gd name="T33" fmla="*/ 255005 h 303"/>
              <a:gd name="T34" fmla="*/ 41086 w 436"/>
              <a:gd name="T35" fmla="*/ 268287 h 303"/>
              <a:gd name="T36" fmla="*/ 41086 w 436"/>
              <a:gd name="T37" fmla="*/ 255005 h 303"/>
              <a:gd name="T38" fmla="*/ 54518 w 436"/>
              <a:gd name="T39" fmla="*/ 255005 h 303"/>
              <a:gd name="T40" fmla="*/ 67949 w 436"/>
              <a:gd name="T41" fmla="*/ 268287 h 303"/>
              <a:gd name="T42" fmla="*/ 67949 w 436"/>
              <a:gd name="T43" fmla="*/ 255005 h 303"/>
              <a:gd name="T44" fmla="*/ 97184 w 436"/>
              <a:gd name="T45" fmla="*/ 225786 h 303"/>
              <a:gd name="T46" fmla="*/ 110615 w 436"/>
              <a:gd name="T47" fmla="*/ 225786 h 303"/>
              <a:gd name="T48" fmla="*/ 151701 w 436"/>
              <a:gd name="T49" fmla="*/ 239068 h 303"/>
              <a:gd name="T50" fmla="*/ 165133 w 436"/>
              <a:gd name="T51" fmla="*/ 239068 h 303"/>
              <a:gd name="T52" fmla="*/ 192787 w 436"/>
              <a:gd name="T53" fmla="*/ 255005 h 303"/>
              <a:gd name="T54" fmla="*/ 219651 w 436"/>
              <a:gd name="T55" fmla="*/ 239068 h 303"/>
              <a:gd name="T56" fmla="*/ 262317 w 436"/>
              <a:gd name="T57" fmla="*/ 239068 h 303"/>
              <a:gd name="T58" fmla="*/ 275748 w 436"/>
              <a:gd name="T59" fmla="*/ 225786 h 303"/>
              <a:gd name="T60" fmla="*/ 289180 w 436"/>
              <a:gd name="T61" fmla="*/ 225786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chemeClr val="bg1"/>
          </a:solidFill>
          <a:ln w="9525">
            <a:solidFill>
              <a:schemeClr val="bg2"/>
            </a:solidFill>
            <a:round/>
            <a:headEnd/>
            <a:tailEnd/>
          </a:ln>
        </p:spPr>
        <p:txBody>
          <a:bodyPr/>
          <a:lstStyle/>
          <a:p>
            <a:endParaRPr lang="en-US" dirty="0"/>
          </a:p>
        </p:txBody>
      </p:sp>
      <p:sp>
        <p:nvSpPr>
          <p:cNvPr id="19784" name="Freeform 327"/>
          <p:cNvSpPr>
            <a:spLocks noChangeAspect="1"/>
          </p:cNvSpPr>
          <p:nvPr/>
        </p:nvSpPr>
        <p:spPr bwMode="auto">
          <a:xfrm>
            <a:off x="3902075" y="3540125"/>
            <a:ext cx="136525" cy="100013"/>
          </a:xfrm>
          <a:custGeom>
            <a:avLst/>
            <a:gdLst>
              <a:gd name="T0" fmla="*/ 13416 w 173"/>
              <a:gd name="T1" fmla="*/ 84082 h 113"/>
              <a:gd name="T2" fmla="*/ 13416 w 173"/>
              <a:gd name="T3" fmla="*/ 84082 h 113"/>
              <a:gd name="T4" fmla="*/ 27621 w 173"/>
              <a:gd name="T5" fmla="*/ 84082 h 113"/>
              <a:gd name="T6" fmla="*/ 54452 w 173"/>
              <a:gd name="T7" fmla="*/ 70806 h 113"/>
              <a:gd name="T8" fmla="*/ 67868 w 173"/>
              <a:gd name="T9" fmla="*/ 84082 h 113"/>
              <a:gd name="T10" fmla="*/ 82073 w 173"/>
              <a:gd name="T11" fmla="*/ 70806 h 113"/>
              <a:gd name="T12" fmla="*/ 54452 w 173"/>
              <a:gd name="T13" fmla="*/ 70806 h 113"/>
              <a:gd name="T14" fmla="*/ 13416 w 173"/>
              <a:gd name="T15" fmla="*/ 70806 h 113"/>
              <a:gd name="T16" fmla="*/ 0 w 173"/>
              <a:gd name="T17" fmla="*/ 41598 h 113"/>
              <a:gd name="T18" fmla="*/ 13416 w 173"/>
              <a:gd name="T19" fmla="*/ 15046 h 113"/>
              <a:gd name="T20" fmla="*/ 27621 w 173"/>
              <a:gd name="T21" fmla="*/ 0 h 113"/>
              <a:gd name="T22" fmla="*/ 54452 w 173"/>
              <a:gd name="T23" fmla="*/ 0 h 113"/>
              <a:gd name="T24" fmla="*/ 95489 w 173"/>
              <a:gd name="T25" fmla="*/ 15046 h 113"/>
              <a:gd name="T26" fmla="*/ 108904 w 173"/>
              <a:gd name="T27" fmla="*/ 41598 h 113"/>
              <a:gd name="T28" fmla="*/ 136525 w 173"/>
              <a:gd name="T29" fmla="*/ 100013 h 113"/>
              <a:gd name="T30" fmla="*/ 82073 w 173"/>
              <a:gd name="T31" fmla="*/ 100013 h 113"/>
              <a:gd name="T32" fmla="*/ 13416 w 173"/>
              <a:gd name="T33" fmla="*/ 100013 h 113"/>
              <a:gd name="T34" fmla="*/ 13416 w 173"/>
              <a:gd name="T35" fmla="*/ 84082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chemeClr val="bg1"/>
          </a:solidFill>
          <a:ln w="9525">
            <a:solidFill>
              <a:schemeClr val="bg2"/>
            </a:solidFill>
            <a:round/>
            <a:headEnd/>
            <a:tailEnd/>
          </a:ln>
        </p:spPr>
        <p:txBody>
          <a:bodyPr/>
          <a:lstStyle/>
          <a:p>
            <a:endParaRPr lang="en-US" dirty="0"/>
          </a:p>
        </p:txBody>
      </p:sp>
      <p:sp>
        <p:nvSpPr>
          <p:cNvPr id="19785" name="Freeform 328"/>
          <p:cNvSpPr>
            <a:spLocks noChangeAspect="1"/>
          </p:cNvSpPr>
          <p:nvPr/>
        </p:nvSpPr>
        <p:spPr bwMode="auto">
          <a:xfrm>
            <a:off x="4217988" y="3668713"/>
            <a:ext cx="82550" cy="141287"/>
          </a:xfrm>
          <a:custGeom>
            <a:avLst/>
            <a:gdLst>
              <a:gd name="T0" fmla="*/ 0 w 104"/>
              <a:gd name="T1" fmla="*/ 41863 h 162"/>
              <a:gd name="T2" fmla="*/ 0 w 104"/>
              <a:gd name="T3" fmla="*/ 41863 h 162"/>
              <a:gd name="T4" fmla="*/ 0 w 104"/>
              <a:gd name="T5" fmla="*/ 15699 h 162"/>
              <a:gd name="T6" fmla="*/ 0 w 104"/>
              <a:gd name="T7" fmla="*/ 0 h 162"/>
              <a:gd name="T8" fmla="*/ 54769 w 104"/>
              <a:gd name="T9" fmla="*/ 0 h 162"/>
              <a:gd name="T10" fmla="*/ 69056 w 104"/>
              <a:gd name="T11" fmla="*/ 57561 h 162"/>
              <a:gd name="T12" fmla="*/ 82550 w 104"/>
              <a:gd name="T13" fmla="*/ 99424 h 162"/>
              <a:gd name="T14" fmla="*/ 82550 w 104"/>
              <a:gd name="T15" fmla="*/ 112506 h 162"/>
              <a:gd name="T16" fmla="*/ 14288 w 104"/>
              <a:gd name="T17" fmla="*/ 141287 h 162"/>
              <a:gd name="T18" fmla="*/ 0 w 104"/>
              <a:gd name="T19" fmla="*/ 141287 h 162"/>
              <a:gd name="T20" fmla="*/ 0 w 104"/>
              <a:gd name="T21" fmla="*/ 99424 h 162"/>
              <a:gd name="T22" fmla="*/ 14288 w 104"/>
              <a:gd name="T23" fmla="*/ 70644 h 162"/>
              <a:gd name="T24" fmla="*/ 0 w 104"/>
              <a:gd name="T25" fmla="*/ 4186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chemeClr val="bg1"/>
          </a:solidFill>
          <a:ln w="9525">
            <a:solidFill>
              <a:schemeClr val="bg2"/>
            </a:solidFill>
            <a:round/>
            <a:headEnd/>
            <a:tailEnd/>
          </a:ln>
        </p:spPr>
        <p:txBody>
          <a:bodyPr/>
          <a:lstStyle/>
          <a:p>
            <a:endParaRPr lang="en-US" dirty="0"/>
          </a:p>
        </p:txBody>
      </p:sp>
      <p:sp>
        <p:nvSpPr>
          <p:cNvPr id="19786" name="Freeform 329"/>
          <p:cNvSpPr>
            <a:spLocks noChangeAspect="1"/>
          </p:cNvSpPr>
          <p:nvPr/>
        </p:nvSpPr>
        <p:spPr bwMode="auto">
          <a:xfrm>
            <a:off x="4337050" y="3611563"/>
            <a:ext cx="250825" cy="211137"/>
          </a:xfrm>
          <a:custGeom>
            <a:avLst/>
            <a:gdLst>
              <a:gd name="T0" fmla="*/ 125808 w 317"/>
              <a:gd name="T1" fmla="*/ 197941 h 240"/>
              <a:gd name="T2" fmla="*/ 125808 w 317"/>
              <a:gd name="T3" fmla="*/ 197941 h 240"/>
              <a:gd name="T4" fmla="*/ 153502 w 317"/>
              <a:gd name="T5" fmla="*/ 155714 h 240"/>
              <a:gd name="T6" fmla="*/ 166953 w 317"/>
              <a:gd name="T7" fmla="*/ 155714 h 240"/>
              <a:gd name="T8" fmla="*/ 180404 w 317"/>
              <a:gd name="T9" fmla="*/ 168910 h 240"/>
              <a:gd name="T10" fmla="*/ 194647 w 317"/>
              <a:gd name="T11" fmla="*/ 155714 h 240"/>
              <a:gd name="T12" fmla="*/ 223131 w 317"/>
              <a:gd name="T13" fmla="*/ 113486 h 240"/>
              <a:gd name="T14" fmla="*/ 236583 w 317"/>
              <a:gd name="T15" fmla="*/ 71259 h 240"/>
              <a:gd name="T16" fmla="*/ 250825 w 317"/>
              <a:gd name="T17" fmla="*/ 42227 h 240"/>
              <a:gd name="T18" fmla="*/ 250825 w 317"/>
              <a:gd name="T19" fmla="*/ 29031 h 240"/>
              <a:gd name="T20" fmla="*/ 250825 w 317"/>
              <a:gd name="T21" fmla="*/ 13196 h 240"/>
              <a:gd name="T22" fmla="*/ 236583 w 317"/>
              <a:gd name="T23" fmla="*/ 0 h 240"/>
              <a:gd name="T24" fmla="*/ 223131 w 317"/>
              <a:gd name="T25" fmla="*/ 0 h 240"/>
              <a:gd name="T26" fmla="*/ 209680 w 317"/>
              <a:gd name="T27" fmla="*/ 13196 h 240"/>
              <a:gd name="T28" fmla="*/ 166953 w 317"/>
              <a:gd name="T29" fmla="*/ 13196 h 240"/>
              <a:gd name="T30" fmla="*/ 140051 w 317"/>
              <a:gd name="T31" fmla="*/ 29031 h 240"/>
              <a:gd name="T32" fmla="*/ 112357 w 317"/>
              <a:gd name="T33" fmla="*/ 13196 h 240"/>
              <a:gd name="T34" fmla="*/ 97323 w 317"/>
              <a:gd name="T35" fmla="*/ 13196 h 240"/>
              <a:gd name="T36" fmla="*/ 56178 w 317"/>
              <a:gd name="T37" fmla="*/ 0 h 240"/>
              <a:gd name="T38" fmla="*/ 42727 w 317"/>
              <a:gd name="T39" fmla="*/ 0 h 240"/>
              <a:gd name="T40" fmla="*/ 15034 w 317"/>
              <a:gd name="T41" fmla="*/ 29031 h 240"/>
              <a:gd name="T42" fmla="*/ 15034 w 317"/>
              <a:gd name="T43" fmla="*/ 42227 h 240"/>
              <a:gd name="T44" fmla="*/ 15034 w 317"/>
              <a:gd name="T45" fmla="*/ 71259 h 240"/>
              <a:gd name="T46" fmla="*/ 0 w 317"/>
              <a:gd name="T47" fmla="*/ 126682 h 240"/>
              <a:gd name="T48" fmla="*/ 0 w 317"/>
              <a:gd name="T49" fmla="*/ 168910 h 240"/>
              <a:gd name="T50" fmla="*/ 42727 w 317"/>
              <a:gd name="T51" fmla="*/ 168910 h 240"/>
              <a:gd name="T52" fmla="*/ 42727 w 317"/>
              <a:gd name="T53" fmla="*/ 182106 h 240"/>
              <a:gd name="T54" fmla="*/ 56178 w 317"/>
              <a:gd name="T55" fmla="*/ 211137 h 240"/>
              <a:gd name="T56" fmla="*/ 69630 w 317"/>
              <a:gd name="T57" fmla="*/ 211137 h 240"/>
              <a:gd name="T58" fmla="*/ 125808 w 317"/>
              <a:gd name="T59" fmla="*/ 211137 h 240"/>
              <a:gd name="T60" fmla="*/ 125808 w 317"/>
              <a:gd name="T61" fmla="*/ 197941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noFill/>
          <a:ln w="9525">
            <a:solidFill>
              <a:schemeClr val="bg2"/>
            </a:solidFill>
            <a:round/>
            <a:headEnd/>
            <a:tailEnd/>
          </a:ln>
        </p:spPr>
        <p:txBody>
          <a:bodyPr/>
          <a:lstStyle/>
          <a:p>
            <a:endParaRPr lang="en-US" dirty="0"/>
          </a:p>
        </p:txBody>
      </p:sp>
      <p:sp>
        <p:nvSpPr>
          <p:cNvPr id="19787" name="Freeform 330"/>
          <p:cNvSpPr>
            <a:spLocks noChangeAspect="1"/>
          </p:cNvSpPr>
          <p:nvPr/>
        </p:nvSpPr>
        <p:spPr bwMode="auto">
          <a:xfrm>
            <a:off x="4300538" y="3640138"/>
            <a:ext cx="53975" cy="142875"/>
          </a:xfrm>
          <a:custGeom>
            <a:avLst/>
            <a:gdLst>
              <a:gd name="T0" fmla="*/ 27379 w 69"/>
              <a:gd name="T1" fmla="*/ 13479 h 159"/>
              <a:gd name="T2" fmla="*/ 27379 w 69"/>
              <a:gd name="T3" fmla="*/ 13479 h 159"/>
              <a:gd name="T4" fmla="*/ 0 w 69"/>
              <a:gd name="T5" fmla="*/ 26958 h 159"/>
              <a:gd name="T6" fmla="*/ 0 w 69"/>
              <a:gd name="T7" fmla="*/ 43132 h 159"/>
              <a:gd name="T8" fmla="*/ 13298 w 69"/>
              <a:gd name="T9" fmla="*/ 56611 h 159"/>
              <a:gd name="T10" fmla="*/ 13298 w 69"/>
              <a:gd name="T11" fmla="*/ 86264 h 159"/>
              <a:gd name="T12" fmla="*/ 13298 w 69"/>
              <a:gd name="T13" fmla="*/ 142875 h 159"/>
              <a:gd name="T14" fmla="*/ 40677 w 69"/>
              <a:gd name="T15" fmla="*/ 142875 h 159"/>
              <a:gd name="T16" fmla="*/ 40677 w 69"/>
              <a:gd name="T17" fmla="*/ 99743 h 159"/>
              <a:gd name="T18" fmla="*/ 53975 w 69"/>
              <a:gd name="T19" fmla="*/ 43132 h 159"/>
              <a:gd name="T20" fmla="*/ 53975 w 69"/>
              <a:gd name="T21" fmla="*/ 13479 h 159"/>
              <a:gd name="T22" fmla="*/ 40677 w 69"/>
              <a:gd name="T23" fmla="*/ 0 h 159"/>
              <a:gd name="T24" fmla="*/ 27379 w 69"/>
              <a:gd name="T25" fmla="*/ 0 h 159"/>
              <a:gd name="T26" fmla="*/ 27379 w 69"/>
              <a:gd name="T27" fmla="*/ 13479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noFill/>
          <a:ln w="9525">
            <a:solidFill>
              <a:schemeClr val="bg2"/>
            </a:solidFill>
            <a:prstDash val="solid"/>
            <a:round/>
            <a:headEnd/>
            <a:tailEnd/>
          </a:ln>
        </p:spPr>
        <p:txBody>
          <a:bodyPr/>
          <a:lstStyle/>
          <a:p>
            <a:endParaRPr lang="en-US" dirty="0"/>
          </a:p>
        </p:txBody>
      </p:sp>
      <p:sp>
        <p:nvSpPr>
          <p:cNvPr id="19788" name="Freeform 331"/>
          <p:cNvSpPr>
            <a:spLocks noChangeAspect="1"/>
          </p:cNvSpPr>
          <p:nvPr/>
        </p:nvSpPr>
        <p:spPr bwMode="auto">
          <a:xfrm>
            <a:off x="3956050" y="3640138"/>
            <a:ext cx="149225" cy="112712"/>
          </a:xfrm>
          <a:custGeom>
            <a:avLst/>
            <a:gdLst>
              <a:gd name="T0" fmla="*/ 135873 w 190"/>
              <a:gd name="T1" fmla="*/ 112712 h 126"/>
              <a:gd name="T2" fmla="*/ 135873 w 190"/>
              <a:gd name="T3" fmla="*/ 112712 h 126"/>
              <a:gd name="T4" fmla="*/ 149225 w 190"/>
              <a:gd name="T5" fmla="*/ 112712 h 126"/>
              <a:gd name="T6" fmla="*/ 149225 w 190"/>
              <a:gd name="T7" fmla="*/ 99294 h 126"/>
              <a:gd name="T8" fmla="*/ 149225 w 190"/>
              <a:gd name="T9" fmla="*/ 85876 h 126"/>
              <a:gd name="T10" fmla="*/ 149225 w 190"/>
              <a:gd name="T11" fmla="*/ 69774 h 126"/>
              <a:gd name="T12" fmla="*/ 149225 w 190"/>
              <a:gd name="T13" fmla="*/ 56356 h 126"/>
              <a:gd name="T14" fmla="*/ 122522 w 190"/>
              <a:gd name="T15" fmla="*/ 0 h 126"/>
              <a:gd name="T16" fmla="*/ 95033 w 190"/>
              <a:gd name="T17" fmla="*/ 13418 h 126"/>
              <a:gd name="T18" fmla="*/ 68329 w 190"/>
              <a:gd name="T19" fmla="*/ 13418 h 126"/>
              <a:gd name="T20" fmla="*/ 81681 w 190"/>
              <a:gd name="T21" fmla="*/ 0 h 126"/>
              <a:gd name="T22" fmla="*/ 27489 w 190"/>
              <a:gd name="T23" fmla="*/ 0 h 126"/>
              <a:gd name="T24" fmla="*/ 27489 w 190"/>
              <a:gd name="T25" fmla="*/ 13418 h 126"/>
              <a:gd name="T26" fmla="*/ 0 w 190"/>
              <a:gd name="T27" fmla="*/ 42938 h 126"/>
              <a:gd name="T28" fmla="*/ 40841 w 190"/>
              <a:gd name="T29" fmla="*/ 69774 h 126"/>
              <a:gd name="T30" fmla="*/ 54192 w 190"/>
              <a:gd name="T31" fmla="*/ 56356 h 126"/>
              <a:gd name="T32" fmla="*/ 68329 w 190"/>
              <a:gd name="T33" fmla="*/ 56356 h 126"/>
              <a:gd name="T34" fmla="*/ 95033 w 190"/>
              <a:gd name="T35" fmla="*/ 85876 h 126"/>
              <a:gd name="T36" fmla="*/ 95033 w 190"/>
              <a:gd name="T37" fmla="*/ 99294 h 126"/>
              <a:gd name="T38" fmla="*/ 108384 w 190"/>
              <a:gd name="T39" fmla="*/ 85876 h 126"/>
              <a:gd name="T40" fmla="*/ 122522 w 190"/>
              <a:gd name="T41" fmla="*/ 112712 h 126"/>
              <a:gd name="T42" fmla="*/ 135873 w 190"/>
              <a:gd name="T43" fmla="*/ 112712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chemeClr val="bg1"/>
          </a:solidFill>
          <a:ln w="9525">
            <a:solidFill>
              <a:schemeClr val="bg2"/>
            </a:solidFill>
            <a:round/>
            <a:headEnd/>
            <a:tailEnd/>
          </a:ln>
        </p:spPr>
        <p:txBody>
          <a:bodyPr/>
          <a:lstStyle/>
          <a:p>
            <a:endParaRPr lang="en-US" dirty="0"/>
          </a:p>
        </p:txBody>
      </p:sp>
      <p:sp>
        <p:nvSpPr>
          <p:cNvPr id="19789" name="Freeform 332"/>
          <p:cNvSpPr>
            <a:spLocks noChangeAspect="1"/>
          </p:cNvSpPr>
          <p:nvPr/>
        </p:nvSpPr>
        <p:spPr bwMode="auto">
          <a:xfrm>
            <a:off x="5532438" y="2752725"/>
            <a:ext cx="80962" cy="96838"/>
          </a:xfrm>
          <a:custGeom>
            <a:avLst/>
            <a:gdLst>
              <a:gd name="T0" fmla="*/ 0 w 103"/>
              <a:gd name="T1" fmla="*/ 55336 h 112"/>
              <a:gd name="T2" fmla="*/ 0 w 103"/>
              <a:gd name="T3" fmla="*/ 55336 h 112"/>
              <a:gd name="T4" fmla="*/ 13363 w 103"/>
              <a:gd name="T5" fmla="*/ 96838 h 112"/>
              <a:gd name="T6" fmla="*/ 40874 w 103"/>
              <a:gd name="T7" fmla="*/ 96838 h 112"/>
              <a:gd name="T8" fmla="*/ 54237 w 103"/>
              <a:gd name="T9" fmla="*/ 96838 h 112"/>
              <a:gd name="T10" fmla="*/ 67599 w 103"/>
              <a:gd name="T11" fmla="*/ 68305 h 112"/>
              <a:gd name="T12" fmla="*/ 67599 w 103"/>
              <a:gd name="T13" fmla="*/ 55336 h 112"/>
              <a:gd name="T14" fmla="*/ 80962 w 103"/>
              <a:gd name="T15" fmla="*/ 55336 h 112"/>
              <a:gd name="T16" fmla="*/ 67599 w 103"/>
              <a:gd name="T17" fmla="*/ 26803 h 112"/>
              <a:gd name="T18" fmla="*/ 80962 w 103"/>
              <a:gd name="T19" fmla="*/ 0 h 112"/>
              <a:gd name="T20" fmla="*/ 40874 w 103"/>
              <a:gd name="T21" fmla="*/ 0 h 112"/>
              <a:gd name="T22" fmla="*/ 40874 w 103"/>
              <a:gd name="T23" fmla="*/ 13834 h 112"/>
              <a:gd name="T24" fmla="*/ 26725 w 103"/>
              <a:gd name="T25" fmla="*/ 26803 h 112"/>
              <a:gd name="T26" fmla="*/ 13363 w 103"/>
              <a:gd name="T27" fmla="*/ 26803 h 112"/>
              <a:gd name="T28" fmla="*/ 0 w 103"/>
              <a:gd name="T29" fmla="*/ 55336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path>
            </a:pathLst>
          </a:custGeom>
          <a:solidFill>
            <a:schemeClr val="bg1"/>
          </a:solidFill>
          <a:ln w="9525">
            <a:solidFill>
              <a:srgbClr val="ACC6D0"/>
            </a:solidFill>
            <a:prstDash val="solid"/>
            <a:round/>
            <a:headEnd/>
            <a:tailEnd/>
          </a:ln>
        </p:spPr>
        <p:txBody>
          <a:bodyPr/>
          <a:lstStyle/>
          <a:p>
            <a:endParaRPr lang="en-US" dirty="0"/>
          </a:p>
        </p:txBody>
      </p:sp>
      <p:sp>
        <p:nvSpPr>
          <p:cNvPr id="19790" name="Freeform 333"/>
          <p:cNvSpPr>
            <a:spLocks noChangeAspect="1"/>
          </p:cNvSpPr>
          <p:nvPr/>
        </p:nvSpPr>
        <p:spPr bwMode="auto">
          <a:xfrm>
            <a:off x="5861050" y="2752725"/>
            <a:ext cx="134938" cy="52388"/>
          </a:xfrm>
          <a:custGeom>
            <a:avLst/>
            <a:gdLst>
              <a:gd name="T0" fmla="*/ 0 w 173"/>
              <a:gd name="T1" fmla="*/ 25375 h 64"/>
              <a:gd name="T2" fmla="*/ 0 w 173"/>
              <a:gd name="T3" fmla="*/ 25375 h 64"/>
              <a:gd name="T4" fmla="*/ 14040 w 173"/>
              <a:gd name="T5" fmla="*/ 52388 h 64"/>
              <a:gd name="T6" fmla="*/ 27300 w 173"/>
              <a:gd name="T7" fmla="*/ 13097 h 64"/>
              <a:gd name="T8" fmla="*/ 40559 w 173"/>
              <a:gd name="T9" fmla="*/ 0 h 64"/>
              <a:gd name="T10" fmla="*/ 94379 w 173"/>
              <a:gd name="T11" fmla="*/ 0 h 64"/>
              <a:gd name="T12" fmla="*/ 108418 w 173"/>
              <a:gd name="T13" fmla="*/ 13097 h 64"/>
              <a:gd name="T14" fmla="*/ 134938 w 173"/>
              <a:gd name="T15" fmla="*/ 0 h 64"/>
              <a:gd name="T16" fmla="*/ 94379 w 173"/>
              <a:gd name="T17" fmla="*/ 0 h 64"/>
              <a:gd name="T18" fmla="*/ 27300 w 173"/>
              <a:gd name="T19" fmla="*/ 0 h 64"/>
              <a:gd name="T20" fmla="*/ 14040 w 173"/>
              <a:gd name="T21" fmla="*/ 13097 h 64"/>
              <a:gd name="T22" fmla="*/ 0 w 173"/>
              <a:gd name="T23" fmla="*/ 25375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path>
            </a:pathLst>
          </a:custGeom>
          <a:solidFill>
            <a:schemeClr val="bg1"/>
          </a:solidFill>
          <a:ln w="9525">
            <a:solidFill>
              <a:srgbClr val="ACC6D0"/>
            </a:solidFill>
            <a:prstDash val="solid"/>
            <a:round/>
            <a:headEnd/>
            <a:tailEnd/>
          </a:ln>
        </p:spPr>
        <p:txBody>
          <a:bodyPr/>
          <a:lstStyle/>
          <a:p>
            <a:endParaRPr lang="en-US" dirty="0"/>
          </a:p>
        </p:txBody>
      </p:sp>
      <p:sp>
        <p:nvSpPr>
          <p:cNvPr id="19791" name="Freeform 334"/>
          <p:cNvSpPr>
            <a:spLocks noChangeAspect="1"/>
          </p:cNvSpPr>
          <p:nvPr/>
        </p:nvSpPr>
        <p:spPr bwMode="auto">
          <a:xfrm>
            <a:off x="6516688" y="2424113"/>
            <a:ext cx="138112" cy="171450"/>
          </a:xfrm>
          <a:custGeom>
            <a:avLst/>
            <a:gdLst>
              <a:gd name="T0" fmla="*/ 0 w 174"/>
              <a:gd name="T1" fmla="*/ 157163 h 192"/>
              <a:gd name="T2" fmla="*/ 0 w 174"/>
              <a:gd name="T3" fmla="*/ 157163 h 192"/>
              <a:gd name="T4" fmla="*/ 13494 w 174"/>
              <a:gd name="T5" fmla="*/ 171450 h 192"/>
              <a:gd name="T6" fmla="*/ 54769 w 174"/>
              <a:gd name="T7" fmla="*/ 157163 h 192"/>
              <a:gd name="T8" fmla="*/ 54769 w 174"/>
              <a:gd name="T9" fmla="*/ 141982 h 192"/>
              <a:gd name="T10" fmla="*/ 96043 w 174"/>
              <a:gd name="T11" fmla="*/ 114300 h 192"/>
              <a:gd name="T12" fmla="*/ 124618 w 174"/>
              <a:gd name="T13" fmla="*/ 71438 h 192"/>
              <a:gd name="T14" fmla="*/ 138112 w 174"/>
              <a:gd name="T15" fmla="*/ 0 h 192"/>
              <a:gd name="T16" fmla="*/ 124618 w 174"/>
              <a:gd name="T17" fmla="*/ 0 h 192"/>
              <a:gd name="T18" fmla="*/ 96043 w 174"/>
              <a:gd name="T19" fmla="*/ 71438 h 192"/>
              <a:gd name="T20" fmla="*/ 40481 w 174"/>
              <a:gd name="T21" fmla="*/ 141982 h 192"/>
              <a:gd name="T22" fmla="*/ 0 w 174"/>
              <a:gd name="T23" fmla="*/ 157163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path>
            </a:pathLst>
          </a:custGeom>
          <a:solidFill>
            <a:schemeClr val="bg1"/>
          </a:solidFill>
          <a:ln w="9525">
            <a:solidFill>
              <a:srgbClr val="ACC6D0"/>
            </a:solidFill>
            <a:prstDash val="solid"/>
            <a:round/>
            <a:headEnd/>
            <a:tailEnd/>
          </a:ln>
        </p:spPr>
        <p:txBody>
          <a:bodyPr/>
          <a:lstStyle/>
          <a:p>
            <a:endParaRPr lang="en-US" dirty="0"/>
          </a:p>
        </p:txBody>
      </p:sp>
      <p:sp>
        <p:nvSpPr>
          <p:cNvPr id="19792" name="Freeform 335"/>
          <p:cNvSpPr>
            <a:spLocks noChangeAspect="1"/>
          </p:cNvSpPr>
          <p:nvPr/>
        </p:nvSpPr>
        <p:spPr bwMode="auto">
          <a:xfrm>
            <a:off x="4930775" y="2173288"/>
            <a:ext cx="55563" cy="82550"/>
          </a:xfrm>
          <a:custGeom>
            <a:avLst/>
            <a:gdLst>
              <a:gd name="T0" fmla="*/ 0 w 69"/>
              <a:gd name="T1" fmla="*/ 28377 h 96"/>
              <a:gd name="T2" fmla="*/ 0 w 69"/>
              <a:gd name="T3" fmla="*/ 28377 h 96"/>
              <a:gd name="T4" fmla="*/ 13689 w 69"/>
              <a:gd name="T5" fmla="*/ 41275 h 96"/>
              <a:gd name="T6" fmla="*/ 27379 w 69"/>
              <a:gd name="T7" fmla="*/ 82550 h 96"/>
              <a:gd name="T8" fmla="*/ 41068 w 69"/>
              <a:gd name="T9" fmla="*/ 69652 h 96"/>
              <a:gd name="T10" fmla="*/ 55563 w 69"/>
              <a:gd name="T11" fmla="*/ 69652 h 96"/>
              <a:gd name="T12" fmla="*/ 55563 w 69"/>
              <a:gd name="T13" fmla="*/ 41275 h 96"/>
              <a:gd name="T14" fmla="*/ 27379 w 69"/>
              <a:gd name="T15" fmla="*/ 0 h 96"/>
              <a:gd name="T16" fmla="*/ 13689 w 69"/>
              <a:gd name="T17" fmla="*/ 0 h 96"/>
              <a:gd name="T18" fmla="*/ 0 w 69"/>
              <a:gd name="T19" fmla="*/ 2837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chemeClr val="bg1"/>
          </a:solidFill>
          <a:ln w="9525">
            <a:solidFill>
              <a:srgbClr val="ACC6D0"/>
            </a:solidFill>
            <a:round/>
            <a:headEnd/>
            <a:tailEnd/>
          </a:ln>
        </p:spPr>
        <p:txBody>
          <a:bodyPr/>
          <a:lstStyle/>
          <a:p>
            <a:endParaRPr lang="en-US" dirty="0"/>
          </a:p>
        </p:txBody>
      </p:sp>
      <p:sp>
        <p:nvSpPr>
          <p:cNvPr id="19793" name="Freeform 336"/>
          <p:cNvSpPr>
            <a:spLocks noChangeAspect="1"/>
          </p:cNvSpPr>
          <p:nvPr/>
        </p:nvSpPr>
        <p:spPr bwMode="auto">
          <a:xfrm>
            <a:off x="5027613" y="2116138"/>
            <a:ext cx="42862" cy="84137"/>
          </a:xfrm>
          <a:custGeom>
            <a:avLst/>
            <a:gdLst>
              <a:gd name="T0" fmla="*/ 0 w 51"/>
              <a:gd name="T1" fmla="*/ 55215 h 96"/>
              <a:gd name="T2" fmla="*/ 0 w 51"/>
              <a:gd name="T3" fmla="*/ 55215 h 96"/>
              <a:gd name="T4" fmla="*/ 28575 w 51"/>
              <a:gd name="T5" fmla="*/ 68361 h 96"/>
              <a:gd name="T6" fmla="*/ 28575 w 51"/>
              <a:gd name="T7" fmla="*/ 84137 h 96"/>
              <a:gd name="T8" fmla="*/ 42862 w 51"/>
              <a:gd name="T9" fmla="*/ 84137 h 96"/>
              <a:gd name="T10" fmla="*/ 28575 w 51"/>
              <a:gd name="T11" fmla="*/ 42069 h 96"/>
              <a:gd name="T12" fmla="*/ 28575 w 51"/>
              <a:gd name="T13" fmla="*/ 13146 h 96"/>
              <a:gd name="T14" fmla="*/ 14287 w 51"/>
              <a:gd name="T15" fmla="*/ 13146 h 96"/>
              <a:gd name="T16" fmla="*/ 0 w 51"/>
              <a:gd name="T17" fmla="*/ 0 h 96"/>
              <a:gd name="T18" fmla="*/ 14287 w 51"/>
              <a:gd name="T19" fmla="*/ 13146 h 96"/>
              <a:gd name="T20" fmla="*/ 14287 w 51"/>
              <a:gd name="T21" fmla="*/ 26293 h 96"/>
              <a:gd name="T22" fmla="*/ 0 w 51"/>
              <a:gd name="T23" fmla="*/ 26293 h 96"/>
              <a:gd name="T24" fmla="*/ 0 w 51"/>
              <a:gd name="T25" fmla="*/ 55215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chemeClr val="bg1"/>
          </a:solidFill>
          <a:ln w="9525">
            <a:solidFill>
              <a:srgbClr val="ACC6D0"/>
            </a:solidFill>
            <a:prstDash val="solid"/>
            <a:round/>
            <a:headEnd/>
            <a:tailEnd/>
          </a:ln>
        </p:spPr>
        <p:txBody>
          <a:bodyPr/>
          <a:lstStyle/>
          <a:p>
            <a:endParaRPr lang="en-US" dirty="0"/>
          </a:p>
        </p:txBody>
      </p:sp>
      <p:sp>
        <p:nvSpPr>
          <p:cNvPr id="19794" name="Freeform 337"/>
          <p:cNvSpPr>
            <a:spLocks noChangeAspect="1"/>
          </p:cNvSpPr>
          <p:nvPr/>
        </p:nvSpPr>
        <p:spPr bwMode="auto">
          <a:xfrm>
            <a:off x="5010150" y="4133850"/>
            <a:ext cx="26988" cy="114300"/>
          </a:xfrm>
          <a:custGeom>
            <a:avLst/>
            <a:gdLst>
              <a:gd name="T0" fmla="*/ 0 w 35"/>
              <a:gd name="T1" fmla="*/ 57593 h 129"/>
              <a:gd name="T2" fmla="*/ 0 w 35"/>
              <a:gd name="T3" fmla="*/ 57593 h 129"/>
              <a:gd name="T4" fmla="*/ 13880 w 35"/>
              <a:gd name="T5" fmla="*/ 85060 h 129"/>
              <a:gd name="T6" fmla="*/ 26988 w 35"/>
              <a:gd name="T7" fmla="*/ 114300 h 129"/>
              <a:gd name="T8" fmla="*/ 13880 w 35"/>
              <a:gd name="T9" fmla="*/ 0 h 129"/>
              <a:gd name="T10" fmla="*/ 0 w 35"/>
              <a:gd name="T11" fmla="*/ 0 h 129"/>
              <a:gd name="T12" fmla="*/ 13880 w 35"/>
              <a:gd name="T13" fmla="*/ 42530 h 129"/>
              <a:gd name="T14" fmla="*/ 0 w 35"/>
              <a:gd name="T15" fmla="*/ 57593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path>
            </a:pathLst>
          </a:custGeom>
          <a:noFill/>
          <a:ln w="9525">
            <a:solidFill>
              <a:srgbClr val="ACC6D0"/>
            </a:solidFill>
            <a:prstDash val="solid"/>
            <a:round/>
            <a:headEnd/>
            <a:tailEnd/>
          </a:ln>
        </p:spPr>
        <p:txBody>
          <a:bodyPr/>
          <a:lstStyle/>
          <a:p>
            <a:endParaRPr lang="en-US" dirty="0"/>
          </a:p>
        </p:txBody>
      </p:sp>
      <p:sp>
        <p:nvSpPr>
          <p:cNvPr id="19795" name="Freeform 338"/>
          <p:cNvSpPr>
            <a:spLocks noChangeAspect="1"/>
          </p:cNvSpPr>
          <p:nvPr/>
        </p:nvSpPr>
        <p:spPr bwMode="auto">
          <a:xfrm>
            <a:off x="4900613" y="3994150"/>
            <a:ext cx="55562" cy="125413"/>
          </a:xfrm>
          <a:custGeom>
            <a:avLst/>
            <a:gdLst>
              <a:gd name="T0" fmla="*/ 13689 w 69"/>
              <a:gd name="T1" fmla="*/ 54868 h 144"/>
              <a:gd name="T2" fmla="*/ 13689 w 69"/>
              <a:gd name="T3" fmla="*/ 54868 h 144"/>
              <a:gd name="T4" fmla="*/ 28184 w 69"/>
              <a:gd name="T5" fmla="*/ 83609 h 144"/>
              <a:gd name="T6" fmla="*/ 41873 w 69"/>
              <a:gd name="T7" fmla="*/ 111478 h 144"/>
              <a:gd name="T8" fmla="*/ 55562 w 69"/>
              <a:gd name="T9" fmla="*/ 125413 h 144"/>
              <a:gd name="T10" fmla="*/ 41873 w 69"/>
              <a:gd name="T11" fmla="*/ 83609 h 144"/>
              <a:gd name="T12" fmla="*/ 13689 w 69"/>
              <a:gd name="T13" fmla="*/ 69674 h 144"/>
              <a:gd name="T14" fmla="*/ 28184 w 69"/>
              <a:gd name="T15" fmla="*/ 54868 h 144"/>
              <a:gd name="T16" fmla="*/ 13689 w 69"/>
              <a:gd name="T17" fmla="*/ 0 h 144"/>
              <a:gd name="T18" fmla="*/ 0 w 69"/>
              <a:gd name="T19" fmla="*/ 13064 h 144"/>
              <a:gd name="T20" fmla="*/ 13689 w 69"/>
              <a:gd name="T21" fmla="*/ 54868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path>
            </a:pathLst>
          </a:custGeom>
          <a:noFill/>
          <a:ln w="9525">
            <a:solidFill>
              <a:srgbClr val="ACC6D0"/>
            </a:solidFill>
            <a:prstDash val="solid"/>
            <a:round/>
            <a:headEnd/>
            <a:tailEnd/>
          </a:ln>
        </p:spPr>
        <p:txBody>
          <a:bodyPr/>
          <a:lstStyle/>
          <a:p>
            <a:endParaRPr lang="en-US" dirty="0"/>
          </a:p>
        </p:txBody>
      </p:sp>
      <p:sp>
        <p:nvSpPr>
          <p:cNvPr id="19796" name="Freeform 339"/>
          <p:cNvSpPr>
            <a:spLocks noChangeAspect="1"/>
          </p:cNvSpPr>
          <p:nvPr/>
        </p:nvSpPr>
        <p:spPr bwMode="auto">
          <a:xfrm>
            <a:off x="4956175" y="3908425"/>
            <a:ext cx="68263" cy="69850"/>
          </a:xfrm>
          <a:custGeom>
            <a:avLst/>
            <a:gdLst>
              <a:gd name="T0" fmla="*/ 0 w 87"/>
              <a:gd name="T1" fmla="*/ 55007 h 80"/>
              <a:gd name="T2" fmla="*/ 0 w 87"/>
              <a:gd name="T3" fmla="*/ 55007 h 80"/>
              <a:gd name="T4" fmla="*/ 13339 w 87"/>
              <a:gd name="T5" fmla="*/ 69850 h 80"/>
              <a:gd name="T6" fmla="*/ 13339 w 87"/>
              <a:gd name="T7" fmla="*/ 55007 h 80"/>
              <a:gd name="T8" fmla="*/ 40801 w 87"/>
              <a:gd name="T9" fmla="*/ 69850 h 80"/>
              <a:gd name="T10" fmla="*/ 54140 w 87"/>
              <a:gd name="T11" fmla="*/ 55007 h 80"/>
              <a:gd name="T12" fmla="*/ 40801 w 87"/>
              <a:gd name="T13" fmla="*/ 55007 h 80"/>
              <a:gd name="T14" fmla="*/ 68263 w 87"/>
              <a:gd name="T15" fmla="*/ 13097 h 80"/>
              <a:gd name="T16" fmla="*/ 54140 w 87"/>
              <a:gd name="T17" fmla="*/ 13097 h 80"/>
              <a:gd name="T18" fmla="*/ 40801 w 87"/>
              <a:gd name="T19" fmla="*/ 0 h 80"/>
              <a:gd name="T20" fmla="*/ 13339 w 87"/>
              <a:gd name="T21" fmla="*/ 13097 h 80"/>
              <a:gd name="T22" fmla="*/ 0 w 87"/>
              <a:gd name="T23" fmla="*/ 5500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path>
            </a:pathLst>
          </a:custGeom>
          <a:noFill/>
          <a:ln w="9525">
            <a:solidFill>
              <a:srgbClr val="ACC6D0"/>
            </a:solidFill>
            <a:prstDash val="solid"/>
            <a:round/>
            <a:headEnd/>
            <a:tailEnd/>
          </a:ln>
        </p:spPr>
        <p:txBody>
          <a:bodyPr/>
          <a:lstStyle/>
          <a:p>
            <a:endParaRPr lang="en-US" dirty="0"/>
          </a:p>
        </p:txBody>
      </p:sp>
      <p:sp>
        <p:nvSpPr>
          <p:cNvPr id="19797" name="Freeform 341"/>
          <p:cNvSpPr>
            <a:spLocks noChangeAspect="1"/>
          </p:cNvSpPr>
          <p:nvPr>
            <p:custDataLst>
              <p:tags r:id="rId149"/>
            </p:custDataLst>
          </p:nvPr>
        </p:nvSpPr>
        <p:spPr bwMode="auto">
          <a:xfrm>
            <a:off x="2098675" y="1843088"/>
            <a:ext cx="58738" cy="57150"/>
          </a:xfrm>
          <a:custGeom>
            <a:avLst/>
            <a:gdLst>
              <a:gd name="T0" fmla="*/ 0 w 87"/>
              <a:gd name="T1" fmla="*/ 46567 h 81"/>
              <a:gd name="T2" fmla="*/ 0 w 87"/>
              <a:gd name="T3" fmla="*/ 46567 h 81"/>
              <a:gd name="T4" fmla="*/ 11478 w 87"/>
              <a:gd name="T5" fmla="*/ 57150 h 81"/>
              <a:gd name="T6" fmla="*/ 35108 w 87"/>
              <a:gd name="T7" fmla="*/ 33867 h 81"/>
              <a:gd name="T8" fmla="*/ 46585 w 87"/>
              <a:gd name="T9" fmla="*/ 33867 h 81"/>
              <a:gd name="T10" fmla="*/ 46585 w 87"/>
              <a:gd name="T11" fmla="*/ 23283 h 81"/>
              <a:gd name="T12" fmla="*/ 35108 w 87"/>
              <a:gd name="T13" fmla="*/ 23283 h 81"/>
              <a:gd name="T14" fmla="*/ 58738 w 87"/>
              <a:gd name="T15" fmla="*/ 12700 h 81"/>
              <a:gd name="T16" fmla="*/ 46585 w 87"/>
              <a:gd name="T17" fmla="*/ 0 h 81"/>
              <a:gd name="T18" fmla="*/ 0 w 87"/>
              <a:gd name="T19" fmla="*/ 46567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000080"/>
          </a:solidFill>
          <a:ln w="9525">
            <a:solidFill>
              <a:schemeClr val="bg2"/>
            </a:solidFill>
            <a:prstDash val="solid"/>
            <a:round/>
            <a:headEnd/>
            <a:tailEnd/>
          </a:ln>
        </p:spPr>
        <p:txBody>
          <a:bodyPr/>
          <a:lstStyle/>
          <a:p>
            <a:endParaRPr lang="en-US" dirty="0"/>
          </a:p>
        </p:txBody>
      </p:sp>
      <p:sp>
        <p:nvSpPr>
          <p:cNvPr id="19798" name="Freeform 342"/>
          <p:cNvSpPr>
            <a:spLocks noChangeAspect="1"/>
          </p:cNvSpPr>
          <p:nvPr>
            <p:custDataLst>
              <p:tags r:id="rId150"/>
            </p:custDataLst>
          </p:nvPr>
        </p:nvSpPr>
        <p:spPr bwMode="auto">
          <a:xfrm>
            <a:off x="2509838" y="1981200"/>
            <a:ext cx="36512" cy="68263"/>
          </a:xfrm>
          <a:custGeom>
            <a:avLst/>
            <a:gdLst>
              <a:gd name="T0" fmla="*/ 0 w 54"/>
              <a:gd name="T1" fmla="*/ 0 h 96"/>
              <a:gd name="T2" fmla="*/ 0 w 54"/>
              <a:gd name="T3" fmla="*/ 0 h 96"/>
              <a:gd name="T4" fmla="*/ 0 w 54"/>
              <a:gd name="T5" fmla="*/ 23465 h 96"/>
              <a:gd name="T6" fmla="*/ 12847 w 54"/>
              <a:gd name="T7" fmla="*/ 57597 h 96"/>
              <a:gd name="T8" fmla="*/ 36512 w 54"/>
              <a:gd name="T9" fmla="*/ 68263 h 96"/>
              <a:gd name="T10" fmla="*/ 12847 w 54"/>
              <a:gd name="T11" fmla="*/ 46220 h 96"/>
              <a:gd name="T12" fmla="*/ 24341 w 54"/>
              <a:gd name="T13" fmla="*/ 34132 h 96"/>
              <a:gd name="T14" fmla="*/ 12847 w 54"/>
              <a:gd name="T15" fmla="*/ 23465 h 96"/>
              <a:gd name="T16" fmla="*/ 24341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799" name="Freeform 343"/>
          <p:cNvSpPr>
            <a:spLocks noChangeAspect="1"/>
          </p:cNvSpPr>
          <p:nvPr>
            <p:custDataLst>
              <p:tags r:id="rId151"/>
            </p:custDataLst>
          </p:nvPr>
        </p:nvSpPr>
        <p:spPr bwMode="auto">
          <a:xfrm>
            <a:off x="2593975" y="2082800"/>
            <a:ext cx="95250" cy="69850"/>
          </a:xfrm>
          <a:custGeom>
            <a:avLst/>
            <a:gdLst>
              <a:gd name="T0" fmla="*/ 0 w 140"/>
              <a:gd name="T1" fmla="*/ 0 h 96"/>
              <a:gd name="T2" fmla="*/ 0 w 140"/>
              <a:gd name="T3" fmla="*/ 0 h 96"/>
              <a:gd name="T4" fmla="*/ 11566 w 140"/>
              <a:gd name="T5" fmla="*/ 24011 h 96"/>
              <a:gd name="T6" fmla="*/ 35379 w 140"/>
              <a:gd name="T7" fmla="*/ 34925 h 96"/>
              <a:gd name="T8" fmla="*/ 58511 w 140"/>
              <a:gd name="T9" fmla="*/ 47294 h 96"/>
              <a:gd name="T10" fmla="*/ 58511 w 140"/>
              <a:gd name="T11" fmla="*/ 58936 h 96"/>
              <a:gd name="T12" fmla="*/ 82323 w 140"/>
              <a:gd name="T13" fmla="*/ 69850 h 96"/>
              <a:gd name="T14" fmla="*/ 95250 w 140"/>
              <a:gd name="T15" fmla="*/ 69850 h 96"/>
              <a:gd name="T16" fmla="*/ 46945 w 140"/>
              <a:gd name="T17" fmla="*/ 12369 h 96"/>
              <a:gd name="T18" fmla="*/ 11566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9800" name="Line 344"/>
          <p:cNvSpPr>
            <a:spLocks noChangeAspect="1" noChangeShapeType="1"/>
          </p:cNvSpPr>
          <p:nvPr>
            <p:custDataLst>
              <p:tags r:id="rId152"/>
            </p:custDataLst>
          </p:nvPr>
        </p:nvSpPr>
        <p:spPr bwMode="auto">
          <a:xfrm flipV="1">
            <a:off x="1846263" y="2009775"/>
            <a:ext cx="11112" cy="44450"/>
          </a:xfrm>
          <a:prstGeom prst="line">
            <a:avLst/>
          </a:prstGeom>
          <a:noFill/>
          <a:ln w="9525">
            <a:solidFill>
              <a:schemeClr val="bg2"/>
            </a:solidFill>
            <a:round/>
            <a:headEnd/>
            <a:tailEnd/>
          </a:ln>
        </p:spPr>
        <p:txBody>
          <a:bodyPr/>
          <a:lstStyle/>
          <a:p>
            <a:endParaRPr lang="en-US" dirty="0"/>
          </a:p>
        </p:txBody>
      </p:sp>
      <p:sp>
        <p:nvSpPr>
          <p:cNvPr id="19801" name="Freeform 345"/>
          <p:cNvSpPr>
            <a:spLocks noChangeAspect="1"/>
          </p:cNvSpPr>
          <p:nvPr>
            <p:custDataLst>
              <p:tags r:id="rId153"/>
            </p:custDataLst>
          </p:nvPr>
        </p:nvSpPr>
        <p:spPr bwMode="auto">
          <a:xfrm>
            <a:off x="1862138" y="1993900"/>
            <a:ext cx="23812" cy="9525"/>
          </a:xfrm>
          <a:custGeom>
            <a:avLst/>
            <a:gdLst>
              <a:gd name="T0" fmla="*/ 0 w 34"/>
              <a:gd name="T1" fmla="*/ 9525 h 16"/>
              <a:gd name="T2" fmla="*/ 0 w 34"/>
              <a:gd name="T3" fmla="*/ 9525 h 16"/>
              <a:gd name="T4" fmla="*/ 23812 w 34"/>
              <a:gd name="T5" fmla="*/ 9525 h 16"/>
              <a:gd name="T6" fmla="*/ 23812 w 34"/>
              <a:gd name="T7" fmla="*/ 0 h 16"/>
              <a:gd name="T8" fmla="*/ 11906 w 34"/>
              <a:gd name="T9" fmla="*/ 0 h 16"/>
              <a:gd name="T10" fmla="*/ 11906 w 34"/>
              <a:gd name="T11" fmla="*/ 9525 h 16"/>
              <a:gd name="T12" fmla="*/ 0 w 34"/>
              <a:gd name="T13" fmla="*/ 9525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9802" name="Text Box 582"/>
          <p:cNvSpPr txBox="1">
            <a:spLocks noChangeArrowheads="1"/>
          </p:cNvSpPr>
          <p:nvPr/>
        </p:nvSpPr>
        <p:spPr bwMode="auto">
          <a:xfrm>
            <a:off x="1371600" y="4724400"/>
            <a:ext cx="12192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Chile</a:t>
            </a:r>
          </a:p>
          <a:p>
            <a:pPr eaLnBrk="0" hangingPunct="0">
              <a:lnSpc>
                <a:spcPct val="50000"/>
              </a:lnSpc>
              <a:spcBef>
                <a:spcPct val="50000"/>
              </a:spcBef>
            </a:pPr>
            <a:r>
              <a:rPr lang="en-US" sz="1200" dirty="0">
                <a:ea typeface="MS PGothic"/>
                <a:cs typeface="MS PGothic"/>
              </a:rPr>
              <a:t>5 DC’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ooter Placeholder 1"/>
          <p:cNvSpPr>
            <a:spLocks noGrp="1"/>
          </p:cNvSpPr>
          <p:nvPr>
            <p:ph type="ftr" sz="quarter" idx="10"/>
          </p:nvPr>
        </p:nvSpPr>
        <p:spPr>
          <a:noFill/>
        </p:spPr>
        <p:txBody>
          <a:bodyPr/>
          <a:lstStyle/>
          <a:p>
            <a:endParaRPr lang="en-US" dirty="0" smtClean="0">
              <a:latin typeface="Arial" pitchFamily="34" charset="0"/>
              <a:ea typeface="MS PGothic"/>
              <a:cs typeface="MS PGothic"/>
            </a:endParaRPr>
          </a:p>
          <a:p>
            <a:endParaRPr lang="en-US" dirty="0" smtClean="0">
              <a:latin typeface="Arial" pitchFamily="34" charset="0"/>
              <a:ea typeface="MS PGothic"/>
              <a:cs typeface="MS PGothic"/>
            </a:endParaRPr>
          </a:p>
        </p:txBody>
      </p:sp>
      <p:sp>
        <p:nvSpPr>
          <p:cNvPr id="18435" name="Rectangle 2"/>
          <p:cNvSpPr>
            <a:spLocks noGrp="1" noChangeArrowheads="1"/>
          </p:cNvSpPr>
          <p:nvPr>
            <p:ph type="title" idx="4294967295"/>
          </p:nvPr>
        </p:nvSpPr>
        <p:spPr>
          <a:xfrm>
            <a:off x="457200" y="110044"/>
            <a:ext cx="8229600" cy="584775"/>
          </a:xfrm>
        </p:spPr>
        <p:txBody>
          <a:bodyPr lIns="91440" tIns="45720" rIns="91440" bIns="45720" anchor="ctr"/>
          <a:lstStyle/>
          <a:p>
            <a:r>
              <a:rPr lang="en-US" sz="3200" dirty="0" smtClean="0">
                <a:solidFill>
                  <a:schemeClr val="tx1"/>
                </a:solidFill>
              </a:rPr>
              <a:t>Walmart International Stores Count</a:t>
            </a:r>
          </a:p>
        </p:txBody>
      </p:sp>
      <p:sp>
        <p:nvSpPr>
          <p:cNvPr id="18436" name="AutoShape 5"/>
          <p:cNvSpPr>
            <a:spLocks noChangeAspect="1" noChangeArrowheads="1" noTextEdit="1"/>
          </p:cNvSpPr>
          <p:nvPr/>
        </p:nvSpPr>
        <p:spPr bwMode="auto">
          <a:xfrm>
            <a:off x="750888" y="1477963"/>
            <a:ext cx="8345487" cy="4618037"/>
          </a:xfrm>
          <a:prstGeom prst="rect">
            <a:avLst/>
          </a:prstGeom>
          <a:noFill/>
          <a:ln w="9525">
            <a:noFill/>
            <a:miter lim="800000"/>
            <a:headEnd/>
            <a:tailEnd/>
          </a:ln>
        </p:spPr>
        <p:txBody>
          <a:bodyPr/>
          <a:lstStyle/>
          <a:p>
            <a:endParaRPr lang="en-US" dirty="0"/>
          </a:p>
        </p:txBody>
      </p:sp>
      <p:graphicFrame>
        <p:nvGraphicFramePr>
          <p:cNvPr id="77828" name="Group 4"/>
          <p:cNvGraphicFramePr>
            <a:graphicFrameLocks noGrp="1"/>
          </p:cNvGraphicFramePr>
          <p:nvPr/>
        </p:nvGraphicFramePr>
        <p:xfrm>
          <a:off x="5257800" y="5029200"/>
          <a:ext cx="3733800" cy="1067118"/>
        </p:xfrm>
        <a:graphic>
          <a:graphicData uri="http://schemas.openxmlformats.org/drawingml/2006/table">
            <a:tbl>
              <a:tblPr/>
              <a:tblGrid>
                <a:gridCol w="2547938"/>
                <a:gridCol w="1185862"/>
              </a:tblGrid>
              <a:tr h="336550">
                <a:tc gridSpan="2">
                  <a:txBody>
                    <a:bodyPr/>
                    <a:lstStyle/>
                    <a:p>
                      <a:pPr marL="0" marR="0" lvl="0" indent="0" algn="r"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600" b="0" i="1" u="none" strike="noStrike" cap="none" normalizeH="0" baseline="0" dirty="0" smtClean="0">
                          <a:ln>
                            <a:noFill/>
                          </a:ln>
                          <a:solidFill>
                            <a:schemeClr val="tx1"/>
                          </a:solidFill>
                          <a:effectLst/>
                          <a:latin typeface="Arial" pitchFamily="34" charset="0"/>
                        </a:rPr>
                        <a:t>As of…May 31, 2009</a:t>
                      </a:r>
                    </a:p>
                  </a:txBody>
                  <a:tcPr horzOverflow="overflow">
                    <a:lnL w="28575" cap="flat" cmpd="sng" algn="ctr">
                      <a:solidFill>
                        <a:srgbClr val="003399"/>
                      </a:solidFill>
                      <a:prstDash val="solid"/>
                      <a:round/>
                      <a:headEnd type="none" w="med" len="med"/>
                      <a:tailEnd type="none" w="med" len="med"/>
                    </a:lnL>
                    <a:lnR w="28575" cap="flat" cmpd="sng" algn="ctr">
                      <a:solidFill>
                        <a:srgbClr val="003399"/>
                      </a:solidFill>
                      <a:prstDash val="solid"/>
                      <a:round/>
                      <a:headEnd type="none" w="med" len="med"/>
                      <a:tailEnd type="none" w="med" len="med"/>
                    </a:lnR>
                    <a:lnT w="28575" cap="flat" cmpd="sng" algn="ctr">
                      <a:solidFill>
                        <a:srgbClr val="003399"/>
                      </a:solidFill>
                      <a:prstDash val="solid"/>
                      <a:round/>
                      <a:headEnd type="none" w="med" len="med"/>
                      <a:tailEnd type="none" w="med" len="med"/>
                    </a:lnT>
                    <a:lnB w="12700" cap="flat" cmpd="sng" algn="ctr">
                      <a:solidFill>
                        <a:srgbClr val="003399"/>
                      </a:solidFill>
                      <a:prstDash val="solid"/>
                      <a:round/>
                      <a:headEnd type="none" w="med" len="med"/>
                      <a:tailEnd type="none" w="med" len="med"/>
                    </a:lnB>
                    <a:lnTlToBr>
                      <a:noFill/>
                    </a:lnTlToBr>
                    <a:lnBlToTr>
                      <a:noFill/>
                    </a:lnBlToTr>
                    <a:noFill/>
                  </a:tcPr>
                </a:tc>
                <a:tc hMerge="1">
                  <a:txBody>
                    <a:bodyPr/>
                    <a:lstStyle/>
                    <a:p>
                      <a:endParaRPr lang="en-US"/>
                    </a:p>
                  </a:txBody>
                  <a:tcPr/>
                </a:tc>
              </a:tr>
              <a:tr h="334963">
                <a:tc>
                  <a:txBody>
                    <a:bodyPr/>
                    <a:lstStyle/>
                    <a:p>
                      <a:pPr marL="0" marR="0" lvl="0" indent="0" algn="l"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400" b="0" i="0" u="none" strike="noStrike" cap="none" normalizeH="0" baseline="0" dirty="0" smtClean="0">
                          <a:ln>
                            <a:noFill/>
                          </a:ln>
                          <a:solidFill>
                            <a:schemeClr val="tx1"/>
                          </a:solidFill>
                          <a:effectLst/>
                          <a:latin typeface="Arial" pitchFamily="34" charset="0"/>
                        </a:rPr>
                        <a:t>Units</a:t>
                      </a:r>
                    </a:p>
                  </a:txBody>
                  <a:tcPr horzOverflow="overflow">
                    <a:lnL w="28575" cap="flat" cmpd="sng" algn="ctr">
                      <a:solidFill>
                        <a:srgbClr val="003399"/>
                      </a:solidFill>
                      <a:prstDash val="solid"/>
                      <a:round/>
                      <a:headEnd type="none" w="med" len="med"/>
                      <a:tailEnd type="none" w="med" len="med"/>
                    </a:lnL>
                    <a:lnR w="12700"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12700" cap="flat" cmpd="sng" algn="ctr">
                      <a:solidFill>
                        <a:srgbClr val="003399"/>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600" b="0" i="0" u="none" strike="noStrike" cap="none" normalizeH="0" baseline="0" dirty="0" smtClean="0">
                          <a:ln>
                            <a:noFill/>
                          </a:ln>
                          <a:solidFill>
                            <a:schemeClr val="tx1"/>
                          </a:solidFill>
                          <a:effectLst/>
                          <a:latin typeface="Arial" pitchFamily="34" charset="0"/>
                        </a:rPr>
                        <a:t>3,685</a:t>
                      </a:r>
                    </a:p>
                  </a:txBody>
                  <a:tcPr horzOverflow="overflow">
                    <a:lnL w="12700" cap="flat" cmpd="sng" algn="ctr">
                      <a:solidFill>
                        <a:srgbClr val="003399"/>
                      </a:solidFill>
                      <a:prstDash val="solid"/>
                      <a:round/>
                      <a:headEnd type="none" w="med" len="med"/>
                      <a:tailEnd type="none" w="med" len="med"/>
                    </a:lnL>
                    <a:lnR w="28575"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12700" cap="flat" cmpd="sng" algn="ctr">
                      <a:solidFill>
                        <a:srgbClr val="003399"/>
                      </a:solidFill>
                      <a:prstDash val="solid"/>
                      <a:round/>
                      <a:headEnd type="none" w="med" len="med"/>
                      <a:tailEnd type="none" w="med" len="med"/>
                    </a:lnB>
                    <a:lnTlToBr>
                      <a:noFill/>
                    </a:lnTlToBr>
                    <a:lnBlToTr>
                      <a:noFill/>
                    </a:lnBlToTr>
                    <a:noFill/>
                  </a:tcPr>
                </a:tc>
              </a:tr>
              <a:tr h="395288">
                <a:tc>
                  <a:txBody>
                    <a:bodyPr/>
                    <a:lstStyle/>
                    <a:p>
                      <a:pPr marL="0" marR="0" lvl="0" indent="0" algn="l"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600" b="0" i="0" u="none" strike="noStrike" cap="none" normalizeH="0" baseline="0" dirty="0" smtClean="0">
                          <a:ln>
                            <a:noFill/>
                          </a:ln>
                          <a:solidFill>
                            <a:schemeClr val="tx1"/>
                          </a:solidFill>
                          <a:effectLst/>
                          <a:latin typeface="Arial" pitchFamily="34" charset="0"/>
                        </a:rPr>
                        <a:t>International Associates</a:t>
                      </a:r>
                    </a:p>
                  </a:txBody>
                  <a:tcPr horzOverflow="overflow">
                    <a:lnL w="28575" cap="flat" cmpd="sng" algn="ctr">
                      <a:solidFill>
                        <a:srgbClr val="003399"/>
                      </a:solidFill>
                      <a:prstDash val="solid"/>
                      <a:round/>
                      <a:headEnd type="none" w="med" len="med"/>
                      <a:tailEnd type="none" w="med" len="med"/>
                    </a:lnL>
                    <a:lnR w="12700"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
                          <a:schemeClr val="folHlink"/>
                        </a:buClr>
                        <a:buSzPct val="120000"/>
                        <a:buFont typeface="Times" pitchFamily="-64" charset="0"/>
                        <a:buNone/>
                        <a:tabLst/>
                      </a:pPr>
                      <a:r>
                        <a:rPr kumimoji="0" lang="en-US" sz="1600" b="0" i="0" u="none" strike="noStrike" cap="none" normalizeH="0" baseline="0" dirty="0" smtClean="0">
                          <a:ln>
                            <a:noFill/>
                          </a:ln>
                          <a:solidFill>
                            <a:schemeClr val="tx1"/>
                          </a:solidFill>
                          <a:effectLst/>
                          <a:latin typeface="Arial" pitchFamily="34" charset="0"/>
                        </a:rPr>
                        <a:t>680,000 +</a:t>
                      </a:r>
                    </a:p>
                  </a:txBody>
                  <a:tcPr horzOverflow="overflow">
                    <a:lnL w="12700" cap="flat" cmpd="sng" algn="ctr">
                      <a:solidFill>
                        <a:srgbClr val="003399"/>
                      </a:solidFill>
                      <a:prstDash val="solid"/>
                      <a:round/>
                      <a:headEnd type="none" w="med" len="med"/>
                      <a:tailEnd type="none" w="med" len="med"/>
                    </a:lnL>
                    <a:lnR w="28575" cap="flat" cmpd="sng" algn="ctr">
                      <a:solidFill>
                        <a:srgbClr val="003399"/>
                      </a:solidFill>
                      <a:prstDash val="solid"/>
                      <a:round/>
                      <a:headEnd type="none" w="med" len="med"/>
                      <a:tailEnd type="none" w="med" len="med"/>
                    </a:lnR>
                    <a:lnT w="12700"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bl>
          </a:graphicData>
        </a:graphic>
      </p:graphicFrame>
      <p:sp>
        <p:nvSpPr>
          <p:cNvPr id="18450" name="Text Box 577"/>
          <p:cNvSpPr txBox="1">
            <a:spLocks noChangeArrowheads="1"/>
          </p:cNvSpPr>
          <p:nvPr/>
        </p:nvSpPr>
        <p:spPr bwMode="auto">
          <a:xfrm>
            <a:off x="587375" y="1189038"/>
            <a:ext cx="825500" cy="368300"/>
          </a:xfrm>
          <a:prstGeom prst="rect">
            <a:avLst/>
          </a:prstGeom>
          <a:noFill/>
          <a:ln w="8001">
            <a:noFill/>
            <a:miter lim="800000"/>
            <a:headEnd/>
            <a:tailEnd/>
          </a:ln>
        </p:spPr>
        <p:txBody>
          <a:bodyPr wrap="none">
            <a:spAutoFit/>
          </a:bodyPr>
          <a:lstStyle/>
          <a:p>
            <a:pPr eaLnBrk="0" hangingPunct="0">
              <a:lnSpc>
                <a:spcPct val="50000"/>
              </a:lnSpc>
              <a:spcBef>
                <a:spcPct val="50000"/>
              </a:spcBef>
            </a:pPr>
            <a:r>
              <a:rPr lang="en-US" sz="1200" dirty="0">
                <a:ea typeface="MS PGothic"/>
                <a:cs typeface="MS PGothic"/>
              </a:rPr>
              <a:t>Canada </a:t>
            </a:r>
          </a:p>
          <a:p>
            <a:pPr eaLnBrk="0" hangingPunct="0">
              <a:lnSpc>
                <a:spcPct val="50000"/>
              </a:lnSpc>
              <a:spcBef>
                <a:spcPct val="50000"/>
              </a:spcBef>
            </a:pPr>
            <a:r>
              <a:rPr lang="en-US" sz="1200" dirty="0">
                <a:ea typeface="MS PGothic"/>
                <a:cs typeface="MS PGothic"/>
              </a:rPr>
              <a:t>312 Units</a:t>
            </a:r>
          </a:p>
        </p:txBody>
      </p:sp>
      <p:sp>
        <p:nvSpPr>
          <p:cNvPr id="18451" name="Text Box 578"/>
          <p:cNvSpPr txBox="1">
            <a:spLocks noChangeArrowheads="1"/>
          </p:cNvSpPr>
          <p:nvPr/>
        </p:nvSpPr>
        <p:spPr bwMode="auto">
          <a:xfrm>
            <a:off x="301625" y="3276600"/>
            <a:ext cx="1146175"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Mexico</a:t>
            </a:r>
          </a:p>
          <a:p>
            <a:pPr eaLnBrk="0" hangingPunct="0">
              <a:lnSpc>
                <a:spcPct val="50000"/>
              </a:lnSpc>
              <a:spcBef>
                <a:spcPct val="50000"/>
              </a:spcBef>
            </a:pPr>
            <a:r>
              <a:rPr lang="en-US" sz="1200" dirty="0">
                <a:ea typeface="MS PGothic"/>
                <a:cs typeface="MS PGothic"/>
              </a:rPr>
              <a:t>1,232 Units</a:t>
            </a:r>
          </a:p>
        </p:txBody>
      </p:sp>
      <p:sp>
        <p:nvSpPr>
          <p:cNvPr id="18452" name="Text Box 579"/>
          <p:cNvSpPr txBox="1">
            <a:spLocks noChangeArrowheads="1"/>
          </p:cNvSpPr>
          <p:nvPr/>
        </p:nvSpPr>
        <p:spPr bwMode="auto">
          <a:xfrm>
            <a:off x="2438400" y="3048000"/>
            <a:ext cx="1679575"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Puerto Rico</a:t>
            </a:r>
          </a:p>
          <a:p>
            <a:pPr eaLnBrk="0" hangingPunct="0">
              <a:lnSpc>
                <a:spcPct val="50000"/>
              </a:lnSpc>
              <a:spcBef>
                <a:spcPct val="50000"/>
              </a:spcBef>
            </a:pPr>
            <a:r>
              <a:rPr lang="en-US" sz="1200" dirty="0">
                <a:ea typeface="MS PGothic"/>
                <a:cs typeface="MS PGothic"/>
              </a:rPr>
              <a:t>56 Units</a:t>
            </a:r>
          </a:p>
        </p:txBody>
      </p:sp>
      <p:sp>
        <p:nvSpPr>
          <p:cNvPr id="18453" name="Text Box 580"/>
          <p:cNvSpPr txBox="1">
            <a:spLocks noChangeArrowheads="1"/>
          </p:cNvSpPr>
          <p:nvPr/>
        </p:nvSpPr>
        <p:spPr bwMode="auto">
          <a:xfrm>
            <a:off x="1104900" y="3765550"/>
            <a:ext cx="1333500" cy="458788"/>
          </a:xfrm>
          <a:prstGeom prst="rect">
            <a:avLst/>
          </a:prstGeom>
          <a:noFill/>
          <a:ln w="8001">
            <a:noFill/>
            <a:miter lim="800000"/>
            <a:headEnd/>
            <a:tailEnd/>
          </a:ln>
        </p:spPr>
        <p:txBody>
          <a:bodyPr>
            <a:spAutoFit/>
          </a:bodyPr>
          <a:lstStyle/>
          <a:p>
            <a:pPr eaLnBrk="0" hangingPunct="0">
              <a:spcBef>
                <a:spcPct val="50000"/>
              </a:spcBef>
            </a:pPr>
            <a:r>
              <a:rPr lang="en-US" sz="1200" dirty="0">
                <a:ea typeface="MS PGothic"/>
                <a:cs typeface="MS PGothic"/>
              </a:rPr>
              <a:t>Central America</a:t>
            </a:r>
          </a:p>
          <a:p>
            <a:pPr eaLnBrk="0" hangingPunct="0">
              <a:lnSpc>
                <a:spcPct val="50000"/>
              </a:lnSpc>
              <a:spcBef>
                <a:spcPct val="50000"/>
              </a:spcBef>
            </a:pPr>
            <a:r>
              <a:rPr lang="en-US" sz="1200" dirty="0">
                <a:ea typeface="MS PGothic"/>
                <a:cs typeface="MS PGothic"/>
              </a:rPr>
              <a:t>509 Units</a:t>
            </a:r>
          </a:p>
        </p:txBody>
      </p:sp>
      <p:sp>
        <p:nvSpPr>
          <p:cNvPr id="18454" name="Text Box 581"/>
          <p:cNvSpPr txBox="1">
            <a:spLocks noChangeArrowheads="1"/>
          </p:cNvSpPr>
          <p:nvPr/>
        </p:nvSpPr>
        <p:spPr bwMode="auto">
          <a:xfrm>
            <a:off x="3170238" y="4572000"/>
            <a:ext cx="13335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Brazil</a:t>
            </a:r>
          </a:p>
          <a:p>
            <a:pPr eaLnBrk="0" hangingPunct="0">
              <a:lnSpc>
                <a:spcPct val="50000"/>
              </a:lnSpc>
              <a:spcBef>
                <a:spcPct val="50000"/>
              </a:spcBef>
            </a:pPr>
            <a:r>
              <a:rPr lang="en-US" sz="1200" dirty="0">
                <a:ea typeface="MS PGothic"/>
                <a:cs typeface="MS PGothic"/>
              </a:rPr>
              <a:t>347 Units</a:t>
            </a:r>
          </a:p>
        </p:txBody>
      </p:sp>
      <p:sp>
        <p:nvSpPr>
          <p:cNvPr id="18455" name="Text Box 582"/>
          <p:cNvSpPr txBox="1">
            <a:spLocks noChangeArrowheads="1"/>
          </p:cNvSpPr>
          <p:nvPr/>
        </p:nvSpPr>
        <p:spPr bwMode="auto">
          <a:xfrm>
            <a:off x="2197100" y="5608638"/>
            <a:ext cx="1592263"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Argentina</a:t>
            </a:r>
          </a:p>
          <a:p>
            <a:pPr eaLnBrk="0" hangingPunct="0">
              <a:lnSpc>
                <a:spcPct val="50000"/>
              </a:lnSpc>
              <a:spcBef>
                <a:spcPct val="50000"/>
              </a:spcBef>
            </a:pPr>
            <a:r>
              <a:rPr lang="en-US" sz="1200" dirty="0">
                <a:ea typeface="MS PGothic"/>
                <a:cs typeface="MS PGothic"/>
              </a:rPr>
              <a:t>29 Units</a:t>
            </a:r>
          </a:p>
        </p:txBody>
      </p:sp>
      <p:sp>
        <p:nvSpPr>
          <p:cNvPr id="18456" name="Text Box 583"/>
          <p:cNvSpPr txBox="1">
            <a:spLocks noChangeArrowheads="1"/>
          </p:cNvSpPr>
          <p:nvPr/>
        </p:nvSpPr>
        <p:spPr bwMode="auto">
          <a:xfrm>
            <a:off x="2905125" y="2082800"/>
            <a:ext cx="13335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UK</a:t>
            </a:r>
          </a:p>
          <a:p>
            <a:pPr eaLnBrk="0" hangingPunct="0">
              <a:lnSpc>
                <a:spcPct val="50000"/>
              </a:lnSpc>
              <a:spcBef>
                <a:spcPct val="50000"/>
              </a:spcBef>
            </a:pPr>
            <a:r>
              <a:rPr lang="en-US" sz="1200" dirty="0">
                <a:ea typeface="MS PGothic"/>
                <a:cs typeface="MS PGothic"/>
              </a:rPr>
              <a:t>360 Units</a:t>
            </a:r>
          </a:p>
        </p:txBody>
      </p:sp>
      <p:sp>
        <p:nvSpPr>
          <p:cNvPr id="18457" name="Text Box 585"/>
          <p:cNvSpPr txBox="1">
            <a:spLocks noChangeArrowheads="1"/>
          </p:cNvSpPr>
          <p:nvPr/>
        </p:nvSpPr>
        <p:spPr bwMode="auto">
          <a:xfrm>
            <a:off x="6616700" y="3157538"/>
            <a:ext cx="2298700" cy="55245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China</a:t>
            </a:r>
          </a:p>
          <a:p>
            <a:pPr eaLnBrk="0" hangingPunct="0">
              <a:lnSpc>
                <a:spcPct val="50000"/>
              </a:lnSpc>
              <a:spcBef>
                <a:spcPct val="50000"/>
              </a:spcBef>
            </a:pPr>
            <a:r>
              <a:rPr lang="en-US" sz="1200" dirty="0">
                <a:ea typeface="MS PGothic"/>
                <a:cs typeface="MS PGothic"/>
              </a:rPr>
              <a:t>103 TM Units</a:t>
            </a:r>
          </a:p>
          <a:p>
            <a:pPr eaLnBrk="0" hangingPunct="0">
              <a:lnSpc>
                <a:spcPct val="50000"/>
              </a:lnSpc>
              <a:spcBef>
                <a:spcPct val="50000"/>
              </a:spcBef>
            </a:pPr>
            <a:r>
              <a:rPr lang="en-US" sz="1200" dirty="0">
                <a:ea typeface="MS PGothic"/>
                <a:cs typeface="MS PGothic"/>
              </a:rPr>
              <a:t>149 WMT Units</a:t>
            </a:r>
          </a:p>
        </p:txBody>
      </p:sp>
      <p:sp>
        <p:nvSpPr>
          <p:cNvPr id="18458" name="Text Box 586"/>
          <p:cNvSpPr txBox="1">
            <a:spLocks noChangeArrowheads="1"/>
          </p:cNvSpPr>
          <p:nvPr/>
        </p:nvSpPr>
        <p:spPr bwMode="auto">
          <a:xfrm>
            <a:off x="7500938" y="2497138"/>
            <a:ext cx="1414462"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Japan</a:t>
            </a:r>
          </a:p>
          <a:p>
            <a:pPr eaLnBrk="0" hangingPunct="0">
              <a:lnSpc>
                <a:spcPct val="50000"/>
              </a:lnSpc>
              <a:spcBef>
                <a:spcPct val="50000"/>
              </a:spcBef>
            </a:pPr>
            <a:r>
              <a:rPr lang="en-US" sz="1200" dirty="0">
                <a:ea typeface="MS PGothic"/>
                <a:cs typeface="MS PGothic"/>
              </a:rPr>
              <a:t>371 Units</a:t>
            </a:r>
          </a:p>
        </p:txBody>
      </p:sp>
      <p:sp>
        <p:nvSpPr>
          <p:cNvPr id="18459" name="Text Box 586"/>
          <p:cNvSpPr txBox="1">
            <a:spLocks noChangeArrowheads="1"/>
          </p:cNvSpPr>
          <p:nvPr/>
        </p:nvSpPr>
        <p:spPr bwMode="auto">
          <a:xfrm>
            <a:off x="5202238" y="3910013"/>
            <a:ext cx="1414462"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India*</a:t>
            </a:r>
          </a:p>
          <a:p>
            <a:pPr eaLnBrk="0" hangingPunct="0">
              <a:lnSpc>
                <a:spcPct val="50000"/>
              </a:lnSpc>
              <a:spcBef>
                <a:spcPct val="50000"/>
              </a:spcBef>
            </a:pPr>
            <a:r>
              <a:rPr lang="en-US" sz="1200" dirty="0">
                <a:ea typeface="MS PGothic"/>
                <a:cs typeface="MS PGothic"/>
              </a:rPr>
              <a:t>26 Units</a:t>
            </a:r>
          </a:p>
        </p:txBody>
      </p:sp>
      <p:sp>
        <p:nvSpPr>
          <p:cNvPr id="18460" name="Freeform 27"/>
          <p:cNvSpPr>
            <a:spLocks noChangeAspect="1"/>
          </p:cNvSpPr>
          <p:nvPr>
            <p:custDataLst>
              <p:tags r:id="rId1"/>
            </p:custDataLst>
          </p:nvPr>
        </p:nvSpPr>
        <p:spPr bwMode="auto">
          <a:xfrm>
            <a:off x="1708150" y="1520825"/>
            <a:ext cx="401638" cy="212725"/>
          </a:xfrm>
          <a:custGeom>
            <a:avLst/>
            <a:gdLst>
              <a:gd name="T0" fmla="*/ 360606 w 509"/>
              <a:gd name="T1" fmla="*/ 181703 h 240"/>
              <a:gd name="T2" fmla="*/ 374810 w 509"/>
              <a:gd name="T3" fmla="*/ 197657 h 240"/>
              <a:gd name="T4" fmla="*/ 360606 w 509"/>
              <a:gd name="T5" fmla="*/ 212725 h 240"/>
              <a:gd name="T6" fmla="*/ 304582 w 509"/>
              <a:gd name="T7" fmla="*/ 197657 h 240"/>
              <a:gd name="T8" fmla="*/ 262761 w 509"/>
              <a:gd name="T9" fmla="*/ 197657 h 240"/>
              <a:gd name="T10" fmla="*/ 221729 w 509"/>
              <a:gd name="T11" fmla="*/ 197657 h 240"/>
              <a:gd name="T12" fmla="*/ 194112 w 509"/>
              <a:gd name="T13" fmla="*/ 212725 h 240"/>
              <a:gd name="T14" fmla="*/ 138088 w 509"/>
              <a:gd name="T15" fmla="*/ 212725 h 240"/>
              <a:gd name="T16" fmla="*/ 124674 w 509"/>
              <a:gd name="T17" fmla="*/ 197657 h 240"/>
              <a:gd name="T18" fmla="*/ 97056 w 509"/>
              <a:gd name="T19" fmla="*/ 197657 h 240"/>
              <a:gd name="T20" fmla="*/ 55235 w 509"/>
              <a:gd name="T21" fmla="*/ 197657 h 240"/>
              <a:gd name="T22" fmla="*/ 27618 w 509"/>
              <a:gd name="T23" fmla="*/ 166635 h 240"/>
              <a:gd name="T24" fmla="*/ 83642 w 509"/>
              <a:gd name="T25" fmla="*/ 151567 h 240"/>
              <a:gd name="T26" fmla="*/ 124674 w 509"/>
              <a:gd name="T27" fmla="*/ 151567 h 240"/>
              <a:gd name="T28" fmla="*/ 97056 w 509"/>
              <a:gd name="T29" fmla="*/ 136499 h 240"/>
              <a:gd name="T30" fmla="*/ 55235 w 509"/>
              <a:gd name="T31" fmla="*/ 136499 h 240"/>
              <a:gd name="T32" fmla="*/ 14203 w 509"/>
              <a:gd name="T33" fmla="*/ 120544 h 240"/>
              <a:gd name="T34" fmla="*/ 41032 w 509"/>
              <a:gd name="T35" fmla="*/ 105476 h 240"/>
              <a:gd name="T36" fmla="*/ 14203 w 509"/>
              <a:gd name="T37" fmla="*/ 105476 h 240"/>
              <a:gd name="T38" fmla="*/ 0 w 509"/>
              <a:gd name="T39" fmla="*/ 90408 h 240"/>
              <a:gd name="T40" fmla="*/ 55235 w 509"/>
              <a:gd name="T41" fmla="*/ 29250 h 240"/>
              <a:gd name="T42" fmla="*/ 97056 w 509"/>
              <a:gd name="T43" fmla="*/ 29250 h 240"/>
              <a:gd name="T44" fmla="*/ 111259 w 509"/>
              <a:gd name="T45" fmla="*/ 59386 h 240"/>
              <a:gd name="T46" fmla="*/ 124674 w 509"/>
              <a:gd name="T47" fmla="*/ 29250 h 240"/>
              <a:gd name="T48" fmla="*/ 165705 w 509"/>
              <a:gd name="T49" fmla="*/ 44318 h 240"/>
              <a:gd name="T50" fmla="*/ 180698 w 509"/>
              <a:gd name="T51" fmla="*/ 59386 h 240"/>
              <a:gd name="T52" fmla="*/ 194112 w 509"/>
              <a:gd name="T53" fmla="*/ 44318 h 240"/>
              <a:gd name="T54" fmla="*/ 221729 w 509"/>
              <a:gd name="T55" fmla="*/ 44318 h 240"/>
              <a:gd name="T56" fmla="*/ 221729 w 509"/>
              <a:gd name="T57" fmla="*/ 75340 h 240"/>
              <a:gd name="T58" fmla="*/ 235144 w 509"/>
              <a:gd name="T59" fmla="*/ 90408 h 240"/>
              <a:gd name="T60" fmla="*/ 235144 w 509"/>
              <a:gd name="T61" fmla="*/ 59386 h 240"/>
              <a:gd name="T62" fmla="*/ 221729 w 509"/>
              <a:gd name="T63" fmla="*/ 29250 h 240"/>
              <a:gd name="T64" fmla="*/ 248558 w 509"/>
              <a:gd name="T65" fmla="*/ 13295 h 240"/>
              <a:gd name="T66" fmla="*/ 262761 w 509"/>
              <a:gd name="T67" fmla="*/ 0 h 240"/>
              <a:gd name="T68" fmla="*/ 291168 w 509"/>
              <a:gd name="T69" fmla="*/ 0 h 240"/>
              <a:gd name="T70" fmla="*/ 304582 w 509"/>
              <a:gd name="T71" fmla="*/ 13295 h 240"/>
              <a:gd name="T72" fmla="*/ 304582 w 509"/>
              <a:gd name="T73" fmla="*/ 44318 h 240"/>
              <a:gd name="T74" fmla="*/ 304582 w 509"/>
              <a:gd name="T75" fmla="*/ 90408 h 240"/>
              <a:gd name="T76" fmla="*/ 333778 w 509"/>
              <a:gd name="T77" fmla="*/ 136499 h 240"/>
              <a:gd name="T78" fmla="*/ 401638 w 509"/>
              <a:gd name="T79" fmla="*/ 166635 h 240"/>
              <a:gd name="T80" fmla="*/ 374810 w 509"/>
              <a:gd name="T81" fmla="*/ 166635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000080"/>
          </a:solidFill>
          <a:ln w="9525">
            <a:solidFill>
              <a:schemeClr val="bg2"/>
            </a:solidFill>
            <a:round/>
            <a:headEnd/>
            <a:tailEnd/>
          </a:ln>
        </p:spPr>
        <p:txBody>
          <a:bodyPr/>
          <a:lstStyle/>
          <a:p>
            <a:endParaRPr lang="en-US" dirty="0"/>
          </a:p>
        </p:txBody>
      </p:sp>
      <p:sp>
        <p:nvSpPr>
          <p:cNvPr id="18461" name="Freeform 28"/>
          <p:cNvSpPr>
            <a:spLocks noChangeAspect="1"/>
          </p:cNvSpPr>
          <p:nvPr>
            <p:custDataLst>
              <p:tags r:id="rId2"/>
            </p:custDataLst>
          </p:nvPr>
        </p:nvSpPr>
        <p:spPr bwMode="auto">
          <a:xfrm>
            <a:off x="1552575" y="1473200"/>
            <a:ext cx="238125" cy="169863"/>
          </a:xfrm>
          <a:custGeom>
            <a:avLst/>
            <a:gdLst>
              <a:gd name="T0" fmla="*/ 40347 w 301"/>
              <a:gd name="T1" fmla="*/ 154665 h 190"/>
              <a:gd name="T2" fmla="*/ 40347 w 301"/>
              <a:gd name="T3" fmla="*/ 139466 h 190"/>
              <a:gd name="T4" fmla="*/ 26898 w 301"/>
              <a:gd name="T5" fmla="*/ 139466 h 190"/>
              <a:gd name="T6" fmla="*/ 13449 w 301"/>
              <a:gd name="T7" fmla="*/ 139466 h 190"/>
              <a:gd name="T8" fmla="*/ 0 w 301"/>
              <a:gd name="T9" fmla="*/ 124268 h 190"/>
              <a:gd name="T10" fmla="*/ 13449 w 301"/>
              <a:gd name="T11" fmla="*/ 108176 h 190"/>
              <a:gd name="T12" fmla="*/ 40347 w 301"/>
              <a:gd name="T13" fmla="*/ 61687 h 190"/>
              <a:gd name="T14" fmla="*/ 40347 w 301"/>
              <a:gd name="T15" fmla="*/ 48277 h 190"/>
              <a:gd name="T16" fmla="*/ 40347 w 301"/>
              <a:gd name="T17" fmla="*/ 33079 h 190"/>
              <a:gd name="T18" fmla="*/ 40347 w 301"/>
              <a:gd name="T19" fmla="*/ 17880 h 190"/>
              <a:gd name="T20" fmla="*/ 26898 w 301"/>
              <a:gd name="T21" fmla="*/ 17880 h 190"/>
              <a:gd name="T22" fmla="*/ 40347 w 301"/>
              <a:gd name="T23" fmla="*/ 0 h 190"/>
              <a:gd name="T24" fmla="*/ 56169 w 301"/>
              <a:gd name="T25" fmla="*/ 0 h 190"/>
              <a:gd name="T26" fmla="*/ 83067 w 301"/>
              <a:gd name="T27" fmla="*/ 17880 h 190"/>
              <a:gd name="T28" fmla="*/ 96516 w 301"/>
              <a:gd name="T29" fmla="*/ 0 h 190"/>
              <a:gd name="T30" fmla="*/ 110756 w 301"/>
              <a:gd name="T31" fmla="*/ 0 h 190"/>
              <a:gd name="T32" fmla="*/ 125787 w 301"/>
              <a:gd name="T33" fmla="*/ 17880 h 190"/>
              <a:gd name="T34" fmla="*/ 140818 w 301"/>
              <a:gd name="T35" fmla="*/ 17880 h 190"/>
              <a:gd name="T36" fmla="*/ 154267 w 301"/>
              <a:gd name="T37" fmla="*/ 33079 h 190"/>
              <a:gd name="T38" fmla="*/ 168507 w 301"/>
              <a:gd name="T39" fmla="*/ 17880 h 190"/>
              <a:gd name="T40" fmla="*/ 181956 w 301"/>
              <a:gd name="T41" fmla="*/ 17880 h 190"/>
              <a:gd name="T42" fmla="*/ 195405 w 301"/>
              <a:gd name="T43" fmla="*/ 33079 h 190"/>
              <a:gd name="T44" fmla="*/ 224676 w 301"/>
              <a:gd name="T45" fmla="*/ 48277 h 190"/>
              <a:gd name="T46" fmla="*/ 238125 w 301"/>
              <a:gd name="T47" fmla="*/ 48277 h 190"/>
              <a:gd name="T48" fmla="*/ 224676 w 301"/>
              <a:gd name="T49" fmla="*/ 61687 h 190"/>
              <a:gd name="T50" fmla="*/ 195405 w 301"/>
              <a:gd name="T51" fmla="*/ 77779 h 190"/>
              <a:gd name="T52" fmla="*/ 181956 w 301"/>
              <a:gd name="T53" fmla="*/ 77779 h 190"/>
              <a:gd name="T54" fmla="*/ 154267 w 301"/>
              <a:gd name="T55" fmla="*/ 92978 h 190"/>
              <a:gd name="T56" fmla="*/ 140818 w 301"/>
              <a:gd name="T57" fmla="*/ 108176 h 190"/>
              <a:gd name="T58" fmla="*/ 125787 w 301"/>
              <a:gd name="T59" fmla="*/ 139466 h 190"/>
              <a:gd name="T60" fmla="*/ 110756 w 301"/>
              <a:gd name="T61" fmla="*/ 154665 h 190"/>
              <a:gd name="T62" fmla="*/ 83067 w 301"/>
              <a:gd name="T63" fmla="*/ 154665 h 190"/>
              <a:gd name="T64" fmla="*/ 56169 w 301"/>
              <a:gd name="T65" fmla="*/ 169863 h 190"/>
              <a:gd name="T66" fmla="*/ 56169 w 301"/>
              <a:gd name="T67" fmla="*/ 154665 h 190"/>
              <a:gd name="T68" fmla="*/ 40347 w 301"/>
              <a:gd name="T69" fmla="*/ 15466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000080"/>
          </a:solidFill>
          <a:ln w="9525">
            <a:solidFill>
              <a:schemeClr val="bg2"/>
            </a:solidFill>
            <a:round/>
            <a:headEnd/>
            <a:tailEnd/>
          </a:ln>
        </p:spPr>
        <p:txBody>
          <a:bodyPr/>
          <a:lstStyle/>
          <a:p>
            <a:endParaRPr lang="en-US" dirty="0"/>
          </a:p>
        </p:txBody>
      </p:sp>
      <p:sp>
        <p:nvSpPr>
          <p:cNvPr id="18462" name="Freeform 29"/>
          <p:cNvSpPr>
            <a:spLocks noChangeAspect="1"/>
          </p:cNvSpPr>
          <p:nvPr>
            <p:custDataLst>
              <p:tags r:id="rId3"/>
            </p:custDataLst>
          </p:nvPr>
        </p:nvSpPr>
        <p:spPr bwMode="auto">
          <a:xfrm>
            <a:off x="1736725" y="1368425"/>
            <a:ext cx="258763" cy="120650"/>
          </a:xfrm>
          <a:custGeom>
            <a:avLst/>
            <a:gdLst>
              <a:gd name="T0" fmla="*/ 82047 w 328"/>
              <a:gd name="T1" fmla="*/ 104913 h 138"/>
              <a:gd name="T2" fmla="*/ 82047 w 328"/>
              <a:gd name="T3" fmla="*/ 104913 h 138"/>
              <a:gd name="T4" fmla="*/ 95458 w 328"/>
              <a:gd name="T5" fmla="*/ 90050 h 138"/>
              <a:gd name="T6" fmla="*/ 82047 w 328"/>
              <a:gd name="T7" fmla="*/ 75188 h 138"/>
              <a:gd name="T8" fmla="*/ 67846 w 328"/>
              <a:gd name="T9" fmla="*/ 90050 h 138"/>
              <a:gd name="T10" fmla="*/ 41023 w 328"/>
              <a:gd name="T11" fmla="*/ 90050 h 138"/>
              <a:gd name="T12" fmla="*/ 13411 w 328"/>
              <a:gd name="T13" fmla="*/ 90050 h 138"/>
              <a:gd name="T14" fmla="*/ 0 w 328"/>
              <a:gd name="T15" fmla="*/ 75188 h 138"/>
              <a:gd name="T16" fmla="*/ 13411 w 328"/>
              <a:gd name="T17" fmla="*/ 60325 h 138"/>
              <a:gd name="T18" fmla="*/ 41023 w 328"/>
              <a:gd name="T19" fmla="*/ 60325 h 138"/>
              <a:gd name="T20" fmla="*/ 41023 w 328"/>
              <a:gd name="T21" fmla="*/ 60325 h 138"/>
              <a:gd name="T22" fmla="*/ 13411 w 328"/>
              <a:gd name="T23" fmla="*/ 60325 h 138"/>
              <a:gd name="T24" fmla="*/ 26823 w 328"/>
              <a:gd name="T25" fmla="*/ 44588 h 138"/>
              <a:gd name="T26" fmla="*/ 54435 w 328"/>
              <a:gd name="T27" fmla="*/ 44588 h 138"/>
              <a:gd name="T28" fmla="*/ 54435 w 328"/>
              <a:gd name="T29" fmla="*/ 44588 h 138"/>
              <a:gd name="T30" fmla="*/ 26823 w 328"/>
              <a:gd name="T31" fmla="*/ 44588 h 138"/>
              <a:gd name="T32" fmla="*/ 41023 w 328"/>
              <a:gd name="T33" fmla="*/ 29725 h 138"/>
              <a:gd name="T34" fmla="*/ 41023 w 328"/>
              <a:gd name="T35" fmla="*/ 14863 h 138"/>
              <a:gd name="T36" fmla="*/ 67846 w 328"/>
              <a:gd name="T37" fmla="*/ 14863 h 138"/>
              <a:gd name="T38" fmla="*/ 95458 w 328"/>
              <a:gd name="T39" fmla="*/ 29725 h 138"/>
              <a:gd name="T40" fmla="*/ 136482 w 328"/>
              <a:gd name="T41" fmla="*/ 60325 h 138"/>
              <a:gd name="T42" fmla="*/ 177505 w 328"/>
              <a:gd name="T43" fmla="*/ 60325 h 138"/>
              <a:gd name="T44" fmla="*/ 177505 w 328"/>
              <a:gd name="T45" fmla="*/ 60325 h 138"/>
              <a:gd name="T46" fmla="*/ 177505 w 328"/>
              <a:gd name="T47" fmla="*/ 44588 h 138"/>
              <a:gd name="T48" fmla="*/ 163305 w 328"/>
              <a:gd name="T49" fmla="*/ 29725 h 138"/>
              <a:gd name="T50" fmla="*/ 149893 w 328"/>
              <a:gd name="T51" fmla="*/ 14863 h 138"/>
              <a:gd name="T52" fmla="*/ 177505 w 328"/>
              <a:gd name="T53" fmla="*/ 0 h 138"/>
              <a:gd name="T54" fmla="*/ 190917 w 328"/>
              <a:gd name="T55" fmla="*/ 14863 h 138"/>
              <a:gd name="T56" fmla="*/ 204328 w 328"/>
              <a:gd name="T57" fmla="*/ 44588 h 138"/>
              <a:gd name="T58" fmla="*/ 245352 w 328"/>
              <a:gd name="T59" fmla="*/ 29725 h 138"/>
              <a:gd name="T60" fmla="*/ 258763 w 328"/>
              <a:gd name="T61" fmla="*/ 44588 h 138"/>
              <a:gd name="T62" fmla="*/ 245352 w 328"/>
              <a:gd name="T63" fmla="*/ 90050 h 138"/>
              <a:gd name="T64" fmla="*/ 190917 w 328"/>
              <a:gd name="T65" fmla="*/ 90050 h 138"/>
              <a:gd name="T66" fmla="*/ 149893 w 328"/>
              <a:gd name="T67" fmla="*/ 104913 h 138"/>
              <a:gd name="T68" fmla="*/ 122281 w 328"/>
              <a:gd name="T69" fmla="*/ 104913 h 138"/>
              <a:gd name="T70" fmla="*/ 95458 w 328"/>
              <a:gd name="T71" fmla="*/ 120650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000080"/>
          </a:solidFill>
          <a:ln w="9525">
            <a:solidFill>
              <a:schemeClr val="bg2"/>
            </a:solidFill>
            <a:round/>
            <a:headEnd/>
            <a:tailEnd/>
          </a:ln>
        </p:spPr>
        <p:txBody>
          <a:bodyPr/>
          <a:lstStyle/>
          <a:p>
            <a:endParaRPr lang="en-US" dirty="0"/>
          </a:p>
        </p:txBody>
      </p:sp>
      <p:sp>
        <p:nvSpPr>
          <p:cNvPr id="18463" name="Freeform 30"/>
          <p:cNvSpPr>
            <a:spLocks noChangeAspect="1"/>
          </p:cNvSpPr>
          <p:nvPr>
            <p:custDataLst>
              <p:tags r:id="rId4"/>
            </p:custDataLst>
          </p:nvPr>
        </p:nvSpPr>
        <p:spPr bwMode="auto">
          <a:xfrm>
            <a:off x="1622425" y="1336675"/>
            <a:ext cx="155575" cy="92075"/>
          </a:xfrm>
          <a:custGeom>
            <a:avLst/>
            <a:gdLst>
              <a:gd name="T0" fmla="*/ 155575 w 196"/>
              <a:gd name="T1" fmla="*/ 0 h 104"/>
              <a:gd name="T2" fmla="*/ 155575 w 196"/>
              <a:gd name="T3" fmla="*/ 15051 h 104"/>
              <a:gd name="T4" fmla="*/ 140494 w 196"/>
              <a:gd name="T5" fmla="*/ 15051 h 104"/>
              <a:gd name="T6" fmla="*/ 140494 w 196"/>
              <a:gd name="T7" fmla="*/ 30987 h 104"/>
              <a:gd name="T8" fmla="*/ 155575 w 196"/>
              <a:gd name="T9" fmla="*/ 30987 h 104"/>
              <a:gd name="T10" fmla="*/ 140494 w 196"/>
              <a:gd name="T11" fmla="*/ 30987 h 104"/>
              <a:gd name="T12" fmla="*/ 112713 w 196"/>
              <a:gd name="T13" fmla="*/ 61088 h 104"/>
              <a:gd name="T14" fmla="*/ 99219 w 196"/>
              <a:gd name="T15" fmla="*/ 46038 h 104"/>
              <a:gd name="T16" fmla="*/ 99219 w 196"/>
              <a:gd name="T17" fmla="*/ 30987 h 104"/>
              <a:gd name="T18" fmla="*/ 84931 w 196"/>
              <a:gd name="T19" fmla="*/ 46038 h 104"/>
              <a:gd name="T20" fmla="*/ 84931 w 196"/>
              <a:gd name="T21" fmla="*/ 61088 h 104"/>
              <a:gd name="T22" fmla="*/ 71438 w 196"/>
              <a:gd name="T23" fmla="*/ 61088 h 104"/>
              <a:gd name="T24" fmla="*/ 71438 w 196"/>
              <a:gd name="T25" fmla="*/ 76139 h 104"/>
              <a:gd name="T26" fmla="*/ 71438 w 196"/>
              <a:gd name="T27" fmla="*/ 92075 h 104"/>
              <a:gd name="T28" fmla="*/ 54769 w 196"/>
              <a:gd name="T29" fmla="*/ 92075 h 104"/>
              <a:gd name="T30" fmla="*/ 41275 w 196"/>
              <a:gd name="T31" fmla="*/ 92075 h 104"/>
              <a:gd name="T32" fmla="*/ 41275 w 196"/>
              <a:gd name="T33" fmla="*/ 76139 h 104"/>
              <a:gd name="T34" fmla="*/ 26988 w 196"/>
              <a:gd name="T35" fmla="*/ 76139 h 104"/>
              <a:gd name="T36" fmla="*/ 13494 w 196"/>
              <a:gd name="T37" fmla="*/ 76139 h 104"/>
              <a:gd name="T38" fmla="*/ 0 w 196"/>
              <a:gd name="T39" fmla="*/ 76139 h 104"/>
              <a:gd name="T40" fmla="*/ 0 w 196"/>
              <a:gd name="T41" fmla="*/ 61088 h 104"/>
              <a:gd name="T42" fmla="*/ 13494 w 196"/>
              <a:gd name="T43" fmla="*/ 46038 h 104"/>
              <a:gd name="T44" fmla="*/ 26988 w 196"/>
              <a:gd name="T45" fmla="*/ 46038 h 104"/>
              <a:gd name="T46" fmla="*/ 41275 w 196"/>
              <a:gd name="T47" fmla="*/ 30987 h 104"/>
              <a:gd name="T48" fmla="*/ 54769 w 196"/>
              <a:gd name="T49" fmla="*/ 30987 h 104"/>
              <a:gd name="T50" fmla="*/ 71438 w 196"/>
              <a:gd name="T51" fmla="*/ 30987 h 104"/>
              <a:gd name="T52" fmla="*/ 71438 w 196"/>
              <a:gd name="T53" fmla="*/ 15051 h 104"/>
              <a:gd name="T54" fmla="*/ 84931 w 196"/>
              <a:gd name="T55" fmla="*/ 0 h 104"/>
              <a:gd name="T56" fmla="*/ 99219 w 196"/>
              <a:gd name="T57" fmla="*/ 0 h 104"/>
              <a:gd name="T58" fmla="*/ 112713 w 196"/>
              <a:gd name="T59" fmla="*/ 0 h 104"/>
              <a:gd name="T60" fmla="*/ 140494 w 196"/>
              <a:gd name="T61" fmla="*/ 0 h 104"/>
              <a:gd name="T62" fmla="*/ 155575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000080"/>
          </a:solidFill>
          <a:ln w="9525">
            <a:solidFill>
              <a:schemeClr val="bg2"/>
            </a:solidFill>
            <a:round/>
            <a:headEnd/>
            <a:tailEnd/>
          </a:ln>
        </p:spPr>
        <p:txBody>
          <a:bodyPr/>
          <a:lstStyle/>
          <a:p>
            <a:endParaRPr lang="en-US" dirty="0"/>
          </a:p>
        </p:txBody>
      </p:sp>
      <p:sp>
        <p:nvSpPr>
          <p:cNvPr id="18464" name="Freeform 31"/>
          <p:cNvSpPr>
            <a:spLocks noChangeAspect="1"/>
          </p:cNvSpPr>
          <p:nvPr>
            <p:custDataLst>
              <p:tags r:id="rId5"/>
            </p:custDataLst>
          </p:nvPr>
        </p:nvSpPr>
        <p:spPr bwMode="auto">
          <a:xfrm>
            <a:off x="1828800" y="1274763"/>
            <a:ext cx="85725" cy="34925"/>
          </a:xfrm>
          <a:custGeom>
            <a:avLst/>
            <a:gdLst>
              <a:gd name="T0" fmla="*/ 29114 w 106"/>
              <a:gd name="T1" fmla="*/ 34925 h 36"/>
              <a:gd name="T2" fmla="*/ 13748 w 106"/>
              <a:gd name="T3" fmla="*/ 16492 h 36"/>
              <a:gd name="T4" fmla="*/ 0 w 106"/>
              <a:gd name="T5" fmla="*/ 16492 h 36"/>
              <a:gd name="T6" fmla="*/ 0 w 106"/>
              <a:gd name="T7" fmla="*/ 34925 h 36"/>
              <a:gd name="T8" fmla="*/ 0 w 106"/>
              <a:gd name="T9" fmla="*/ 0 h 36"/>
              <a:gd name="T10" fmla="*/ 29114 w 106"/>
              <a:gd name="T11" fmla="*/ 0 h 36"/>
              <a:gd name="T12" fmla="*/ 43671 w 106"/>
              <a:gd name="T13" fmla="*/ 0 h 36"/>
              <a:gd name="T14" fmla="*/ 57420 w 106"/>
              <a:gd name="T15" fmla="*/ 0 h 36"/>
              <a:gd name="T16" fmla="*/ 71168 w 106"/>
              <a:gd name="T17" fmla="*/ 0 h 36"/>
              <a:gd name="T18" fmla="*/ 85725 w 106"/>
              <a:gd name="T19" fmla="*/ 16492 h 36"/>
              <a:gd name="T20" fmla="*/ 71168 w 106"/>
              <a:gd name="T21" fmla="*/ 16492 h 36"/>
              <a:gd name="T22" fmla="*/ 57420 w 106"/>
              <a:gd name="T23" fmla="*/ 34925 h 36"/>
              <a:gd name="T24" fmla="*/ 43671 w 106"/>
              <a:gd name="T25" fmla="*/ 34925 h 36"/>
              <a:gd name="T26" fmla="*/ 29114 w 106"/>
              <a:gd name="T27" fmla="*/ 34925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000080"/>
          </a:solidFill>
          <a:ln w="9525">
            <a:solidFill>
              <a:schemeClr val="bg2"/>
            </a:solidFill>
            <a:round/>
            <a:headEnd/>
            <a:tailEnd/>
          </a:ln>
        </p:spPr>
        <p:txBody>
          <a:bodyPr/>
          <a:lstStyle/>
          <a:p>
            <a:endParaRPr lang="en-US" dirty="0"/>
          </a:p>
        </p:txBody>
      </p:sp>
      <p:sp>
        <p:nvSpPr>
          <p:cNvPr id="18465" name="Freeform 32"/>
          <p:cNvSpPr>
            <a:spLocks noChangeAspect="1"/>
          </p:cNvSpPr>
          <p:nvPr>
            <p:custDataLst>
              <p:tags r:id="rId6"/>
            </p:custDataLst>
          </p:nvPr>
        </p:nvSpPr>
        <p:spPr bwMode="auto">
          <a:xfrm>
            <a:off x="1828800" y="1309688"/>
            <a:ext cx="73025" cy="44450"/>
          </a:xfrm>
          <a:custGeom>
            <a:avLst/>
            <a:gdLst>
              <a:gd name="T0" fmla="*/ 58918 w 88"/>
              <a:gd name="T1" fmla="*/ 15387 h 52"/>
              <a:gd name="T2" fmla="*/ 44811 w 88"/>
              <a:gd name="T3" fmla="*/ 29918 h 52"/>
              <a:gd name="T4" fmla="*/ 14107 w 88"/>
              <a:gd name="T5" fmla="*/ 44450 h 52"/>
              <a:gd name="T6" fmla="*/ 0 w 88"/>
              <a:gd name="T7" fmla="*/ 29918 h 52"/>
              <a:gd name="T8" fmla="*/ 0 w 88"/>
              <a:gd name="T9" fmla="*/ 15387 h 52"/>
              <a:gd name="T10" fmla="*/ 0 w 88"/>
              <a:gd name="T11" fmla="*/ 0 h 52"/>
              <a:gd name="T12" fmla="*/ 44811 w 88"/>
              <a:gd name="T13" fmla="*/ 0 h 52"/>
              <a:gd name="T14" fmla="*/ 58918 w 88"/>
              <a:gd name="T15" fmla="*/ 0 h 52"/>
              <a:gd name="T16" fmla="*/ 73025 w 88"/>
              <a:gd name="T17" fmla="*/ 0 h 52"/>
              <a:gd name="T18" fmla="*/ 73025 w 88"/>
              <a:gd name="T19" fmla="*/ 15387 h 52"/>
              <a:gd name="T20" fmla="*/ 58918 w 88"/>
              <a:gd name="T21" fmla="*/ 15387 h 52"/>
              <a:gd name="T22" fmla="*/ 44811 w 88"/>
              <a:gd name="T23" fmla="*/ 15387 h 52"/>
              <a:gd name="T24" fmla="*/ 58918 w 88"/>
              <a:gd name="T25" fmla="*/ 1538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000080"/>
          </a:solidFill>
          <a:ln w="9525">
            <a:solidFill>
              <a:schemeClr val="bg2"/>
            </a:solidFill>
            <a:round/>
            <a:headEnd/>
            <a:tailEnd/>
          </a:ln>
        </p:spPr>
        <p:txBody>
          <a:bodyPr/>
          <a:lstStyle/>
          <a:p>
            <a:endParaRPr lang="en-US" dirty="0"/>
          </a:p>
        </p:txBody>
      </p:sp>
      <p:sp>
        <p:nvSpPr>
          <p:cNvPr id="18466" name="Freeform 33"/>
          <p:cNvSpPr>
            <a:spLocks noChangeAspect="1"/>
          </p:cNvSpPr>
          <p:nvPr>
            <p:custDataLst>
              <p:tags r:id="rId7"/>
            </p:custDataLst>
          </p:nvPr>
        </p:nvSpPr>
        <p:spPr bwMode="auto">
          <a:xfrm>
            <a:off x="1790700" y="1368425"/>
            <a:ext cx="26988" cy="1588"/>
          </a:xfrm>
          <a:custGeom>
            <a:avLst/>
            <a:gdLst>
              <a:gd name="T0" fmla="*/ 13108 w 35"/>
              <a:gd name="T1" fmla="*/ 0 h 1588"/>
              <a:gd name="T2" fmla="*/ 0 w 35"/>
              <a:gd name="T3" fmla="*/ 0 h 1588"/>
              <a:gd name="T4" fmla="*/ 13108 w 35"/>
              <a:gd name="T5" fmla="*/ 0 h 1588"/>
              <a:gd name="T6" fmla="*/ 26988 w 35"/>
              <a:gd name="T7" fmla="*/ 0 h 1588"/>
              <a:gd name="T8" fmla="*/ 13108 w 35"/>
              <a:gd name="T9" fmla="*/ 0 h 1588"/>
              <a:gd name="T10" fmla="*/ 0 60000 65536"/>
              <a:gd name="T11" fmla="*/ 0 60000 65536"/>
              <a:gd name="T12" fmla="*/ 0 60000 65536"/>
              <a:gd name="T13" fmla="*/ 0 60000 65536"/>
              <a:gd name="T14" fmla="*/ 0 60000 65536"/>
              <a:gd name="T15" fmla="*/ 0 w 35"/>
              <a:gd name="T16" fmla="*/ 0 h 1588"/>
              <a:gd name="T17" fmla="*/ 35 w 35"/>
              <a:gd name="T18" fmla="*/ 1588 h 1588"/>
            </a:gdLst>
            <a:ahLst/>
            <a:cxnLst>
              <a:cxn ang="T10">
                <a:pos x="T0" y="T1"/>
              </a:cxn>
              <a:cxn ang="T11">
                <a:pos x="T2" y="T3"/>
              </a:cxn>
              <a:cxn ang="T12">
                <a:pos x="T4" y="T5"/>
              </a:cxn>
              <a:cxn ang="T13">
                <a:pos x="T6" y="T7"/>
              </a:cxn>
              <a:cxn ang="T14">
                <a:pos x="T8" y="T9"/>
              </a:cxn>
            </a:cxnLst>
            <a:rect l="T15" t="T16" r="T17" b="T18"/>
            <a:pathLst>
              <a:path w="35" h="1588">
                <a:moveTo>
                  <a:pt x="17" y="0"/>
                </a:moveTo>
                <a:lnTo>
                  <a:pt x="0" y="0"/>
                </a:lnTo>
                <a:lnTo>
                  <a:pt x="17" y="0"/>
                </a:lnTo>
                <a:lnTo>
                  <a:pt x="35" y="0"/>
                </a:lnTo>
                <a:lnTo>
                  <a:pt x="17"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67" name="Freeform 34"/>
          <p:cNvSpPr>
            <a:spLocks noChangeAspect="1"/>
          </p:cNvSpPr>
          <p:nvPr>
            <p:custDataLst>
              <p:tags r:id="rId8"/>
            </p:custDataLst>
          </p:nvPr>
        </p:nvSpPr>
        <p:spPr bwMode="auto">
          <a:xfrm>
            <a:off x="2012950" y="1368425"/>
            <a:ext cx="150813" cy="93663"/>
          </a:xfrm>
          <a:custGeom>
            <a:avLst/>
            <a:gdLst>
              <a:gd name="T0" fmla="*/ 14770 w 194"/>
              <a:gd name="T1" fmla="*/ 30329 h 105"/>
              <a:gd name="T2" fmla="*/ 14770 w 194"/>
              <a:gd name="T3" fmla="*/ 15164 h 105"/>
              <a:gd name="T4" fmla="*/ 0 w 194"/>
              <a:gd name="T5" fmla="*/ 0 h 105"/>
              <a:gd name="T6" fmla="*/ 14770 w 194"/>
              <a:gd name="T7" fmla="*/ 0 h 105"/>
              <a:gd name="T8" fmla="*/ 41979 w 194"/>
              <a:gd name="T9" fmla="*/ 15164 h 105"/>
              <a:gd name="T10" fmla="*/ 55194 w 194"/>
              <a:gd name="T11" fmla="*/ 47278 h 105"/>
              <a:gd name="T12" fmla="*/ 82403 w 194"/>
              <a:gd name="T13" fmla="*/ 47278 h 105"/>
              <a:gd name="T14" fmla="*/ 69187 w 194"/>
              <a:gd name="T15" fmla="*/ 47278 h 105"/>
              <a:gd name="T16" fmla="*/ 55194 w 194"/>
              <a:gd name="T17" fmla="*/ 30329 h 105"/>
              <a:gd name="T18" fmla="*/ 55194 w 194"/>
              <a:gd name="T19" fmla="*/ 15164 h 105"/>
              <a:gd name="T20" fmla="*/ 69187 w 194"/>
              <a:gd name="T21" fmla="*/ 30329 h 105"/>
              <a:gd name="T22" fmla="*/ 97173 w 194"/>
              <a:gd name="T23" fmla="*/ 30329 h 105"/>
              <a:gd name="T24" fmla="*/ 97173 w 194"/>
              <a:gd name="T25" fmla="*/ 47278 h 105"/>
              <a:gd name="T26" fmla="*/ 97173 w 194"/>
              <a:gd name="T27" fmla="*/ 30329 h 105"/>
              <a:gd name="T28" fmla="*/ 97173 w 194"/>
              <a:gd name="T29" fmla="*/ 15164 h 105"/>
              <a:gd name="T30" fmla="*/ 82403 w 194"/>
              <a:gd name="T31" fmla="*/ 15164 h 105"/>
              <a:gd name="T32" fmla="*/ 82403 w 194"/>
              <a:gd name="T33" fmla="*/ 0 h 105"/>
              <a:gd name="T34" fmla="*/ 97173 w 194"/>
              <a:gd name="T35" fmla="*/ 0 h 105"/>
              <a:gd name="T36" fmla="*/ 110389 w 194"/>
              <a:gd name="T37" fmla="*/ 15164 h 105"/>
              <a:gd name="T38" fmla="*/ 124382 w 194"/>
              <a:gd name="T39" fmla="*/ 15164 h 105"/>
              <a:gd name="T40" fmla="*/ 137597 w 194"/>
              <a:gd name="T41" fmla="*/ 15164 h 105"/>
              <a:gd name="T42" fmla="*/ 137597 w 194"/>
              <a:gd name="T43" fmla="*/ 0 h 105"/>
              <a:gd name="T44" fmla="*/ 137597 w 194"/>
              <a:gd name="T45" fmla="*/ 15164 h 105"/>
              <a:gd name="T46" fmla="*/ 150813 w 194"/>
              <a:gd name="T47" fmla="*/ 15164 h 105"/>
              <a:gd name="T48" fmla="*/ 150813 w 194"/>
              <a:gd name="T49" fmla="*/ 30329 h 105"/>
              <a:gd name="T50" fmla="*/ 150813 w 194"/>
              <a:gd name="T51" fmla="*/ 63334 h 105"/>
              <a:gd name="T52" fmla="*/ 137597 w 194"/>
              <a:gd name="T53" fmla="*/ 63334 h 105"/>
              <a:gd name="T54" fmla="*/ 137597 w 194"/>
              <a:gd name="T55" fmla="*/ 93663 h 105"/>
              <a:gd name="T56" fmla="*/ 124382 w 194"/>
              <a:gd name="T57" fmla="*/ 93663 h 105"/>
              <a:gd name="T58" fmla="*/ 110389 w 194"/>
              <a:gd name="T59" fmla="*/ 93663 h 105"/>
              <a:gd name="T60" fmla="*/ 97173 w 194"/>
              <a:gd name="T61" fmla="*/ 93663 h 105"/>
              <a:gd name="T62" fmla="*/ 97173 w 194"/>
              <a:gd name="T63" fmla="*/ 78499 h 105"/>
              <a:gd name="T64" fmla="*/ 97173 w 194"/>
              <a:gd name="T65" fmla="*/ 63334 h 105"/>
              <a:gd name="T66" fmla="*/ 110389 w 194"/>
              <a:gd name="T67" fmla="*/ 63334 h 105"/>
              <a:gd name="T68" fmla="*/ 97173 w 194"/>
              <a:gd name="T69" fmla="*/ 63334 h 105"/>
              <a:gd name="T70" fmla="*/ 69187 w 194"/>
              <a:gd name="T71" fmla="*/ 63334 h 105"/>
              <a:gd name="T72" fmla="*/ 55194 w 194"/>
              <a:gd name="T73" fmla="*/ 63334 h 105"/>
              <a:gd name="T74" fmla="*/ 41979 w 194"/>
              <a:gd name="T75" fmla="*/ 63334 h 105"/>
              <a:gd name="T76" fmla="*/ 28763 w 194"/>
              <a:gd name="T77" fmla="*/ 63334 h 105"/>
              <a:gd name="T78" fmla="*/ 28763 w 194"/>
              <a:gd name="T79" fmla="*/ 47278 h 105"/>
              <a:gd name="T80" fmla="*/ 14770 w 194"/>
              <a:gd name="T81" fmla="*/ 47278 h 105"/>
              <a:gd name="T82" fmla="*/ 14770 w 194"/>
              <a:gd name="T83" fmla="*/ 30329 h 105"/>
              <a:gd name="T84" fmla="*/ 14770 w 194"/>
              <a:gd name="T85" fmla="*/ 15164 h 105"/>
              <a:gd name="T86" fmla="*/ 14770 w 194"/>
              <a:gd name="T87" fmla="*/ 30329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68" name="Freeform 35"/>
          <p:cNvSpPr>
            <a:spLocks noChangeAspect="1"/>
          </p:cNvSpPr>
          <p:nvPr>
            <p:custDataLst>
              <p:tags r:id="rId9"/>
            </p:custDataLst>
          </p:nvPr>
        </p:nvSpPr>
        <p:spPr bwMode="auto">
          <a:xfrm>
            <a:off x="1982788" y="1322388"/>
            <a:ext cx="30162" cy="31750"/>
          </a:xfrm>
          <a:custGeom>
            <a:avLst/>
            <a:gdLst>
              <a:gd name="T0" fmla="*/ 30162 w 38"/>
              <a:gd name="T1" fmla="*/ 14993 h 36"/>
              <a:gd name="T2" fmla="*/ 30162 w 38"/>
              <a:gd name="T3" fmla="*/ 31750 h 36"/>
              <a:gd name="T4" fmla="*/ 15081 w 38"/>
              <a:gd name="T5" fmla="*/ 31750 h 36"/>
              <a:gd name="T6" fmla="*/ 0 w 38"/>
              <a:gd name="T7" fmla="*/ 14993 h 36"/>
              <a:gd name="T8" fmla="*/ 0 w 38"/>
              <a:gd name="T9" fmla="*/ 0 h 36"/>
              <a:gd name="T10" fmla="*/ 15081 w 38"/>
              <a:gd name="T11" fmla="*/ 0 h 36"/>
              <a:gd name="T12" fmla="*/ 30162 w 38"/>
              <a:gd name="T13" fmla="*/ 14993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69" name="Freeform 36"/>
          <p:cNvSpPr>
            <a:spLocks noChangeAspect="1"/>
          </p:cNvSpPr>
          <p:nvPr>
            <p:custDataLst>
              <p:tags r:id="rId10"/>
            </p:custDataLst>
          </p:nvPr>
        </p:nvSpPr>
        <p:spPr bwMode="auto">
          <a:xfrm>
            <a:off x="2012950" y="1428750"/>
            <a:ext cx="30163" cy="33338"/>
          </a:xfrm>
          <a:custGeom>
            <a:avLst/>
            <a:gdLst>
              <a:gd name="T0" fmla="*/ 14695 w 39"/>
              <a:gd name="T1" fmla="*/ 0 h 36"/>
              <a:gd name="T2" fmla="*/ 30163 w 39"/>
              <a:gd name="T3" fmla="*/ 17595 h 36"/>
              <a:gd name="T4" fmla="*/ 14695 w 39"/>
              <a:gd name="T5" fmla="*/ 33338 h 36"/>
              <a:gd name="T6" fmla="*/ 0 w 39"/>
              <a:gd name="T7" fmla="*/ 33338 h 36"/>
              <a:gd name="T8" fmla="*/ 0 w 39"/>
              <a:gd name="T9" fmla="*/ 17595 h 36"/>
              <a:gd name="T10" fmla="*/ 0 w 39"/>
              <a:gd name="T11" fmla="*/ 0 h 36"/>
              <a:gd name="T12" fmla="*/ 14695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0" name="Freeform 37"/>
          <p:cNvSpPr>
            <a:spLocks noChangeAspect="1"/>
          </p:cNvSpPr>
          <p:nvPr>
            <p:custDataLst>
              <p:tags r:id="rId11"/>
            </p:custDataLst>
          </p:nvPr>
        </p:nvSpPr>
        <p:spPr bwMode="auto">
          <a:xfrm>
            <a:off x="2066925" y="1309688"/>
            <a:ext cx="26988" cy="12700"/>
          </a:xfrm>
          <a:custGeom>
            <a:avLst/>
            <a:gdLst>
              <a:gd name="T0" fmla="*/ 0 w 37"/>
              <a:gd name="T1" fmla="*/ 12700 h 16"/>
              <a:gd name="T2" fmla="*/ 0 w 37"/>
              <a:gd name="T3" fmla="*/ 0 h 16"/>
              <a:gd name="T4" fmla="*/ 14588 w 37"/>
              <a:gd name="T5" fmla="*/ 0 h 16"/>
              <a:gd name="T6" fmla="*/ 14588 w 37"/>
              <a:gd name="T7" fmla="*/ 12700 h 16"/>
              <a:gd name="T8" fmla="*/ 26988 w 37"/>
              <a:gd name="T9" fmla="*/ 12700 h 16"/>
              <a:gd name="T10" fmla="*/ 14588 w 37"/>
              <a:gd name="T11" fmla="*/ 12700 h 16"/>
              <a:gd name="T12" fmla="*/ 0 w 37"/>
              <a:gd name="T13" fmla="*/ 12700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1" name="Freeform 38"/>
          <p:cNvSpPr>
            <a:spLocks noChangeAspect="1"/>
          </p:cNvSpPr>
          <p:nvPr>
            <p:custDataLst>
              <p:tags r:id="rId12"/>
            </p:custDataLst>
          </p:nvPr>
        </p:nvSpPr>
        <p:spPr bwMode="auto">
          <a:xfrm>
            <a:off x="2122488" y="1200150"/>
            <a:ext cx="26987" cy="15875"/>
          </a:xfrm>
          <a:custGeom>
            <a:avLst/>
            <a:gdLst>
              <a:gd name="T0" fmla="*/ 26987 w 37"/>
              <a:gd name="T1" fmla="*/ 0 h 19"/>
              <a:gd name="T2" fmla="*/ 26987 w 37"/>
              <a:gd name="T3" fmla="*/ 15875 h 19"/>
              <a:gd name="T4" fmla="*/ 13129 w 37"/>
              <a:gd name="T5" fmla="*/ 15875 h 19"/>
              <a:gd name="T6" fmla="*/ 0 w 37"/>
              <a:gd name="T7" fmla="*/ 0 h 19"/>
              <a:gd name="T8" fmla="*/ 13129 w 37"/>
              <a:gd name="T9" fmla="*/ 0 h 19"/>
              <a:gd name="T10" fmla="*/ 26987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2" name="Freeform 39"/>
          <p:cNvSpPr>
            <a:spLocks noChangeAspect="1"/>
          </p:cNvSpPr>
          <p:nvPr>
            <p:custDataLst>
              <p:tags r:id="rId13"/>
            </p:custDataLst>
          </p:nvPr>
        </p:nvSpPr>
        <p:spPr bwMode="auto">
          <a:xfrm>
            <a:off x="2000250" y="1231900"/>
            <a:ext cx="139700" cy="90488"/>
          </a:xfrm>
          <a:custGeom>
            <a:avLst/>
            <a:gdLst>
              <a:gd name="T0" fmla="*/ 99117 w 179"/>
              <a:gd name="T1" fmla="*/ 74520 h 102"/>
              <a:gd name="T2" fmla="*/ 70240 w 179"/>
              <a:gd name="T3" fmla="*/ 59438 h 102"/>
              <a:gd name="T4" fmla="*/ 56973 w 179"/>
              <a:gd name="T5" fmla="*/ 59438 h 102"/>
              <a:gd name="T6" fmla="*/ 43705 w 179"/>
              <a:gd name="T7" fmla="*/ 59438 h 102"/>
              <a:gd name="T8" fmla="*/ 30437 w 179"/>
              <a:gd name="T9" fmla="*/ 59438 h 102"/>
              <a:gd name="T10" fmla="*/ 14828 w 179"/>
              <a:gd name="T11" fmla="*/ 59438 h 102"/>
              <a:gd name="T12" fmla="*/ 14828 w 179"/>
              <a:gd name="T13" fmla="*/ 44357 h 102"/>
              <a:gd name="T14" fmla="*/ 30437 w 179"/>
              <a:gd name="T15" fmla="*/ 44357 h 102"/>
              <a:gd name="T16" fmla="*/ 14828 w 179"/>
              <a:gd name="T17" fmla="*/ 44357 h 102"/>
              <a:gd name="T18" fmla="*/ 14828 w 179"/>
              <a:gd name="T19" fmla="*/ 29276 h 102"/>
              <a:gd name="T20" fmla="*/ 0 w 179"/>
              <a:gd name="T21" fmla="*/ 29276 h 102"/>
              <a:gd name="T22" fmla="*/ 0 w 179"/>
              <a:gd name="T23" fmla="*/ 13307 h 102"/>
              <a:gd name="T24" fmla="*/ 14828 w 179"/>
              <a:gd name="T25" fmla="*/ 13307 h 102"/>
              <a:gd name="T26" fmla="*/ 14828 w 179"/>
              <a:gd name="T27" fmla="*/ 0 h 102"/>
              <a:gd name="T28" fmla="*/ 30437 w 179"/>
              <a:gd name="T29" fmla="*/ 13307 h 102"/>
              <a:gd name="T30" fmla="*/ 43705 w 179"/>
              <a:gd name="T31" fmla="*/ 13307 h 102"/>
              <a:gd name="T32" fmla="*/ 56973 w 179"/>
              <a:gd name="T33" fmla="*/ 29276 h 102"/>
              <a:gd name="T34" fmla="*/ 56973 w 179"/>
              <a:gd name="T35" fmla="*/ 13307 h 102"/>
              <a:gd name="T36" fmla="*/ 70240 w 179"/>
              <a:gd name="T37" fmla="*/ 13307 h 102"/>
              <a:gd name="T38" fmla="*/ 84288 w 179"/>
              <a:gd name="T39" fmla="*/ 29276 h 102"/>
              <a:gd name="T40" fmla="*/ 84288 w 179"/>
              <a:gd name="T41" fmla="*/ 44357 h 102"/>
              <a:gd name="T42" fmla="*/ 99117 w 179"/>
              <a:gd name="T43" fmla="*/ 44357 h 102"/>
              <a:gd name="T44" fmla="*/ 99117 w 179"/>
              <a:gd name="T45" fmla="*/ 29276 h 102"/>
              <a:gd name="T46" fmla="*/ 112384 w 179"/>
              <a:gd name="T47" fmla="*/ 29276 h 102"/>
              <a:gd name="T48" fmla="*/ 112384 w 179"/>
              <a:gd name="T49" fmla="*/ 44357 h 102"/>
              <a:gd name="T50" fmla="*/ 125652 w 179"/>
              <a:gd name="T51" fmla="*/ 44357 h 102"/>
              <a:gd name="T52" fmla="*/ 112384 w 179"/>
              <a:gd name="T53" fmla="*/ 44357 h 102"/>
              <a:gd name="T54" fmla="*/ 125652 w 179"/>
              <a:gd name="T55" fmla="*/ 59438 h 102"/>
              <a:gd name="T56" fmla="*/ 139700 w 179"/>
              <a:gd name="T57" fmla="*/ 74520 h 102"/>
              <a:gd name="T58" fmla="*/ 139700 w 179"/>
              <a:gd name="T59" fmla="*/ 90488 h 102"/>
              <a:gd name="T60" fmla="*/ 125652 w 179"/>
              <a:gd name="T61" fmla="*/ 90488 h 102"/>
              <a:gd name="T62" fmla="*/ 112384 w 179"/>
              <a:gd name="T63" fmla="*/ 90488 h 102"/>
              <a:gd name="T64" fmla="*/ 112384 w 179"/>
              <a:gd name="T65" fmla="*/ 74520 h 102"/>
              <a:gd name="T66" fmla="*/ 99117 w 179"/>
              <a:gd name="T67" fmla="*/ 74520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3" name="Freeform 40"/>
          <p:cNvSpPr>
            <a:spLocks noChangeAspect="1"/>
          </p:cNvSpPr>
          <p:nvPr>
            <p:custDataLst>
              <p:tags r:id="rId14"/>
            </p:custDataLst>
          </p:nvPr>
        </p:nvSpPr>
        <p:spPr bwMode="auto">
          <a:xfrm>
            <a:off x="2192338" y="1354138"/>
            <a:ext cx="374650" cy="119062"/>
          </a:xfrm>
          <a:custGeom>
            <a:avLst/>
            <a:gdLst>
              <a:gd name="T0" fmla="*/ 359695 w 476"/>
              <a:gd name="T1" fmla="*/ 91047 h 136"/>
              <a:gd name="T2" fmla="*/ 359695 w 476"/>
              <a:gd name="T3" fmla="*/ 104179 h 136"/>
              <a:gd name="T4" fmla="*/ 374650 w 476"/>
              <a:gd name="T5" fmla="*/ 104179 h 136"/>
              <a:gd name="T6" fmla="*/ 359695 w 476"/>
              <a:gd name="T7" fmla="*/ 119062 h 136"/>
              <a:gd name="T8" fmla="*/ 332148 w 476"/>
              <a:gd name="T9" fmla="*/ 119062 h 136"/>
              <a:gd name="T10" fmla="*/ 305387 w 476"/>
              <a:gd name="T11" fmla="*/ 119062 h 136"/>
              <a:gd name="T12" fmla="*/ 291220 w 476"/>
              <a:gd name="T13" fmla="*/ 119062 h 136"/>
              <a:gd name="T14" fmla="*/ 277839 w 476"/>
              <a:gd name="T15" fmla="*/ 119062 h 136"/>
              <a:gd name="T16" fmla="*/ 249504 w 476"/>
              <a:gd name="T17" fmla="*/ 119062 h 136"/>
              <a:gd name="T18" fmla="*/ 221957 w 476"/>
              <a:gd name="T19" fmla="*/ 119062 h 136"/>
              <a:gd name="T20" fmla="*/ 208576 w 476"/>
              <a:gd name="T21" fmla="*/ 119062 h 136"/>
              <a:gd name="T22" fmla="*/ 194409 w 476"/>
              <a:gd name="T23" fmla="*/ 119062 h 136"/>
              <a:gd name="T24" fmla="*/ 179454 w 476"/>
              <a:gd name="T25" fmla="*/ 119062 h 136"/>
              <a:gd name="T26" fmla="*/ 166074 w 476"/>
              <a:gd name="T27" fmla="*/ 119062 h 136"/>
              <a:gd name="T28" fmla="*/ 151119 w 476"/>
              <a:gd name="T29" fmla="*/ 119062 h 136"/>
              <a:gd name="T30" fmla="*/ 123572 w 476"/>
              <a:gd name="T31" fmla="*/ 119062 h 136"/>
              <a:gd name="T32" fmla="*/ 96811 w 476"/>
              <a:gd name="T33" fmla="*/ 104179 h 136"/>
              <a:gd name="T34" fmla="*/ 82643 w 476"/>
              <a:gd name="T35" fmla="*/ 91047 h 136"/>
              <a:gd name="T36" fmla="*/ 96811 w 476"/>
              <a:gd name="T37" fmla="*/ 91047 h 136"/>
              <a:gd name="T38" fmla="*/ 96811 w 476"/>
              <a:gd name="T39" fmla="*/ 76165 h 136"/>
              <a:gd name="T40" fmla="*/ 82643 w 476"/>
              <a:gd name="T41" fmla="*/ 76165 h 136"/>
              <a:gd name="T42" fmla="*/ 67689 w 476"/>
              <a:gd name="T43" fmla="*/ 45524 h 136"/>
              <a:gd name="T44" fmla="*/ 67689 w 476"/>
              <a:gd name="T45" fmla="*/ 30641 h 136"/>
              <a:gd name="T46" fmla="*/ 54309 w 476"/>
              <a:gd name="T47" fmla="*/ 45524 h 136"/>
              <a:gd name="T48" fmla="*/ 26761 w 476"/>
              <a:gd name="T49" fmla="*/ 30641 h 136"/>
              <a:gd name="T50" fmla="*/ 13380 w 476"/>
              <a:gd name="T51" fmla="*/ 14883 h 136"/>
              <a:gd name="T52" fmla="*/ 0 w 476"/>
              <a:gd name="T53" fmla="*/ 14883 h 136"/>
              <a:gd name="T54" fmla="*/ 13380 w 476"/>
              <a:gd name="T55" fmla="*/ 14883 h 136"/>
              <a:gd name="T56" fmla="*/ 13380 w 476"/>
              <a:gd name="T57" fmla="*/ 0 h 136"/>
              <a:gd name="T58" fmla="*/ 54309 w 476"/>
              <a:gd name="T59" fmla="*/ 14883 h 136"/>
              <a:gd name="T60" fmla="*/ 82643 w 476"/>
              <a:gd name="T61" fmla="*/ 30641 h 136"/>
              <a:gd name="T62" fmla="*/ 96811 w 476"/>
              <a:gd name="T63" fmla="*/ 30641 h 136"/>
              <a:gd name="T64" fmla="*/ 96811 w 476"/>
              <a:gd name="T65" fmla="*/ 14883 h 136"/>
              <a:gd name="T66" fmla="*/ 110191 w 476"/>
              <a:gd name="T67" fmla="*/ 14883 h 136"/>
              <a:gd name="T68" fmla="*/ 110191 w 476"/>
              <a:gd name="T69" fmla="*/ 30641 h 136"/>
              <a:gd name="T70" fmla="*/ 136952 w 476"/>
              <a:gd name="T71" fmla="*/ 45524 h 136"/>
              <a:gd name="T72" fmla="*/ 151119 w 476"/>
              <a:gd name="T73" fmla="*/ 45524 h 136"/>
              <a:gd name="T74" fmla="*/ 123572 w 476"/>
              <a:gd name="T75" fmla="*/ 45524 h 136"/>
              <a:gd name="T76" fmla="*/ 110191 w 476"/>
              <a:gd name="T77" fmla="*/ 45524 h 136"/>
              <a:gd name="T78" fmla="*/ 123572 w 476"/>
              <a:gd name="T79" fmla="*/ 76165 h 136"/>
              <a:gd name="T80" fmla="*/ 136952 w 476"/>
              <a:gd name="T81" fmla="*/ 76165 h 136"/>
              <a:gd name="T82" fmla="*/ 151119 w 476"/>
              <a:gd name="T83" fmla="*/ 76165 h 136"/>
              <a:gd name="T84" fmla="*/ 179454 w 476"/>
              <a:gd name="T85" fmla="*/ 76165 h 136"/>
              <a:gd name="T86" fmla="*/ 194409 w 476"/>
              <a:gd name="T87" fmla="*/ 91047 h 136"/>
              <a:gd name="T88" fmla="*/ 208576 w 476"/>
              <a:gd name="T89" fmla="*/ 91047 h 136"/>
              <a:gd name="T90" fmla="*/ 235337 w 476"/>
              <a:gd name="T91" fmla="*/ 76165 h 136"/>
              <a:gd name="T92" fmla="*/ 277839 w 476"/>
              <a:gd name="T93" fmla="*/ 76165 h 136"/>
              <a:gd name="T94" fmla="*/ 305387 w 476"/>
              <a:gd name="T95" fmla="*/ 76165 h 136"/>
              <a:gd name="T96" fmla="*/ 332148 w 476"/>
              <a:gd name="T97" fmla="*/ 76165 h 136"/>
              <a:gd name="T98" fmla="*/ 345528 w 476"/>
              <a:gd name="T99" fmla="*/ 76165 h 136"/>
              <a:gd name="T100" fmla="*/ 374650 w 476"/>
              <a:gd name="T101" fmla="*/ 91047 h 136"/>
              <a:gd name="T102" fmla="*/ 359695 w 476"/>
              <a:gd name="T103" fmla="*/ 910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4" name="Freeform 41"/>
          <p:cNvSpPr>
            <a:spLocks noChangeAspect="1"/>
          </p:cNvSpPr>
          <p:nvPr>
            <p:custDataLst>
              <p:tags r:id="rId15"/>
            </p:custDataLst>
          </p:nvPr>
        </p:nvSpPr>
        <p:spPr bwMode="auto">
          <a:xfrm>
            <a:off x="2192338" y="1428750"/>
            <a:ext cx="68262" cy="44450"/>
          </a:xfrm>
          <a:custGeom>
            <a:avLst/>
            <a:gdLst>
              <a:gd name="T0" fmla="*/ 13494 w 86"/>
              <a:gd name="T1" fmla="*/ 14817 h 51"/>
              <a:gd name="T2" fmla="*/ 13494 w 86"/>
              <a:gd name="T3" fmla="*/ 0 h 51"/>
              <a:gd name="T4" fmla="*/ 41275 w 86"/>
              <a:gd name="T5" fmla="*/ 0 h 51"/>
              <a:gd name="T6" fmla="*/ 54768 w 86"/>
              <a:gd name="T7" fmla="*/ 0 h 51"/>
              <a:gd name="T8" fmla="*/ 54768 w 86"/>
              <a:gd name="T9" fmla="*/ 14817 h 51"/>
              <a:gd name="T10" fmla="*/ 68262 w 86"/>
              <a:gd name="T11" fmla="*/ 29633 h 51"/>
              <a:gd name="T12" fmla="*/ 54768 w 86"/>
              <a:gd name="T13" fmla="*/ 44450 h 51"/>
              <a:gd name="T14" fmla="*/ 41275 w 86"/>
              <a:gd name="T15" fmla="*/ 44450 h 51"/>
              <a:gd name="T16" fmla="*/ 13494 w 86"/>
              <a:gd name="T17" fmla="*/ 29633 h 51"/>
              <a:gd name="T18" fmla="*/ 0 w 86"/>
              <a:gd name="T19" fmla="*/ 29633 h 51"/>
              <a:gd name="T20" fmla="*/ 13494 w 86"/>
              <a:gd name="T21" fmla="*/ 1481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5" name="Freeform 42"/>
          <p:cNvSpPr>
            <a:spLocks noChangeAspect="1"/>
          </p:cNvSpPr>
          <p:nvPr>
            <p:custDataLst>
              <p:tags r:id="rId16"/>
            </p:custDataLst>
          </p:nvPr>
        </p:nvSpPr>
        <p:spPr bwMode="auto">
          <a:xfrm>
            <a:off x="2205038" y="1322388"/>
            <a:ext cx="55562" cy="14287"/>
          </a:xfrm>
          <a:custGeom>
            <a:avLst/>
            <a:gdLst>
              <a:gd name="T0" fmla="*/ 42258 w 71"/>
              <a:gd name="T1" fmla="*/ 0 h 17"/>
              <a:gd name="T2" fmla="*/ 55562 w 71"/>
              <a:gd name="T3" fmla="*/ 0 h 17"/>
              <a:gd name="T4" fmla="*/ 55562 w 71"/>
              <a:gd name="T5" fmla="*/ 14287 h 17"/>
              <a:gd name="T6" fmla="*/ 42258 w 71"/>
              <a:gd name="T7" fmla="*/ 14287 h 17"/>
              <a:gd name="T8" fmla="*/ 28955 w 71"/>
              <a:gd name="T9" fmla="*/ 14287 h 17"/>
              <a:gd name="T10" fmla="*/ 0 w 71"/>
              <a:gd name="T11" fmla="*/ 0 h 17"/>
              <a:gd name="T12" fmla="*/ 28955 w 71"/>
              <a:gd name="T13" fmla="*/ 0 h 17"/>
              <a:gd name="T14" fmla="*/ 42258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6" name="Freeform 43"/>
          <p:cNvSpPr>
            <a:spLocks noChangeAspect="1"/>
          </p:cNvSpPr>
          <p:nvPr>
            <p:custDataLst>
              <p:tags r:id="rId17"/>
            </p:custDataLst>
          </p:nvPr>
        </p:nvSpPr>
        <p:spPr bwMode="auto">
          <a:xfrm>
            <a:off x="2155825" y="1260475"/>
            <a:ext cx="82550" cy="61913"/>
          </a:xfrm>
          <a:custGeom>
            <a:avLst/>
            <a:gdLst>
              <a:gd name="T0" fmla="*/ 26988 w 104"/>
              <a:gd name="T1" fmla="*/ 61913 h 69"/>
              <a:gd name="T2" fmla="*/ 26988 w 104"/>
              <a:gd name="T3" fmla="*/ 45762 h 69"/>
              <a:gd name="T4" fmla="*/ 13494 w 104"/>
              <a:gd name="T5" fmla="*/ 30508 h 69"/>
              <a:gd name="T6" fmla="*/ 0 w 104"/>
              <a:gd name="T7" fmla="*/ 15254 h 69"/>
              <a:gd name="T8" fmla="*/ 13494 w 104"/>
              <a:gd name="T9" fmla="*/ 0 h 69"/>
              <a:gd name="T10" fmla="*/ 26988 w 104"/>
              <a:gd name="T11" fmla="*/ 0 h 69"/>
              <a:gd name="T12" fmla="*/ 26988 w 104"/>
              <a:gd name="T13" fmla="*/ 15254 h 69"/>
              <a:gd name="T14" fmla="*/ 41275 w 104"/>
              <a:gd name="T15" fmla="*/ 15254 h 69"/>
              <a:gd name="T16" fmla="*/ 54769 w 104"/>
              <a:gd name="T17" fmla="*/ 15254 h 69"/>
              <a:gd name="T18" fmla="*/ 68263 w 104"/>
              <a:gd name="T19" fmla="*/ 15254 h 69"/>
              <a:gd name="T20" fmla="*/ 82550 w 104"/>
              <a:gd name="T21" fmla="*/ 30508 h 69"/>
              <a:gd name="T22" fmla="*/ 68263 w 104"/>
              <a:gd name="T23" fmla="*/ 30508 h 69"/>
              <a:gd name="T24" fmla="*/ 68263 w 104"/>
              <a:gd name="T25" fmla="*/ 45762 h 69"/>
              <a:gd name="T26" fmla="*/ 82550 w 104"/>
              <a:gd name="T27" fmla="*/ 61913 h 69"/>
              <a:gd name="T28" fmla="*/ 54769 w 104"/>
              <a:gd name="T29" fmla="*/ 61913 h 69"/>
              <a:gd name="T30" fmla="*/ 26988 w 104"/>
              <a:gd name="T31" fmla="*/ 61913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77" name="Freeform 44"/>
          <p:cNvSpPr>
            <a:spLocks noChangeAspect="1"/>
          </p:cNvSpPr>
          <p:nvPr>
            <p:custDataLst>
              <p:tags r:id="rId18"/>
            </p:custDataLst>
          </p:nvPr>
        </p:nvSpPr>
        <p:spPr bwMode="auto">
          <a:xfrm>
            <a:off x="2205038" y="1123950"/>
            <a:ext cx="222250" cy="185738"/>
          </a:xfrm>
          <a:custGeom>
            <a:avLst/>
            <a:gdLst>
              <a:gd name="T0" fmla="*/ 166687 w 284"/>
              <a:gd name="T1" fmla="*/ 78205 h 209"/>
              <a:gd name="T2" fmla="*/ 179991 w 284"/>
              <a:gd name="T3" fmla="*/ 63098 h 209"/>
              <a:gd name="T4" fmla="*/ 179991 w 284"/>
              <a:gd name="T5" fmla="*/ 94202 h 209"/>
              <a:gd name="T6" fmla="*/ 208946 w 284"/>
              <a:gd name="T7" fmla="*/ 94202 h 209"/>
              <a:gd name="T8" fmla="*/ 222250 w 284"/>
              <a:gd name="T9" fmla="*/ 122640 h 209"/>
              <a:gd name="T10" fmla="*/ 179991 w 284"/>
              <a:gd name="T11" fmla="*/ 153745 h 209"/>
              <a:gd name="T12" fmla="*/ 166687 w 284"/>
              <a:gd name="T13" fmla="*/ 138637 h 209"/>
              <a:gd name="T14" fmla="*/ 153384 w 284"/>
              <a:gd name="T15" fmla="*/ 153745 h 209"/>
              <a:gd name="T16" fmla="*/ 166687 w 284"/>
              <a:gd name="T17" fmla="*/ 168853 h 209"/>
              <a:gd name="T18" fmla="*/ 153384 w 284"/>
              <a:gd name="T19" fmla="*/ 185738 h 209"/>
              <a:gd name="T20" fmla="*/ 138515 w 284"/>
              <a:gd name="T21" fmla="*/ 153745 h 209"/>
              <a:gd name="T22" fmla="*/ 124429 w 284"/>
              <a:gd name="T23" fmla="*/ 185738 h 209"/>
              <a:gd name="T24" fmla="*/ 96256 w 284"/>
              <a:gd name="T25" fmla="*/ 185738 h 209"/>
              <a:gd name="T26" fmla="*/ 82952 w 284"/>
              <a:gd name="T27" fmla="*/ 153745 h 209"/>
              <a:gd name="T28" fmla="*/ 55563 w 284"/>
              <a:gd name="T29" fmla="*/ 138637 h 209"/>
              <a:gd name="T30" fmla="*/ 82952 w 284"/>
              <a:gd name="T31" fmla="*/ 122640 h 209"/>
              <a:gd name="T32" fmla="*/ 96256 w 284"/>
              <a:gd name="T33" fmla="*/ 122640 h 209"/>
              <a:gd name="T34" fmla="*/ 68866 w 284"/>
              <a:gd name="T35" fmla="*/ 109310 h 209"/>
              <a:gd name="T36" fmla="*/ 55563 w 284"/>
              <a:gd name="T37" fmla="*/ 122640 h 209"/>
              <a:gd name="T38" fmla="*/ 42259 w 284"/>
              <a:gd name="T39" fmla="*/ 122640 h 209"/>
              <a:gd name="T40" fmla="*/ 42259 w 284"/>
              <a:gd name="T41" fmla="*/ 109310 h 209"/>
              <a:gd name="T42" fmla="*/ 27390 w 284"/>
              <a:gd name="T43" fmla="*/ 94202 h 209"/>
              <a:gd name="T44" fmla="*/ 0 w 284"/>
              <a:gd name="T45" fmla="*/ 78205 h 209"/>
              <a:gd name="T46" fmla="*/ 27390 w 284"/>
              <a:gd name="T47" fmla="*/ 78205 h 209"/>
              <a:gd name="T48" fmla="*/ 27390 w 284"/>
              <a:gd name="T49" fmla="*/ 63098 h 209"/>
              <a:gd name="T50" fmla="*/ 0 w 284"/>
              <a:gd name="T51" fmla="*/ 47990 h 209"/>
              <a:gd name="T52" fmla="*/ 27390 w 284"/>
              <a:gd name="T53" fmla="*/ 47990 h 209"/>
              <a:gd name="T54" fmla="*/ 55563 w 284"/>
              <a:gd name="T55" fmla="*/ 47990 h 209"/>
              <a:gd name="T56" fmla="*/ 27390 w 284"/>
              <a:gd name="T57" fmla="*/ 47990 h 209"/>
              <a:gd name="T58" fmla="*/ 42259 w 284"/>
              <a:gd name="T59" fmla="*/ 15108 h 209"/>
              <a:gd name="T60" fmla="*/ 55563 w 284"/>
              <a:gd name="T61" fmla="*/ 31104 h 209"/>
              <a:gd name="T62" fmla="*/ 55563 w 284"/>
              <a:gd name="T63" fmla="*/ 15108 h 209"/>
              <a:gd name="T64" fmla="*/ 42259 w 284"/>
              <a:gd name="T65" fmla="*/ 0 h 209"/>
              <a:gd name="T66" fmla="*/ 82952 w 284"/>
              <a:gd name="T67" fmla="*/ 0 h 209"/>
              <a:gd name="T68" fmla="*/ 96256 w 284"/>
              <a:gd name="T69" fmla="*/ 31104 h 209"/>
              <a:gd name="T70" fmla="*/ 109560 w 284"/>
              <a:gd name="T71" fmla="*/ 47990 h 209"/>
              <a:gd name="T72" fmla="*/ 138515 w 284"/>
              <a:gd name="T73" fmla="*/ 47990 h 209"/>
              <a:gd name="T74" fmla="*/ 153384 w 284"/>
              <a:gd name="T75" fmla="*/ 78205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000080"/>
          </a:solidFill>
          <a:ln w="9525">
            <a:solidFill>
              <a:schemeClr val="bg2"/>
            </a:solidFill>
            <a:round/>
            <a:headEnd/>
            <a:tailEnd/>
          </a:ln>
        </p:spPr>
        <p:txBody>
          <a:bodyPr/>
          <a:lstStyle/>
          <a:p>
            <a:endParaRPr lang="en-US" dirty="0"/>
          </a:p>
        </p:txBody>
      </p:sp>
      <p:sp>
        <p:nvSpPr>
          <p:cNvPr id="18478" name="Freeform 45"/>
          <p:cNvSpPr>
            <a:spLocks noChangeAspect="1"/>
          </p:cNvSpPr>
          <p:nvPr>
            <p:custDataLst>
              <p:tags r:id="rId19"/>
            </p:custDataLst>
          </p:nvPr>
        </p:nvSpPr>
        <p:spPr bwMode="auto">
          <a:xfrm>
            <a:off x="2286000" y="1017588"/>
            <a:ext cx="669925" cy="381000"/>
          </a:xfrm>
          <a:custGeom>
            <a:avLst/>
            <a:gdLst>
              <a:gd name="T0" fmla="*/ 530884 w 848"/>
              <a:gd name="T1" fmla="*/ 31012 h 430"/>
              <a:gd name="T2" fmla="*/ 600405 w 848"/>
              <a:gd name="T3" fmla="*/ 15063 h 430"/>
              <a:gd name="T4" fmla="*/ 656495 w 848"/>
              <a:gd name="T5" fmla="*/ 46074 h 430"/>
              <a:gd name="T6" fmla="*/ 656495 w 848"/>
              <a:gd name="T7" fmla="*/ 61137 h 430"/>
              <a:gd name="T8" fmla="*/ 544314 w 848"/>
              <a:gd name="T9" fmla="*/ 107212 h 430"/>
              <a:gd name="T10" fmla="*/ 600405 w 848"/>
              <a:gd name="T11" fmla="*/ 107212 h 430"/>
              <a:gd name="T12" fmla="*/ 516664 w 848"/>
              <a:gd name="T13" fmla="*/ 153286 h 430"/>
              <a:gd name="T14" fmla="*/ 447143 w 848"/>
              <a:gd name="T15" fmla="*/ 199360 h 430"/>
              <a:gd name="T16" fmla="*/ 406063 w 848"/>
              <a:gd name="T17" fmla="*/ 199360 h 430"/>
              <a:gd name="T18" fmla="*/ 377623 w 848"/>
              <a:gd name="T19" fmla="*/ 227714 h 430"/>
              <a:gd name="T20" fmla="*/ 377623 w 848"/>
              <a:gd name="T21" fmla="*/ 258726 h 430"/>
              <a:gd name="T22" fmla="*/ 334963 w 848"/>
              <a:gd name="T23" fmla="*/ 304800 h 430"/>
              <a:gd name="T24" fmla="*/ 307312 w 848"/>
              <a:gd name="T25" fmla="*/ 319863 h 430"/>
              <a:gd name="T26" fmla="*/ 293882 w 848"/>
              <a:gd name="T27" fmla="*/ 350874 h 430"/>
              <a:gd name="T28" fmla="*/ 278872 w 848"/>
              <a:gd name="T29" fmla="*/ 381000 h 430"/>
              <a:gd name="T30" fmla="*/ 224362 w 848"/>
              <a:gd name="T31" fmla="*/ 365937 h 430"/>
              <a:gd name="T32" fmla="*/ 154841 w 848"/>
              <a:gd name="T33" fmla="*/ 365937 h 430"/>
              <a:gd name="T34" fmla="*/ 127191 w 848"/>
              <a:gd name="T35" fmla="*/ 381000 h 430"/>
              <a:gd name="T36" fmla="*/ 56090 w 848"/>
              <a:gd name="T37" fmla="*/ 365937 h 430"/>
              <a:gd name="T38" fmla="*/ 112181 w 848"/>
              <a:gd name="T39" fmla="*/ 334926 h 430"/>
              <a:gd name="T40" fmla="*/ 97961 w 848"/>
              <a:gd name="T41" fmla="*/ 304800 h 430"/>
              <a:gd name="T42" fmla="*/ 154841 w 848"/>
              <a:gd name="T43" fmla="*/ 319863 h 430"/>
              <a:gd name="T44" fmla="*/ 140621 w 848"/>
              <a:gd name="T45" fmla="*/ 304800 h 430"/>
              <a:gd name="T46" fmla="*/ 112181 w 848"/>
              <a:gd name="T47" fmla="*/ 288851 h 430"/>
              <a:gd name="T48" fmla="*/ 97961 w 848"/>
              <a:gd name="T49" fmla="*/ 258726 h 430"/>
              <a:gd name="T50" fmla="*/ 140621 w 848"/>
              <a:gd name="T51" fmla="*/ 258726 h 430"/>
              <a:gd name="T52" fmla="*/ 154841 w 848"/>
              <a:gd name="T53" fmla="*/ 199360 h 430"/>
              <a:gd name="T54" fmla="*/ 127191 w 848"/>
              <a:gd name="T55" fmla="*/ 183412 h 430"/>
              <a:gd name="T56" fmla="*/ 127191 w 848"/>
              <a:gd name="T57" fmla="*/ 168349 h 430"/>
              <a:gd name="T58" fmla="*/ 168271 w 848"/>
              <a:gd name="T59" fmla="*/ 168349 h 430"/>
              <a:gd name="T60" fmla="*/ 224362 w 848"/>
              <a:gd name="T61" fmla="*/ 199360 h 430"/>
              <a:gd name="T62" fmla="*/ 195131 w 848"/>
              <a:gd name="T63" fmla="*/ 168349 h 430"/>
              <a:gd name="T64" fmla="*/ 237792 w 848"/>
              <a:gd name="T65" fmla="*/ 168349 h 430"/>
              <a:gd name="T66" fmla="*/ 278872 w 848"/>
              <a:gd name="T67" fmla="*/ 153286 h 430"/>
              <a:gd name="T68" fmla="*/ 224362 w 848"/>
              <a:gd name="T69" fmla="*/ 153286 h 430"/>
              <a:gd name="T70" fmla="*/ 168271 w 848"/>
              <a:gd name="T71" fmla="*/ 153286 h 430"/>
              <a:gd name="T72" fmla="*/ 127191 w 848"/>
              <a:gd name="T73" fmla="*/ 153286 h 430"/>
              <a:gd name="T74" fmla="*/ 71101 w 848"/>
              <a:gd name="T75" fmla="*/ 153286 h 430"/>
              <a:gd name="T76" fmla="*/ 84531 w 848"/>
              <a:gd name="T77" fmla="*/ 122274 h 430"/>
              <a:gd name="T78" fmla="*/ 56090 w 848"/>
              <a:gd name="T79" fmla="*/ 107212 h 430"/>
              <a:gd name="T80" fmla="*/ 84531 w 848"/>
              <a:gd name="T81" fmla="*/ 107212 h 430"/>
              <a:gd name="T82" fmla="*/ 41870 w 848"/>
              <a:gd name="T83" fmla="*/ 107212 h 430"/>
              <a:gd name="T84" fmla="*/ 28440 w 848"/>
              <a:gd name="T85" fmla="*/ 107212 h 430"/>
              <a:gd name="T86" fmla="*/ 13430 w 848"/>
              <a:gd name="T87" fmla="*/ 92149 h 430"/>
              <a:gd name="T88" fmla="*/ 97961 w 848"/>
              <a:gd name="T89" fmla="*/ 61137 h 430"/>
              <a:gd name="T90" fmla="*/ 154841 w 848"/>
              <a:gd name="T91" fmla="*/ 46074 h 430"/>
              <a:gd name="T92" fmla="*/ 195131 w 848"/>
              <a:gd name="T93" fmla="*/ 46074 h 430"/>
              <a:gd name="T94" fmla="*/ 237792 w 848"/>
              <a:gd name="T95" fmla="*/ 31012 h 430"/>
              <a:gd name="T96" fmla="*/ 278872 w 848"/>
              <a:gd name="T97" fmla="*/ 15063 h 430"/>
              <a:gd name="T98" fmla="*/ 348393 w 848"/>
              <a:gd name="T99" fmla="*/ 0 h 430"/>
              <a:gd name="T100" fmla="*/ 391053 w 848"/>
              <a:gd name="T101" fmla="*/ 15063 h 430"/>
              <a:gd name="T102" fmla="*/ 419493 w 848"/>
              <a:gd name="T103" fmla="*/ 0 h 430"/>
              <a:gd name="T104" fmla="*/ 475584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000080"/>
          </a:solidFill>
          <a:ln w="9525">
            <a:solidFill>
              <a:schemeClr val="bg2"/>
            </a:solidFill>
            <a:round/>
            <a:headEnd/>
            <a:tailEnd/>
          </a:ln>
        </p:spPr>
        <p:txBody>
          <a:bodyPr/>
          <a:lstStyle/>
          <a:p>
            <a:endParaRPr lang="en-US" dirty="0"/>
          </a:p>
        </p:txBody>
      </p:sp>
      <p:sp>
        <p:nvSpPr>
          <p:cNvPr id="18479" name="Freeform 46"/>
          <p:cNvSpPr>
            <a:spLocks noChangeAspect="1"/>
          </p:cNvSpPr>
          <p:nvPr>
            <p:custDataLst>
              <p:tags r:id="rId20"/>
            </p:custDataLst>
          </p:nvPr>
        </p:nvSpPr>
        <p:spPr bwMode="auto">
          <a:xfrm>
            <a:off x="2066925" y="1520825"/>
            <a:ext cx="138113" cy="106363"/>
          </a:xfrm>
          <a:custGeom>
            <a:avLst/>
            <a:gdLst>
              <a:gd name="T0" fmla="*/ 111280 w 175"/>
              <a:gd name="T1" fmla="*/ 29496 h 119"/>
              <a:gd name="T2" fmla="*/ 111280 w 175"/>
              <a:gd name="T3" fmla="*/ 44690 h 119"/>
              <a:gd name="T4" fmla="*/ 111280 w 175"/>
              <a:gd name="T5" fmla="*/ 59885 h 119"/>
              <a:gd name="T6" fmla="*/ 124696 w 175"/>
              <a:gd name="T7" fmla="*/ 59885 h 119"/>
              <a:gd name="T8" fmla="*/ 138113 w 175"/>
              <a:gd name="T9" fmla="*/ 59885 h 119"/>
              <a:gd name="T10" fmla="*/ 124696 w 175"/>
              <a:gd name="T11" fmla="*/ 75974 h 119"/>
              <a:gd name="T12" fmla="*/ 124696 w 175"/>
              <a:gd name="T13" fmla="*/ 91168 h 119"/>
              <a:gd name="T14" fmla="*/ 97074 w 175"/>
              <a:gd name="T15" fmla="*/ 106363 h 119"/>
              <a:gd name="T16" fmla="*/ 83657 w 175"/>
              <a:gd name="T17" fmla="*/ 106363 h 119"/>
              <a:gd name="T18" fmla="*/ 70240 w 175"/>
              <a:gd name="T19" fmla="*/ 106363 h 119"/>
              <a:gd name="T20" fmla="*/ 70240 w 175"/>
              <a:gd name="T21" fmla="*/ 91168 h 119"/>
              <a:gd name="T22" fmla="*/ 42618 w 175"/>
              <a:gd name="T23" fmla="*/ 75974 h 119"/>
              <a:gd name="T24" fmla="*/ 27623 w 175"/>
              <a:gd name="T25" fmla="*/ 59885 h 119"/>
              <a:gd name="T26" fmla="*/ 0 w 175"/>
              <a:gd name="T27" fmla="*/ 59885 h 119"/>
              <a:gd name="T28" fmla="*/ 0 w 175"/>
              <a:gd name="T29" fmla="*/ 44690 h 119"/>
              <a:gd name="T30" fmla="*/ 0 w 175"/>
              <a:gd name="T31" fmla="*/ 29496 h 119"/>
              <a:gd name="T32" fmla="*/ 14206 w 175"/>
              <a:gd name="T33" fmla="*/ 44690 h 119"/>
              <a:gd name="T34" fmla="*/ 27623 w 175"/>
              <a:gd name="T35" fmla="*/ 44690 h 119"/>
              <a:gd name="T36" fmla="*/ 42618 w 175"/>
              <a:gd name="T37" fmla="*/ 44690 h 119"/>
              <a:gd name="T38" fmla="*/ 42618 w 175"/>
              <a:gd name="T39" fmla="*/ 29496 h 119"/>
              <a:gd name="T40" fmla="*/ 42618 w 175"/>
              <a:gd name="T41" fmla="*/ 13407 h 119"/>
              <a:gd name="T42" fmla="*/ 27623 w 175"/>
              <a:gd name="T43" fmla="*/ 13407 h 119"/>
              <a:gd name="T44" fmla="*/ 27623 w 175"/>
              <a:gd name="T45" fmla="*/ 0 h 119"/>
              <a:gd name="T46" fmla="*/ 42618 w 175"/>
              <a:gd name="T47" fmla="*/ 0 h 119"/>
              <a:gd name="T48" fmla="*/ 56034 w 175"/>
              <a:gd name="T49" fmla="*/ 0 h 119"/>
              <a:gd name="T50" fmla="*/ 83657 w 175"/>
              <a:gd name="T51" fmla="*/ 0 h 119"/>
              <a:gd name="T52" fmla="*/ 97074 w 175"/>
              <a:gd name="T53" fmla="*/ 0 h 119"/>
              <a:gd name="T54" fmla="*/ 111280 w 175"/>
              <a:gd name="T55" fmla="*/ 0 h 119"/>
              <a:gd name="T56" fmla="*/ 111280 w 175"/>
              <a:gd name="T57" fmla="*/ 13407 h 119"/>
              <a:gd name="T58" fmla="*/ 97074 w 175"/>
              <a:gd name="T59" fmla="*/ 29496 h 119"/>
              <a:gd name="T60" fmla="*/ 83657 w 175"/>
              <a:gd name="T61" fmla="*/ 29496 h 119"/>
              <a:gd name="T62" fmla="*/ 97074 w 175"/>
              <a:gd name="T63" fmla="*/ 29496 h 119"/>
              <a:gd name="T64" fmla="*/ 111280 w 175"/>
              <a:gd name="T65" fmla="*/ 29496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000080"/>
          </a:solidFill>
          <a:ln w="9525">
            <a:solidFill>
              <a:schemeClr val="bg2"/>
            </a:solidFill>
            <a:round/>
            <a:headEnd/>
            <a:tailEnd/>
          </a:ln>
        </p:spPr>
        <p:txBody>
          <a:bodyPr/>
          <a:lstStyle/>
          <a:p>
            <a:endParaRPr lang="en-US" dirty="0"/>
          </a:p>
        </p:txBody>
      </p:sp>
      <p:sp>
        <p:nvSpPr>
          <p:cNvPr id="18480" name="Freeform 47"/>
          <p:cNvSpPr>
            <a:spLocks noChangeAspect="1"/>
          </p:cNvSpPr>
          <p:nvPr>
            <p:custDataLst>
              <p:tags r:id="rId21"/>
            </p:custDataLst>
          </p:nvPr>
        </p:nvSpPr>
        <p:spPr bwMode="auto">
          <a:xfrm>
            <a:off x="2135188" y="1685925"/>
            <a:ext cx="80962" cy="65088"/>
          </a:xfrm>
          <a:custGeom>
            <a:avLst/>
            <a:gdLst>
              <a:gd name="T0" fmla="*/ 67599 w 103"/>
              <a:gd name="T1" fmla="*/ 65088 h 73"/>
              <a:gd name="T2" fmla="*/ 40874 w 103"/>
              <a:gd name="T3" fmla="*/ 49931 h 73"/>
              <a:gd name="T4" fmla="*/ 13363 w 103"/>
              <a:gd name="T5" fmla="*/ 32990 h 73"/>
              <a:gd name="T6" fmla="*/ 0 w 103"/>
              <a:gd name="T7" fmla="*/ 32990 h 73"/>
              <a:gd name="T8" fmla="*/ 13363 w 103"/>
              <a:gd name="T9" fmla="*/ 32990 h 73"/>
              <a:gd name="T10" fmla="*/ 13363 w 103"/>
              <a:gd name="T11" fmla="*/ 16941 h 73"/>
              <a:gd name="T12" fmla="*/ 26725 w 103"/>
              <a:gd name="T13" fmla="*/ 0 h 73"/>
              <a:gd name="T14" fmla="*/ 54237 w 103"/>
              <a:gd name="T15" fmla="*/ 16941 h 73"/>
              <a:gd name="T16" fmla="*/ 67599 w 103"/>
              <a:gd name="T17" fmla="*/ 32990 h 73"/>
              <a:gd name="T18" fmla="*/ 80962 w 103"/>
              <a:gd name="T19" fmla="*/ 49931 h 73"/>
              <a:gd name="T20" fmla="*/ 67599 w 103"/>
              <a:gd name="T21" fmla="*/ 49931 h 73"/>
              <a:gd name="T22" fmla="*/ 67599 w 103"/>
              <a:gd name="T23" fmla="*/ 650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1" name="Freeform 48"/>
          <p:cNvSpPr>
            <a:spLocks noChangeAspect="1"/>
          </p:cNvSpPr>
          <p:nvPr>
            <p:custDataLst>
              <p:tags r:id="rId22"/>
            </p:custDataLst>
          </p:nvPr>
        </p:nvSpPr>
        <p:spPr bwMode="auto">
          <a:xfrm>
            <a:off x="2205038" y="1489075"/>
            <a:ext cx="125412" cy="106363"/>
          </a:xfrm>
          <a:custGeom>
            <a:avLst/>
            <a:gdLst>
              <a:gd name="T0" fmla="*/ 125412 w 159"/>
              <a:gd name="T1" fmla="*/ 29887 h 121"/>
              <a:gd name="T2" fmla="*/ 112003 w 159"/>
              <a:gd name="T3" fmla="*/ 29887 h 121"/>
              <a:gd name="T4" fmla="*/ 98594 w 159"/>
              <a:gd name="T5" fmla="*/ 29887 h 121"/>
              <a:gd name="T6" fmla="*/ 85186 w 159"/>
              <a:gd name="T7" fmla="*/ 60653 h 121"/>
              <a:gd name="T8" fmla="*/ 85186 w 159"/>
              <a:gd name="T9" fmla="*/ 75597 h 121"/>
              <a:gd name="T10" fmla="*/ 56002 w 159"/>
              <a:gd name="T11" fmla="*/ 75597 h 121"/>
              <a:gd name="T12" fmla="*/ 42593 w 159"/>
              <a:gd name="T13" fmla="*/ 75597 h 121"/>
              <a:gd name="T14" fmla="*/ 42593 w 159"/>
              <a:gd name="T15" fmla="*/ 90540 h 121"/>
              <a:gd name="T16" fmla="*/ 42593 w 159"/>
              <a:gd name="T17" fmla="*/ 106363 h 121"/>
              <a:gd name="T18" fmla="*/ 27606 w 159"/>
              <a:gd name="T19" fmla="*/ 106363 h 121"/>
              <a:gd name="T20" fmla="*/ 13409 w 159"/>
              <a:gd name="T21" fmla="*/ 106363 h 121"/>
              <a:gd name="T22" fmla="*/ 13409 w 159"/>
              <a:gd name="T23" fmla="*/ 90540 h 121"/>
              <a:gd name="T24" fmla="*/ 13409 w 159"/>
              <a:gd name="T25" fmla="*/ 75597 h 121"/>
              <a:gd name="T26" fmla="*/ 13409 w 159"/>
              <a:gd name="T27" fmla="*/ 60653 h 121"/>
              <a:gd name="T28" fmla="*/ 0 w 159"/>
              <a:gd name="T29" fmla="*/ 29887 h 121"/>
              <a:gd name="T30" fmla="*/ 13409 w 159"/>
              <a:gd name="T31" fmla="*/ 29887 h 121"/>
              <a:gd name="T32" fmla="*/ 27606 w 159"/>
              <a:gd name="T33" fmla="*/ 29887 h 121"/>
              <a:gd name="T34" fmla="*/ 27606 w 159"/>
              <a:gd name="T35" fmla="*/ 14944 h 121"/>
              <a:gd name="T36" fmla="*/ 42593 w 159"/>
              <a:gd name="T37" fmla="*/ 14944 h 121"/>
              <a:gd name="T38" fmla="*/ 42593 w 159"/>
              <a:gd name="T39" fmla="*/ 0 h 121"/>
              <a:gd name="T40" fmla="*/ 69410 w 159"/>
              <a:gd name="T41" fmla="*/ 14944 h 121"/>
              <a:gd name="T42" fmla="*/ 85186 w 159"/>
              <a:gd name="T43" fmla="*/ 14944 h 121"/>
              <a:gd name="T44" fmla="*/ 125412 w 159"/>
              <a:gd name="T45" fmla="*/ 14944 h 121"/>
              <a:gd name="T46" fmla="*/ 125412 w 159"/>
              <a:gd name="T47" fmla="*/ 29887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2" name="Freeform 49"/>
          <p:cNvSpPr>
            <a:spLocks noChangeAspect="1"/>
          </p:cNvSpPr>
          <p:nvPr>
            <p:custDataLst>
              <p:tags r:id="rId23"/>
            </p:custDataLst>
          </p:nvPr>
        </p:nvSpPr>
        <p:spPr bwMode="auto">
          <a:xfrm>
            <a:off x="2620963" y="1765300"/>
            <a:ext cx="41275" cy="30163"/>
          </a:xfrm>
          <a:custGeom>
            <a:avLst/>
            <a:gdLst>
              <a:gd name="T0" fmla="*/ 41275 w 52"/>
              <a:gd name="T1" fmla="*/ 15919 h 36"/>
              <a:gd name="T2" fmla="*/ 13494 w 52"/>
              <a:gd name="T3" fmla="*/ 30163 h 36"/>
              <a:gd name="T4" fmla="*/ 0 w 52"/>
              <a:gd name="T5" fmla="*/ 30163 h 36"/>
              <a:gd name="T6" fmla="*/ 0 w 52"/>
              <a:gd name="T7" fmla="*/ 15919 h 36"/>
              <a:gd name="T8" fmla="*/ 0 w 52"/>
              <a:gd name="T9" fmla="*/ 0 h 36"/>
              <a:gd name="T10" fmla="*/ 27781 w 52"/>
              <a:gd name="T11" fmla="*/ 0 h 36"/>
              <a:gd name="T12" fmla="*/ 41275 w 52"/>
              <a:gd name="T13" fmla="*/ 1591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3" name="Freeform 50"/>
          <p:cNvSpPr>
            <a:spLocks noChangeAspect="1"/>
          </p:cNvSpPr>
          <p:nvPr>
            <p:custDataLst>
              <p:tags r:id="rId24"/>
            </p:custDataLst>
          </p:nvPr>
        </p:nvSpPr>
        <p:spPr bwMode="auto">
          <a:xfrm>
            <a:off x="2524125" y="1520825"/>
            <a:ext cx="111125" cy="46038"/>
          </a:xfrm>
          <a:custGeom>
            <a:avLst/>
            <a:gdLst>
              <a:gd name="T0" fmla="*/ 42259 w 142"/>
              <a:gd name="T1" fmla="*/ 46038 h 50"/>
              <a:gd name="T2" fmla="*/ 28955 w 142"/>
              <a:gd name="T3" fmla="*/ 46038 h 50"/>
              <a:gd name="T4" fmla="*/ 28955 w 142"/>
              <a:gd name="T5" fmla="*/ 30385 h 50"/>
              <a:gd name="T6" fmla="*/ 14869 w 142"/>
              <a:gd name="T7" fmla="*/ 13811 h 50"/>
              <a:gd name="T8" fmla="*/ 0 w 142"/>
              <a:gd name="T9" fmla="*/ 13811 h 50"/>
              <a:gd name="T10" fmla="*/ 0 w 142"/>
              <a:gd name="T11" fmla="*/ 0 h 50"/>
              <a:gd name="T12" fmla="*/ 14869 w 142"/>
              <a:gd name="T13" fmla="*/ 0 h 50"/>
              <a:gd name="T14" fmla="*/ 42259 w 142"/>
              <a:gd name="T15" fmla="*/ 0 h 50"/>
              <a:gd name="T16" fmla="*/ 55563 w 142"/>
              <a:gd name="T17" fmla="*/ 0 h 50"/>
              <a:gd name="T18" fmla="*/ 84518 w 142"/>
              <a:gd name="T19" fmla="*/ 0 h 50"/>
              <a:gd name="T20" fmla="*/ 97821 w 142"/>
              <a:gd name="T21" fmla="*/ 13811 h 50"/>
              <a:gd name="T22" fmla="*/ 111125 w 142"/>
              <a:gd name="T23" fmla="*/ 30385 h 50"/>
              <a:gd name="T24" fmla="*/ 97821 w 142"/>
              <a:gd name="T25" fmla="*/ 30385 h 50"/>
              <a:gd name="T26" fmla="*/ 97821 w 142"/>
              <a:gd name="T27" fmla="*/ 46038 h 50"/>
              <a:gd name="T28" fmla="*/ 84518 w 142"/>
              <a:gd name="T29" fmla="*/ 46038 h 50"/>
              <a:gd name="T30" fmla="*/ 70431 w 142"/>
              <a:gd name="T31" fmla="*/ 30385 h 50"/>
              <a:gd name="T32" fmla="*/ 70431 w 142"/>
              <a:gd name="T33" fmla="*/ 46038 h 50"/>
              <a:gd name="T34" fmla="*/ 55563 w 142"/>
              <a:gd name="T35" fmla="*/ 46038 h 50"/>
              <a:gd name="T36" fmla="*/ 42259 w 142"/>
              <a:gd name="T37" fmla="*/ 46038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4" name="Freeform 51"/>
          <p:cNvSpPr>
            <a:spLocks noChangeAspect="1"/>
          </p:cNvSpPr>
          <p:nvPr>
            <p:custDataLst>
              <p:tags r:id="rId25"/>
            </p:custDataLst>
          </p:nvPr>
        </p:nvSpPr>
        <p:spPr bwMode="auto">
          <a:xfrm>
            <a:off x="2566988" y="1717675"/>
            <a:ext cx="9525" cy="1588"/>
          </a:xfrm>
          <a:custGeom>
            <a:avLst/>
            <a:gdLst>
              <a:gd name="T0" fmla="*/ 0 w 13"/>
              <a:gd name="T1" fmla="*/ 0 h 1588"/>
              <a:gd name="T2" fmla="*/ 9525 w 13"/>
              <a:gd name="T3" fmla="*/ 0 h 1588"/>
              <a:gd name="T4" fmla="*/ 0 w 13"/>
              <a:gd name="T5" fmla="*/ 0 h 1588"/>
              <a:gd name="T6" fmla="*/ 0 60000 65536"/>
              <a:gd name="T7" fmla="*/ 0 60000 65536"/>
              <a:gd name="T8" fmla="*/ 0 60000 65536"/>
              <a:gd name="T9" fmla="*/ 0 w 13"/>
              <a:gd name="T10" fmla="*/ 0 h 1588"/>
              <a:gd name="T11" fmla="*/ 13 w 13"/>
              <a:gd name="T12" fmla="*/ 1588 h 1588"/>
            </a:gdLst>
            <a:ahLst/>
            <a:cxnLst>
              <a:cxn ang="T6">
                <a:pos x="T0" y="T1"/>
              </a:cxn>
              <a:cxn ang="T7">
                <a:pos x="T2" y="T3"/>
              </a:cxn>
              <a:cxn ang="T8">
                <a:pos x="T4" y="T5"/>
              </a:cxn>
            </a:cxnLst>
            <a:rect l="T9" t="T10" r="T11" b="T12"/>
            <a:pathLst>
              <a:path w="13" h="1588">
                <a:moveTo>
                  <a:pt x="0" y="0"/>
                </a:moveTo>
                <a:lnTo>
                  <a:pt x="13" y="0"/>
                </a:lnTo>
                <a:lnTo>
                  <a:pt x="0"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5" name="Freeform 52"/>
          <p:cNvSpPr>
            <a:spLocks noChangeAspect="1"/>
          </p:cNvSpPr>
          <p:nvPr>
            <p:custDataLst>
              <p:tags r:id="rId26"/>
            </p:custDataLst>
          </p:nvPr>
        </p:nvSpPr>
        <p:spPr bwMode="auto">
          <a:xfrm>
            <a:off x="2330450" y="1520825"/>
            <a:ext cx="625475" cy="473075"/>
          </a:xfrm>
          <a:custGeom>
            <a:avLst/>
            <a:gdLst>
              <a:gd name="T0" fmla="*/ 569615 w 795"/>
              <a:gd name="T1" fmla="*/ 349280 h 535"/>
              <a:gd name="T2" fmla="*/ 501954 w 795"/>
              <a:gd name="T3" fmla="*/ 305951 h 535"/>
              <a:gd name="T4" fmla="*/ 501954 w 795"/>
              <a:gd name="T5" fmla="*/ 319215 h 535"/>
              <a:gd name="T6" fmla="*/ 501954 w 795"/>
              <a:gd name="T7" fmla="*/ 334247 h 535"/>
              <a:gd name="T8" fmla="*/ 528703 w 795"/>
              <a:gd name="T9" fmla="*/ 349280 h 535"/>
              <a:gd name="T10" fmla="*/ 556240 w 795"/>
              <a:gd name="T11" fmla="*/ 365196 h 535"/>
              <a:gd name="T12" fmla="*/ 556240 w 795"/>
              <a:gd name="T13" fmla="*/ 412062 h 535"/>
              <a:gd name="T14" fmla="*/ 528703 w 795"/>
              <a:gd name="T15" fmla="*/ 427978 h 535"/>
              <a:gd name="T16" fmla="*/ 487005 w 795"/>
              <a:gd name="T17" fmla="*/ 427978 h 535"/>
              <a:gd name="T18" fmla="*/ 515328 w 795"/>
              <a:gd name="T19" fmla="*/ 473075 h 535"/>
              <a:gd name="T20" fmla="*/ 472843 w 795"/>
              <a:gd name="T21" fmla="*/ 443010 h 535"/>
              <a:gd name="T22" fmla="*/ 405182 w 795"/>
              <a:gd name="T23" fmla="*/ 427978 h 535"/>
              <a:gd name="T24" fmla="*/ 362697 w 795"/>
              <a:gd name="T25" fmla="*/ 380228 h 535"/>
              <a:gd name="T26" fmla="*/ 320212 w 795"/>
              <a:gd name="T27" fmla="*/ 365196 h 535"/>
              <a:gd name="T28" fmla="*/ 264352 w 795"/>
              <a:gd name="T29" fmla="*/ 365196 h 535"/>
              <a:gd name="T30" fmla="*/ 291888 w 795"/>
              <a:gd name="T31" fmla="*/ 349280 h 535"/>
              <a:gd name="T32" fmla="*/ 334373 w 795"/>
              <a:gd name="T33" fmla="*/ 349280 h 535"/>
              <a:gd name="T34" fmla="*/ 347748 w 795"/>
              <a:gd name="T35" fmla="*/ 334247 h 535"/>
              <a:gd name="T36" fmla="*/ 347748 w 795"/>
              <a:gd name="T37" fmla="*/ 305951 h 535"/>
              <a:gd name="T38" fmla="*/ 376072 w 795"/>
              <a:gd name="T39" fmla="*/ 290035 h 535"/>
              <a:gd name="T40" fmla="*/ 347748 w 795"/>
              <a:gd name="T41" fmla="*/ 213989 h 535"/>
              <a:gd name="T42" fmla="*/ 306837 w 795"/>
              <a:gd name="T43" fmla="*/ 213989 h 535"/>
              <a:gd name="T44" fmla="*/ 306837 w 795"/>
              <a:gd name="T45" fmla="*/ 198957 h 535"/>
              <a:gd name="T46" fmla="*/ 250977 w 795"/>
              <a:gd name="T47" fmla="*/ 151207 h 535"/>
              <a:gd name="T48" fmla="*/ 224227 w 795"/>
              <a:gd name="T49" fmla="*/ 181272 h 535"/>
              <a:gd name="T50" fmla="*/ 181742 w 795"/>
              <a:gd name="T51" fmla="*/ 151207 h 535"/>
              <a:gd name="T52" fmla="*/ 98345 w 795"/>
              <a:gd name="T53" fmla="*/ 151207 h 535"/>
              <a:gd name="T54" fmla="*/ 57434 w 795"/>
              <a:gd name="T55" fmla="*/ 151207 h 535"/>
              <a:gd name="T56" fmla="*/ 15735 w 795"/>
              <a:gd name="T57" fmla="*/ 120258 h 535"/>
              <a:gd name="T58" fmla="*/ 57434 w 795"/>
              <a:gd name="T59" fmla="*/ 120258 h 535"/>
              <a:gd name="T60" fmla="*/ 15735 w 795"/>
              <a:gd name="T61" fmla="*/ 105226 h 535"/>
              <a:gd name="T62" fmla="*/ 15735 w 795"/>
              <a:gd name="T63" fmla="*/ 59245 h 535"/>
              <a:gd name="T64" fmla="*/ 44059 w 795"/>
              <a:gd name="T65" fmla="*/ 0 h 535"/>
              <a:gd name="T66" fmla="*/ 98345 w 795"/>
              <a:gd name="T67" fmla="*/ 0 h 535"/>
              <a:gd name="T68" fmla="*/ 71595 w 795"/>
              <a:gd name="T69" fmla="*/ 44213 h 535"/>
              <a:gd name="T70" fmla="*/ 84970 w 795"/>
              <a:gd name="T71" fmla="*/ 75161 h 535"/>
              <a:gd name="T72" fmla="*/ 98345 w 795"/>
              <a:gd name="T73" fmla="*/ 44213 h 535"/>
              <a:gd name="T74" fmla="*/ 181742 w 795"/>
              <a:gd name="T75" fmla="*/ 0 h 535"/>
              <a:gd name="T76" fmla="*/ 210065 w 795"/>
              <a:gd name="T77" fmla="*/ 59245 h 535"/>
              <a:gd name="T78" fmla="*/ 250977 w 795"/>
              <a:gd name="T79" fmla="*/ 59245 h 535"/>
              <a:gd name="T80" fmla="*/ 291888 w 795"/>
              <a:gd name="T81" fmla="*/ 44213 h 535"/>
              <a:gd name="T82" fmla="*/ 334373 w 795"/>
              <a:gd name="T83" fmla="*/ 75161 h 535"/>
              <a:gd name="T84" fmla="*/ 390233 w 795"/>
              <a:gd name="T85" fmla="*/ 105226 h 535"/>
              <a:gd name="T86" fmla="*/ 431932 w 795"/>
              <a:gd name="T87" fmla="*/ 120258 h 535"/>
              <a:gd name="T88" fmla="*/ 472843 w 795"/>
              <a:gd name="T89" fmla="*/ 151207 h 535"/>
              <a:gd name="T90" fmla="*/ 515328 w 795"/>
              <a:gd name="T91" fmla="*/ 166239 h 535"/>
              <a:gd name="T92" fmla="*/ 472843 w 795"/>
              <a:gd name="T93" fmla="*/ 181272 h 535"/>
              <a:gd name="T94" fmla="*/ 515328 w 795"/>
              <a:gd name="T95" fmla="*/ 181272 h 535"/>
              <a:gd name="T96" fmla="*/ 487005 w 795"/>
              <a:gd name="T97" fmla="*/ 213989 h 535"/>
              <a:gd name="T98" fmla="*/ 515328 w 795"/>
              <a:gd name="T99" fmla="*/ 229021 h 535"/>
              <a:gd name="T100" fmla="*/ 556240 w 795"/>
              <a:gd name="T101" fmla="*/ 259970 h 535"/>
              <a:gd name="T102" fmla="*/ 582990 w 795"/>
              <a:gd name="T103" fmla="*/ 275002 h 535"/>
              <a:gd name="T104" fmla="*/ 612100 w 795"/>
              <a:gd name="T105" fmla="*/ 305951 h 535"/>
              <a:gd name="T106" fmla="*/ 612100 w 795"/>
              <a:gd name="T107" fmla="*/ 319215 h 535"/>
              <a:gd name="T108" fmla="*/ 582990 w 795"/>
              <a:gd name="T109" fmla="*/ 3342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6" name="Freeform 53"/>
          <p:cNvSpPr>
            <a:spLocks noChangeAspect="1"/>
          </p:cNvSpPr>
          <p:nvPr>
            <p:custDataLst>
              <p:tags r:id="rId27"/>
            </p:custDataLst>
          </p:nvPr>
        </p:nvSpPr>
        <p:spPr bwMode="auto">
          <a:xfrm>
            <a:off x="2705100" y="987425"/>
            <a:ext cx="1274763" cy="1066800"/>
          </a:xfrm>
          <a:custGeom>
            <a:avLst/>
            <a:gdLst>
              <a:gd name="T0" fmla="*/ 471930 w 1618"/>
              <a:gd name="T1" fmla="*/ 685611 h 1209"/>
              <a:gd name="T2" fmla="*/ 415204 w 1618"/>
              <a:gd name="T3" fmla="*/ 670610 h 1209"/>
              <a:gd name="T4" fmla="*/ 415204 w 1618"/>
              <a:gd name="T5" fmla="*/ 624727 h 1209"/>
              <a:gd name="T6" fmla="*/ 360841 w 1618"/>
              <a:gd name="T7" fmla="*/ 624727 h 1209"/>
              <a:gd name="T8" fmla="*/ 360841 w 1618"/>
              <a:gd name="T9" fmla="*/ 563842 h 1209"/>
              <a:gd name="T10" fmla="*/ 276540 w 1618"/>
              <a:gd name="T11" fmla="*/ 442073 h 1209"/>
              <a:gd name="T12" fmla="*/ 166239 w 1618"/>
              <a:gd name="T13" fmla="*/ 426191 h 1209"/>
              <a:gd name="T14" fmla="*/ 123695 w 1618"/>
              <a:gd name="T15" fmla="*/ 426191 h 1209"/>
              <a:gd name="T16" fmla="*/ 96119 w 1618"/>
              <a:gd name="T17" fmla="*/ 396190 h 1209"/>
              <a:gd name="T18" fmla="*/ 41757 w 1618"/>
              <a:gd name="T19" fmla="*/ 381189 h 1209"/>
              <a:gd name="T20" fmla="*/ 96119 w 1618"/>
              <a:gd name="T21" fmla="*/ 365306 h 1209"/>
              <a:gd name="T22" fmla="*/ 123695 w 1618"/>
              <a:gd name="T23" fmla="*/ 335305 h 1209"/>
              <a:gd name="T24" fmla="*/ 28363 w 1618"/>
              <a:gd name="T25" fmla="*/ 335305 h 1209"/>
              <a:gd name="T26" fmla="*/ 55938 w 1618"/>
              <a:gd name="T27" fmla="*/ 289421 h 1209"/>
              <a:gd name="T28" fmla="*/ 138664 w 1618"/>
              <a:gd name="T29" fmla="*/ 258538 h 1209"/>
              <a:gd name="T30" fmla="*/ 110301 w 1618"/>
              <a:gd name="T31" fmla="*/ 199418 h 1209"/>
              <a:gd name="T32" fmla="*/ 207208 w 1618"/>
              <a:gd name="T33" fmla="*/ 136769 h 1209"/>
              <a:gd name="T34" fmla="*/ 276540 w 1618"/>
              <a:gd name="T35" fmla="*/ 106768 h 1209"/>
              <a:gd name="T36" fmla="*/ 375023 w 1618"/>
              <a:gd name="T37" fmla="*/ 75885 h 1209"/>
              <a:gd name="T38" fmla="*/ 415204 w 1618"/>
              <a:gd name="T39" fmla="*/ 90885 h 1209"/>
              <a:gd name="T40" fmla="*/ 512111 w 1618"/>
              <a:gd name="T41" fmla="*/ 75885 h 1209"/>
              <a:gd name="T42" fmla="*/ 526293 w 1618"/>
              <a:gd name="T43" fmla="*/ 75885 h 1209"/>
              <a:gd name="T44" fmla="*/ 553080 w 1618"/>
              <a:gd name="T45" fmla="*/ 30001 h 1209"/>
              <a:gd name="T46" fmla="*/ 651563 w 1618"/>
              <a:gd name="T47" fmla="*/ 30001 h 1209"/>
              <a:gd name="T48" fmla="*/ 761864 w 1618"/>
              <a:gd name="T49" fmla="*/ 0 h 1209"/>
              <a:gd name="T50" fmla="*/ 942285 w 1618"/>
              <a:gd name="T51" fmla="*/ 15000 h 1209"/>
              <a:gd name="T52" fmla="*/ 1080949 w 1618"/>
              <a:gd name="T53" fmla="*/ 60884 h 1209"/>
              <a:gd name="T54" fmla="*/ 928103 w 1618"/>
              <a:gd name="T55" fmla="*/ 90885 h 1209"/>
              <a:gd name="T56" fmla="*/ 955678 w 1618"/>
              <a:gd name="T57" fmla="*/ 90885 h 1209"/>
              <a:gd name="T58" fmla="*/ 998223 w 1618"/>
              <a:gd name="T59" fmla="*/ 136769 h 1209"/>
              <a:gd name="T60" fmla="*/ 1080949 w 1618"/>
              <a:gd name="T61" fmla="*/ 121769 h 1209"/>
              <a:gd name="T62" fmla="*/ 1080949 w 1618"/>
              <a:gd name="T63" fmla="*/ 136769 h 1209"/>
              <a:gd name="T64" fmla="*/ 1164462 w 1618"/>
              <a:gd name="T65" fmla="*/ 121769 h 1209"/>
              <a:gd name="T66" fmla="*/ 1233794 w 1618"/>
              <a:gd name="T67" fmla="*/ 106768 h 1209"/>
              <a:gd name="T68" fmla="*/ 1274763 w 1618"/>
              <a:gd name="T69" fmla="*/ 136769 h 1209"/>
              <a:gd name="T70" fmla="*/ 1191250 w 1618"/>
              <a:gd name="T71" fmla="*/ 199418 h 1209"/>
              <a:gd name="T72" fmla="*/ 1136887 w 1618"/>
              <a:gd name="T73" fmla="*/ 230302 h 1209"/>
              <a:gd name="T74" fmla="*/ 1094342 w 1618"/>
              <a:gd name="T75" fmla="*/ 289421 h 1209"/>
              <a:gd name="T76" fmla="*/ 1136887 w 1618"/>
              <a:gd name="T77" fmla="*/ 319422 h 1209"/>
              <a:gd name="T78" fmla="*/ 1164462 w 1618"/>
              <a:gd name="T79" fmla="*/ 365306 h 1209"/>
              <a:gd name="T80" fmla="*/ 1094342 w 1618"/>
              <a:gd name="T81" fmla="*/ 396190 h 1209"/>
              <a:gd name="T82" fmla="*/ 1136887 w 1618"/>
              <a:gd name="T83" fmla="*/ 457074 h 1209"/>
              <a:gd name="T84" fmla="*/ 1136887 w 1618"/>
              <a:gd name="T85" fmla="*/ 487075 h 1209"/>
              <a:gd name="T86" fmla="*/ 1080949 w 1618"/>
              <a:gd name="T87" fmla="*/ 547959 h 1209"/>
              <a:gd name="T88" fmla="*/ 1067555 w 1618"/>
              <a:gd name="T89" fmla="*/ 547959 h 1209"/>
              <a:gd name="T90" fmla="*/ 1039980 w 1618"/>
              <a:gd name="T91" fmla="*/ 578843 h 1209"/>
              <a:gd name="T92" fmla="*/ 1080949 w 1618"/>
              <a:gd name="T93" fmla="*/ 624727 h 1209"/>
              <a:gd name="T94" fmla="*/ 1039980 w 1618"/>
              <a:gd name="T95" fmla="*/ 639727 h 1209"/>
              <a:gd name="T96" fmla="*/ 1013192 w 1618"/>
              <a:gd name="T97" fmla="*/ 685611 h 1209"/>
              <a:gd name="T98" fmla="*/ 1026586 w 1618"/>
              <a:gd name="T99" fmla="*/ 715612 h 1209"/>
              <a:gd name="T100" fmla="*/ 886346 w 1618"/>
              <a:gd name="T101" fmla="*/ 761496 h 1209"/>
              <a:gd name="T102" fmla="*/ 845378 w 1618"/>
              <a:gd name="T103" fmla="*/ 792379 h 1209"/>
              <a:gd name="T104" fmla="*/ 775258 w 1618"/>
              <a:gd name="T105" fmla="*/ 853263 h 1209"/>
              <a:gd name="T106" fmla="*/ 735077 w 1618"/>
              <a:gd name="T107" fmla="*/ 853263 h 1209"/>
              <a:gd name="T108" fmla="*/ 679138 w 1618"/>
              <a:gd name="T109" fmla="*/ 914148 h 1209"/>
              <a:gd name="T110" fmla="*/ 636594 w 1618"/>
              <a:gd name="T111" fmla="*/ 975032 h 1209"/>
              <a:gd name="T112" fmla="*/ 622412 w 1618"/>
              <a:gd name="T113" fmla="*/ 1066800 h 1209"/>
              <a:gd name="T114" fmla="*/ 582231 w 1618"/>
              <a:gd name="T115" fmla="*/ 1050917 h 1209"/>
              <a:gd name="T116" fmla="*/ 512111 w 1618"/>
              <a:gd name="T117" fmla="*/ 1020916 h 1209"/>
              <a:gd name="T118" fmla="*/ 456173 w 1618"/>
              <a:gd name="T119" fmla="*/ 944149 h 1209"/>
              <a:gd name="T120" fmla="*/ 442779 w 1618"/>
              <a:gd name="T121" fmla="*/ 899147 h 1209"/>
              <a:gd name="T122" fmla="*/ 401810 w 1618"/>
              <a:gd name="T123" fmla="*/ 840028 h 1209"/>
              <a:gd name="T124" fmla="*/ 429386 w 1618"/>
              <a:gd name="T125" fmla="*/ 761496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chemeClr val="bg1"/>
          </a:solidFill>
          <a:ln w="9525">
            <a:solidFill>
              <a:schemeClr val="bg2"/>
            </a:solidFill>
            <a:round/>
            <a:headEnd/>
            <a:tailEnd/>
          </a:ln>
        </p:spPr>
        <p:txBody>
          <a:bodyPr/>
          <a:lstStyle/>
          <a:p>
            <a:endParaRPr lang="en-US" dirty="0"/>
          </a:p>
        </p:txBody>
      </p:sp>
      <p:sp>
        <p:nvSpPr>
          <p:cNvPr id="18487" name="Freeform 54"/>
          <p:cNvSpPr>
            <a:spLocks noChangeAspect="1"/>
          </p:cNvSpPr>
          <p:nvPr>
            <p:custDataLst>
              <p:tags r:id="rId28"/>
            </p:custDataLst>
          </p:nvPr>
        </p:nvSpPr>
        <p:spPr bwMode="auto">
          <a:xfrm>
            <a:off x="3079750" y="1671638"/>
            <a:ext cx="69850" cy="46037"/>
          </a:xfrm>
          <a:custGeom>
            <a:avLst/>
            <a:gdLst>
              <a:gd name="T0" fmla="*/ 13808 w 86"/>
              <a:gd name="T1" fmla="*/ 46037 h 52"/>
              <a:gd name="T2" fmla="*/ 13808 w 86"/>
              <a:gd name="T3" fmla="*/ 30101 h 52"/>
              <a:gd name="T4" fmla="*/ 0 w 86"/>
              <a:gd name="T5" fmla="*/ 15051 h 52"/>
              <a:gd name="T6" fmla="*/ 0 w 86"/>
              <a:gd name="T7" fmla="*/ 0 h 52"/>
              <a:gd name="T8" fmla="*/ 13808 w 86"/>
              <a:gd name="T9" fmla="*/ 0 h 52"/>
              <a:gd name="T10" fmla="*/ 27615 w 86"/>
              <a:gd name="T11" fmla="*/ 0 h 52"/>
              <a:gd name="T12" fmla="*/ 41423 w 86"/>
              <a:gd name="T13" fmla="*/ 0 h 52"/>
              <a:gd name="T14" fmla="*/ 69850 w 86"/>
              <a:gd name="T15" fmla="*/ 15051 h 52"/>
              <a:gd name="T16" fmla="*/ 56042 w 86"/>
              <a:gd name="T17" fmla="*/ 30101 h 52"/>
              <a:gd name="T18" fmla="*/ 41423 w 86"/>
              <a:gd name="T19" fmla="*/ 46037 h 52"/>
              <a:gd name="T20" fmla="*/ 27615 w 86"/>
              <a:gd name="T21" fmla="*/ 46037 h 52"/>
              <a:gd name="T22" fmla="*/ 13808 w 86"/>
              <a:gd name="T23" fmla="*/ 4603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chemeClr val="bg1"/>
          </a:solidFill>
          <a:ln w="9525">
            <a:solidFill>
              <a:schemeClr val="bg2"/>
            </a:solidFill>
            <a:prstDash val="solid"/>
            <a:round/>
            <a:headEnd/>
            <a:tailEnd/>
          </a:ln>
        </p:spPr>
        <p:txBody>
          <a:bodyPr/>
          <a:lstStyle/>
          <a:p>
            <a:endParaRPr lang="en-US" dirty="0"/>
          </a:p>
        </p:txBody>
      </p:sp>
      <p:sp>
        <p:nvSpPr>
          <p:cNvPr id="18488" name="Freeform 55"/>
          <p:cNvSpPr>
            <a:spLocks noChangeAspect="1"/>
          </p:cNvSpPr>
          <p:nvPr>
            <p:custDataLst>
              <p:tags r:id="rId29"/>
            </p:custDataLst>
          </p:nvPr>
        </p:nvSpPr>
        <p:spPr bwMode="auto">
          <a:xfrm>
            <a:off x="2566988" y="1717675"/>
            <a:ext cx="9525" cy="1588"/>
          </a:xfrm>
          <a:custGeom>
            <a:avLst/>
            <a:gdLst>
              <a:gd name="T0" fmla="*/ 0 w 13"/>
              <a:gd name="T1" fmla="*/ 0 h 1588"/>
              <a:gd name="T2" fmla="*/ 9525 w 13"/>
              <a:gd name="T3" fmla="*/ 0 h 1588"/>
              <a:gd name="T4" fmla="*/ 0 w 13"/>
              <a:gd name="T5" fmla="*/ 0 h 1588"/>
              <a:gd name="T6" fmla="*/ 0 60000 65536"/>
              <a:gd name="T7" fmla="*/ 0 60000 65536"/>
              <a:gd name="T8" fmla="*/ 0 60000 65536"/>
              <a:gd name="T9" fmla="*/ 0 w 13"/>
              <a:gd name="T10" fmla="*/ 0 h 1588"/>
              <a:gd name="T11" fmla="*/ 13 w 13"/>
              <a:gd name="T12" fmla="*/ 1588 h 1588"/>
            </a:gdLst>
            <a:ahLst/>
            <a:cxnLst>
              <a:cxn ang="T6">
                <a:pos x="T0" y="T1"/>
              </a:cxn>
              <a:cxn ang="T7">
                <a:pos x="T2" y="T3"/>
              </a:cxn>
              <a:cxn ang="T8">
                <a:pos x="T4" y="T5"/>
              </a:cxn>
            </a:cxnLst>
            <a:rect l="T9" t="T10" r="T11" b="T12"/>
            <a:pathLst>
              <a:path w="13" h="1588">
                <a:moveTo>
                  <a:pt x="0" y="0"/>
                </a:moveTo>
                <a:lnTo>
                  <a:pt x="13" y="0"/>
                </a:lnTo>
                <a:lnTo>
                  <a:pt x="0" y="0"/>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89" name="Freeform 56"/>
          <p:cNvSpPr>
            <a:spLocks noChangeAspect="1"/>
          </p:cNvSpPr>
          <p:nvPr>
            <p:custDataLst>
              <p:tags r:id="rId30"/>
            </p:custDataLst>
          </p:nvPr>
        </p:nvSpPr>
        <p:spPr bwMode="auto">
          <a:xfrm>
            <a:off x="3759200" y="1825625"/>
            <a:ext cx="209550" cy="92075"/>
          </a:xfrm>
          <a:custGeom>
            <a:avLst/>
            <a:gdLst>
              <a:gd name="T0" fmla="*/ 209550 w 265"/>
              <a:gd name="T1" fmla="*/ 43803 h 103"/>
              <a:gd name="T2" fmla="*/ 193735 w 265"/>
              <a:gd name="T3" fmla="*/ 43803 h 103"/>
              <a:gd name="T4" fmla="*/ 180292 w 265"/>
              <a:gd name="T5" fmla="*/ 61681 h 103"/>
              <a:gd name="T6" fmla="*/ 180292 w 265"/>
              <a:gd name="T7" fmla="*/ 76878 h 103"/>
              <a:gd name="T8" fmla="*/ 153406 w 265"/>
              <a:gd name="T9" fmla="*/ 76878 h 103"/>
              <a:gd name="T10" fmla="*/ 139173 w 265"/>
              <a:gd name="T11" fmla="*/ 92075 h 103"/>
              <a:gd name="T12" fmla="*/ 110706 w 265"/>
              <a:gd name="T13" fmla="*/ 92075 h 103"/>
              <a:gd name="T14" fmla="*/ 83029 w 265"/>
              <a:gd name="T15" fmla="*/ 92075 h 103"/>
              <a:gd name="T16" fmla="*/ 69586 w 265"/>
              <a:gd name="T17" fmla="*/ 92075 h 103"/>
              <a:gd name="T18" fmla="*/ 41910 w 265"/>
              <a:gd name="T19" fmla="*/ 76878 h 103"/>
              <a:gd name="T20" fmla="*/ 26886 w 265"/>
              <a:gd name="T21" fmla="*/ 61681 h 103"/>
              <a:gd name="T22" fmla="*/ 13443 w 265"/>
              <a:gd name="T23" fmla="*/ 61681 h 103"/>
              <a:gd name="T24" fmla="*/ 26886 w 265"/>
              <a:gd name="T25" fmla="*/ 61681 h 103"/>
              <a:gd name="T26" fmla="*/ 26886 w 265"/>
              <a:gd name="T27" fmla="*/ 43803 h 103"/>
              <a:gd name="T28" fmla="*/ 13443 w 265"/>
              <a:gd name="T29" fmla="*/ 43803 h 103"/>
              <a:gd name="T30" fmla="*/ 0 w 265"/>
              <a:gd name="T31" fmla="*/ 43803 h 103"/>
              <a:gd name="T32" fmla="*/ 26886 w 265"/>
              <a:gd name="T33" fmla="*/ 43803 h 103"/>
              <a:gd name="T34" fmla="*/ 41910 w 265"/>
              <a:gd name="T35" fmla="*/ 28606 h 103"/>
              <a:gd name="T36" fmla="*/ 26886 w 265"/>
              <a:gd name="T37" fmla="*/ 28606 h 103"/>
              <a:gd name="T38" fmla="*/ 13443 w 265"/>
              <a:gd name="T39" fmla="*/ 28606 h 103"/>
              <a:gd name="T40" fmla="*/ 0 w 265"/>
              <a:gd name="T41" fmla="*/ 13409 h 103"/>
              <a:gd name="T42" fmla="*/ 0 w 265"/>
              <a:gd name="T43" fmla="*/ 0 h 103"/>
              <a:gd name="T44" fmla="*/ 0 w 265"/>
              <a:gd name="T45" fmla="*/ 13409 h 103"/>
              <a:gd name="T46" fmla="*/ 0 w 265"/>
              <a:gd name="T47" fmla="*/ 0 h 103"/>
              <a:gd name="T48" fmla="*/ 13443 w 265"/>
              <a:gd name="T49" fmla="*/ 0 h 103"/>
              <a:gd name="T50" fmla="*/ 26886 w 265"/>
              <a:gd name="T51" fmla="*/ 0 h 103"/>
              <a:gd name="T52" fmla="*/ 41910 w 265"/>
              <a:gd name="T53" fmla="*/ 13409 h 103"/>
              <a:gd name="T54" fmla="*/ 41910 w 265"/>
              <a:gd name="T55" fmla="*/ 28606 h 103"/>
              <a:gd name="T56" fmla="*/ 41910 w 265"/>
              <a:gd name="T57" fmla="*/ 13409 h 103"/>
              <a:gd name="T58" fmla="*/ 56144 w 265"/>
              <a:gd name="T59" fmla="*/ 13409 h 103"/>
              <a:gd name="T60" fmla="*/ 56144 w 265"/>
              <a:gd name="T61" fmla="*/ 0 h 103"/>
              <a:gd name="T62" fmla="*/ 56144 w 265"/>
              <a:gd name="T63" fmla="*/ 13409 h 103"/>
              <a:gd name="T64" fmla="*/ 69586 w 265"/>
              <a:gd name="T65" fmla="*/ 13409 h 103"/>
              <a:gd name="T66" fmla="*/ 83029 w 265"/>
              <a:gd name="T67" fmla="*/ 13409 h 103"/>
              <a:gd name="T68" fmla="*/ 83029 w 265"/>
              <a:gd name="T69" fmla="*/ 0 h 103"/>
              <a:gd name="T70" fmla="*/ 97263 w 265"/>
              <a:gd name="T71" fmla="*/ 0 h 103"/>
              <a:gd name="T72" fmla="*/ 110706 w 265"/>
              <a:gd name="T73" fmla="*/ 0 h 103"/>
              <a:gd name="T74" fmla="*/ 125730 w 265"/>
              <a:gd name="T75" fmla="*/ 13409 h 103"/>
              <a:gd name="T76" fmla="*/ 125730 w 265"/>
              <a:gd name="T77" fmla="*/ 0 h 103"/>
              <a:gd name="T78" fmla="*/ 139173 w 265"/>
              <a:gd name="T79" fmla="*/ 0 h 103"/>
              <a:gd name="T80" fmla="*/ 153406 w 265"/>
              <a:gd name="T81" fmla="*/ 0 h 103"/>
              <a:gd name="T82" fmla="*/ 166849 w 265"/>
              <a:gd name="T83" fmla="*/ 0 h 103"/>
              <a:gd name="T84" fmla="*/ 180292 w 265"/>
              <a:gd name="T85" fmla="*/ 0 h 103"/>
              <a:gd name="T86" fmla="*/ 180292 w 265"/>
              <a:gd name="T87" fmla="*/ 28606 h 103"/>
              <a:gd name="T88" fmla="*/ 209550 w 265"/>
              <a:gd name="T89" fmla="*/ 43803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chemeClr val="bg1"/>
          </a:solidFill>
          <a:ln w="9525">
            <a:solidFill>
              <a:schemeClr val="bg2"/>
            </a:solidFill>
            <a:round/>
            <a:headEnd/>
            <a:tailEnd/>
          </a:ln>
        </p:spPr>
        <p:txBody>
          <a:bodyPr/>
          <a:lstStyle/>
          <a:p>
            <a:endParaRPr lang="en-US" dirty="0"/>
          </a:p>
        </p:txBody>
      </p:sp>
      <p:sp>
        <p:nvSpPr>
          <p:cNvPr id="18490" name="Freeform 57"/>
          <p:cNvSpPr>
            <a:spLocks noChangeAspect="1"/>
          </p:cNvSpPr>
          <p:nvPr>
            <p:custDataLst>
              <p:tags r:id="rId31"/>
            </p:custDataLst>
          </p:nvPr>
        </p:nvSpPr>
        <p:spPr bwMode="auto">
          <a:xfrm>
            <a:off x="2662238" y="1765300"/>
            <a:ext cx="28575" cy="15875"/>
          </a:xfrm>
          <a:custGeom>
            <a:avLst/>
            <a:gdLst>
              <a:gd name="T0" fmla="*/ 13494 w 36"/>
              <a:gd name="T1" fmla="*/ 15875 h 17"/>
              <a:gd name="T2" fmla="*/ 0 w 36"/>
              <a:gd name="T3" fmla="*/ 15875 h 17"/>
              <a:gd name="T4" fmla="*/ 0 w 36"/>
              <a:gd name="T5" fmla="*/ 0 h 17"/>
              <a:gd name="T6" fmla="*/ 13494 w 36"/>
              <a:gd name="T7" fmla="*/ 0 h 17"/>
              <a:gd name="T8" fmla="*/ 28575 w 36"/>
              <a:gd name="T9" fmla="*/ 15875 h 17"/>
              <a:gd name="T10" fmla="*/ 13494 w 36"/>
              <a:gd name="T11" fmla="*/ 15875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000080"/>
          </a:solidFill>
          <a:ln w="9525">
            <a:solidFill>
              <a:schemeClr val="bg2"/>
            </a:solidFill>
            <a:prstDash val="solid"/>
            <a:round/>
            <a:headEnd/>
            <a:tailEnd/>
          </a:ln>
        </p:spPr>
        <p:txBody>
          <a:bodyPr/>
          <a:lstStyle/>
          <a:p>
            <a:endParaRPr lang="en-US" dirty="0"/>
          </a:p>
        </p:txBody>
      </p:sp>
      <p:sp>
        <p:nvSpPr>
          <p:cNvPr id="18491" name="Freeform 58"/>
          <p:cNvSpPr>
            <a:spLocks noChangeAspect="1"/>
          </p:cNvSpPr>
          <p:nvPr>
            <p:custDataLst>
              <p:tags r:id="rId32"/>
            </p:custDataLst>
          </p:nvPr>
        </p:nvSpPr>
        <p:spPr bwMode="auto">
          <a:xfrm>
            <a:off x="3841750" y="1428750"/>
            <a:ext cx="57150" cy="33338"/>
          </a:xfrm>
          <a:custGeom>
            <a:avLst/>
            <a:gdLst>
              <a:gd name="T0" fmla="*/ 14080 w 69"/>
              <a:gd name="T1" fmla="*/ 33338 h 36"/>
              <a:gd name="T2" fmla="*/ 14080 w 69"/>
              <a:gd name="T3" fmla="*/ 17595 h 36"/>
              <a:gd name="T4" fmla="*/ 0 w 69"/>
              <a:gd name="T5" fmla="*/ 17595 h 36"/>
              <a:gd name="T6" fmla="*/ 14080 w 69"/>
              <a:gd name="T7" fmla="*/ 17595 h 36"/>
              <a:gd name="T8" fmla="*/ 14080 w 69"/>
              <a:gd name="T9" fmla="*/ 0 h 36"/>
              <a:gd name="T10" fmla="*/ 28989 w 69"/>
              <a:gd name="T11" fmla="*/ 0 h 36"/>
              <a:gd name="T12" fmla="*/ 28989 w 69"/>
              <a:gd name="T13" fmla="*/ 17595 h 36"/>
              <a:gd name="T14" fmla="*/ 43070 w 69"/>
              <a:gd name="T15" fmla="*/ 17595 h 36"/>
              <a:gd name="T16" fmla="*/ 57150 w 69"/>
              <a:gd name="T17" fmla="*/ 17595 h 36"/>
              <a:gd name="T18" fmla="*/ 43070 w 69"/>
              <a:gd name="T19" fmla="*/ 17595 h 36"/>
              <a:gd name="T20" fmla="*/ 28989 w 69"/>
              <a:gd name="T21" fmla="*/ 33338 h 36"/>
              <a:gd name="T22" fmla="*/ 14080 w 69"/>
              <a:gd name="T23" fmla="*/ 33338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chemeClr val="bg1"/>
          </a:solidFill>
          <a:ln w="9525">
            <a:solidFill>
              <a:schemeClr val="bg2"/>
            </a:solidFill>
            <a:prstDash val="solid"/>
            <a:round/>
            <a:headEnd/>
            <a:tailEnd/>
          </a:ln>
        </p:spPr>
        <p:txBody>
          <a:bodyPr/>
          <a:lstStyle/>
          <a:p>
            <a:endParaRPr lang="en-US" dirty="0"/>
          </a:p>
        </p:txBody>
      </p:sp>
      <p:sp>
        <p:nvSpPr>
          <p:cNvPr id="18492" name="Freeform 59"/>
          <p:cNvSpPr>
            <a:spLocks noChangeAspect="1"/>
          </p:cNvSpPr>
          <p:nvPr>
            <p:custDataLst>
              <p:tags r:id="rId33"/>
            </p:custDataLst>
          </p:nvPr>
        </p:nvSpPr>
        <p:spPr bwMode="auto">
          <a:xfrm>
            <a:off x="663575" y="1620838"/>
            <a:ext cx="808038" cy="860425"/>
          </a:xfrm>
          <a:custGeom>
            <a:avLst/>
            <a:gdLst>
              <a:gd name="T0" fmla="*/ 808038 w 1023"/>
              <a:gd name="T1" fmla="*/ 833950 h 975"/>
              <a:gd name="T2" fmla="*/ 766965 w 1023"/>
              <a:gd name="T3" fmla="*/ 762469 h 975"/>
              <a:gd name="T4" fmla="*/ 710884 w 1023"/>
              <a:gd name="T5" fmla="*/ 677750 h 975"/>
              <a:gd name="T6" fmla="*/ 669811 w 1023"/>
              <a:gd name="T7" fmla="*/ 648628 h 975"/>
              <a:gd name="T8" fmla="*/ 615310 w 1023"/>
              <a:gd name="T9" fmla="*/ 622154 h 975"/>
              <a:gd name="T10" fmla="*/ 574236 w 1023"/>
              <a:gd name="T11" fmla="*/ 622154 h 975"/>
              <a:gd name="T12" fmla="*/ 574236 w 1023"/>
              <a:gd name="T13" fmla="*/ 113841 h 975"/>
              <a:gd name="T14" fmla="*/ 492880 w 1023"/>
              <a:gd name="T15" fmla="*/ 98839 h 975"/>
              <a:gd name="T16" fmla="*/ 438378 w 1023"/>
              <a:gd name="T17" fmla="*/ 84719 h 975"/>
              <a:gd name="T18" fmla="*/ 342804 w 1023"/>
              <a:gd name="T19" fmla="*/ 56479 h 975"/>
              <a:gd name="T20" fmla="*/ 287513 w 1023"/>
              <a:gd name="T21" fmla="*/ 29122 h 975"/>
              <a:gd name="T22" fmla="*/ 247230 w 1023"/>
              <a:gd name="T23" fmla="*/ 0 h 975"/>
              <a:gd name="T24" fmla="*/ 192729 w 1023"/>
              <a:gd name="T25" fmla="*/ 42359 h 975"/>
              <a:gd name="T26" fmla="*/ 137438 w 1023"/>
              <a:gd name="T27" fmla="*/ 71481 h 975"/>
              <a:gd name="T28" fmla="*/ 97154 w 1023"/>
              <a:gd name="T29" fmla="*/ 156200 h 975"/>
              <a:gd name="T30" fmla="*/ 26856 w 1023"/>
              <a:gd name="T31" fmla="*/ 198560 h 975"/>
              <a:gd name="T32" fmla="*/ 97154 w 1023"/>
              <a:gd name="T33" fmla="*/ 268276 h 975"/>
              <a:gd name="T34" fmla="*/ 124010 w 1023"/>
              <a:gd name="T35" fmla="*/ 325638 h 975"/>
              <a:gd name="T36" fmla="*/ 81357 w 1023"/>
              <a:gd name="T37" fmla="*/ 296516 h 975"/>
              <a:gd name="T38" fmla="*/ 13428 w 1023"/>
              <a:gd name="T39" fmla="*/ 325638 h 975"/>
              <a:gd name="T40" fmla="*/ 26856 w 1023"/>
              <a:gd name="T41" fmla="*/ 367997 h 975"/>
              <a:gd name="T42" fmla="*/ 26856 w 1023"/>
              <a:gd name="T43" fmla="*/ 395354 h 975"/>
              <a:gd name="T44" fmla="*/ 81357 w 1023"/>
              <a:gd name="T45" fmla="*/ 410357 h 975"/>
              <a:gd name="T46" fmla="*/ 137438 w 1023"/>
              <a:gd name="T47" fmla="*/ 395354 h 975"/>
              <a:gd name="T48" fmla="*/ 151655 w 1023"/>
              <a:gd name="T49" fmla="*/ 436831 h 975"/>
              <a:gd name="T50" fmla="*/ 110582 w 1023"/>
              <a:gd name="T51" fmla="*/ 465953 h 975"/>
              <a:gd name="T52" fmla="*/ 81357 w 1023"/>
              <a:gd name="T53" fmla="*/ 479191 h 975"/>
              <a:gd name="T54" fmla="*/ 41073 w 1023"/>
              <a:gd name="T55" fmla="*/ 550672 h 975"/>
              <a:gd name="T56" fmla="*/ 97154 w 1023"/>
              <a:gd name="T57" fmla="*/ 635391 h 975"/>
              <a:gd name="T58" fmla="*/ 124010 w 1023"/>
              <a:gd name="T59" fmla="*/ 648628 h 975"/>
              <a:gd name="T60" fmla="*/ 137438 w 1023"/>
              <a:gd name="T61" fmla="*/ 677750 h 975"/>
              <a:gd name="T62" fmla="*/ 192729 w 1023"/>
              <a:gd name="T63" fmla="*/ 690988 h 975"/>
              <a:gd name="T64" fmla="*/ 219584 w 1023"/>
              <a:gd name="T65" fmla="*/ 677750 h 975"/>
              <a:gd name="T66" fmla="*/ 219584 w 1023"/>
              <a:gd name="T67" fmla="*/ 733347 h 975"/>
              <a:gd name="T68" fmla="*/ 110582 w 1023"/>
              <a:gd name="T69" fmla="*/ 804828 h 975"/>
              <a:gd name="T70" fmla="*/ 54501 w 1023"/>
              <a:gd name="T71" fmla="*/ 847188 h 975"/>
              <a:gd name="T72" fmla="*/ 137438 w 1023"/>
              <a:gd name="T73" fmla="*/ 818066 h 975"/>
              <a:gd name="T74" fmla="*/ 206156 w 1023"/>
              <a:gd name="T75" fmla="*/ 775706 h 975"/>
              <a:gd name="T76" fmla="*/ 301731 w 1023"/>
              <a:gd name="T77" fmla="*/ 690988 h 975"/>
              <a:gd name="T78" fmla="*/ 287513 w 1023"/>
              <a:gd name="T79" fmla="*/ 664513 h 975"/>
              <a:gd name="T80" fmla="*/ 328586 w 1023"/>
              <a:gd name="T81" fmla="*/ 622154 h 975"/>
              <a:gd name="T82" fmla="*/ 369660 w 1023"/>
              <a:gd name="T83" fmla="*/ 563909 h 975"/>
              <a:gd name="T84" fmla="*/ 369660 w 1023"/>
              <a:gd name="T85" fmla="*/ 579794 h 975"/>
              <a:gd name="T86" fmla="*/ 342804 w 1023"/>
              <a:gd name="T87" fmla="*/ 635391 h 975"/>
              <a:gd name="T88" fmla="*/ 342804 w 1023"/>
              <a:gd name="T89" fmla="*/ 664513 h 975"/>
              <a:gd name="T90" fmla="*/ 397305 w 1023"/>
              <a:gd name="T91" fmla="*/ 635391 h 975"/>
              <a:gd name="T92" fmla="*/ 424161 w 1023"/>
              <a:gd name="T93" fmla="*/ 606269 h 975"/>
              <a:gd name="T94" fmla="*/ 451806 w 1023"/>
              <a:gd name="T95" fmla="*/ 593031 h 975"/>
              <a:gd name="T96" fmla="*/ 547381 w 1023"/>
              <a:gd name="T97" fmla="*/ 622154 h 975"/>
              <a:gd name="T98" fmla="*/ 601882 w 1023"/>
              <a:gd name="T99" fmla="*/ 635391 h 975"/>
              <a:gd name="T100" fmla="*/ 669811 w 1023"/>
              <a:gd name="T101" fmla="*/ 706872 h 975"/>
              <a:gd name="T102" fmla="*/ 697456 w 1023"/>
              <a:gd name="T103" fmla="*/ 720110 h 975"/>
              <a:gd name="T104" fmla="*/ 697456 w 1023"/>
              <a:gd name="T105" fmla="*/ 706872 h 975"/>
              <a:gd name="T106" fmla="*/ 710884 w 1023"/>
              <a:gd name="T107" fmla="*/ 749232 h 975"/>
              <a:gd name="T108" fmla="*/ 751957 w 1023"/>
              <a:gd name="T109" fmla="*/ 762469 h 975"/>
              <a:gd name="T110" fmla="*/ 724312 w 1023"/>
              <a:gd name="T111" fmla="*/ 762469 h 975"/>
              <a:gd name="T112" fmla="*/ 738529 w 1023"/>
              <a:gd name="T113" fmla="*/ 775706 h 975"/>
              <a:gd name="T114" fmla="*/ 766965 w 1023"/>
              <a:gd name="T115" fmla="*/ 847188 h 975"/>
              <a:gd name="T116" fmla="*/ 751957 w 1023"/>
              <a:gd name="T117" fmla="*/ 791591 h 975"/>
              <a:gd name="T118" fmla="*/ 766965 w 1023"/>
              <a:gd name="T119" fmla="*/ 804828 h 975"/>
              <a:gd name="T120" fmla="*/ 794610 w 1023"/>
              <a:gd name="T121" fmla="*/ 847188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noFill/>
          <a:ln w="9525">
            <a:solidFill>
              <a:schemeClr val="bg2"/>
            </a:solidFill>
            <a:prstDash val="solid"/>
            <a:round/>
            <a:headEnd/>
            <a:tailEnd/>
          </a:ln>
        </p:spPr>
        <p:txBody>
          <a:bodyPr/>
          <a:lstStyle/>
          <a:p>
            <a:endParaRPr lang="en-US" dirty="0"/>
          </a:p>
        </p:txBody>
      </p:sp>
      <p:sp>
        <p:nvSpPr>
          <p:cNvPr id="18493" name="Freeform 60"/>
          <p:cNvSpPr>
            <a:spLocks noChangeAspect="1"/>
          </p:cNvSpPr>
          <p:nvPr>
            <p:custDataLst>
              <p:tags r:id="rId34"/>
            </p:custDataLst>
          </p:nvPr>
        </p:nvSpPr>
        <p:spPr bwMode="auto">
          <a:xfrm>
            <a:off x="2549525" y="2397125"/>
            <a:ext cx="26988" cy="26988"/>
          </a:xfrm>
          <a:custGeom>
            <a:avLst/>
            <a:gdLst>
              <a:gd name="T0" fmla="*/ 0 w 34"/>
              <a:gd name="T1" fmla="*/ 14721 h 33"/>
              <a:gd name="T2" fmla="*/ 0 w 34"/>
              <a:gd name="T3" fmla="*/ 14721 h 33"/>
              <a:gd name="T4" fmla="*/ 26988 w 34"/>
              <a:gd name="T5" fmla="*/ 26988 h 33"/>
              <a:gd name="T6" fmla="*/ 26988 w 34"/>
              <a:gd name="T7" fmla="*/ 0 h 33"/>
              <a:gd name="T8" fmla="*/ 0 w 34"/>
              <a:gd name="T9" fmla="*/ 14721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000080"/>
          </a:solidFill>
          <a:ln w="9525">
            <a:solidFill>
              <a:schemeClr val="bg2"/>
            </a:solidFill>
            <a:prstDash val="solid"/>
            <a:round/>
            <a:headEnd/>
            <a:tailEnd/>
          </a:ln>
        </p:spPr>
        <p:txBody>
          <a:bodyPr/>
          <a:lstStyle/>
          <a:p>
            <a:endParaRPr lang="en-US" dirty="0"/>
          </a:p>
        </p:txBody>
      </p:sp>
      <p:sp>
        <p:nvSpPr>
          <p:cNvPr id="18494" name="Freeform 61"/>
          <p:cNvSpPr>
            <a:spLocks noChangeAspect="1"/>
          </p:cNvSpPr>
          <p:nvPr>
            <p:custDataLst>
              <p:tags r:id="rId35"/>
            </p:custDataLst>
          </p:nvPr>
        </p:nvSpPr>
        <p:spPr bwMode="auto">
          <a:xfrm>
            <a:off x="2511425" y="2522538"/>
            <a:ext cx="26988" cy="15875"/>
          </a:xfrm>
          <a:custGeom>
            <a:avLst/>
            <a:gdLst>
              <a:gd name="T0" fmla="*/ 0 w 34"/>
              <a:gd name="T1" fmla="*/ 0 h 17"/>
              <a:gd name="T2" fmla="*/ 0 w 34"/>
              <a:gd name="T3" fmla="*/ 0 h 17"/>
              <a:gd name="T4" fmla="*/ 26988 w 34"/>
              <a:gd name="T5" fmla="*/ 15875 h 17"/>
              <a:gd name="T6" fmla="*/ 26988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495" name="Freeform 62"/>
          <p:cNvSpPr>
            <a:spLocks noChangeAspect="1"/>
          </p:cNvSpPr>
          <p:nvPr>
            <p:custDataLst>
              <p:tags r:id="rId36"/>
            </p:custDataLst>
          </p:nvPr>
        </p:nvSpPr>
        <p:spPr bwMode="auto">
          <a:xfrm>
            <a:off x="663575" y="2225675"/>
            <a:ext cx="41275" cy="30163"/>
          </a:xfrm>
          <a:custGeom>
            <a:avLst/>
            <a:gdLst>
              <a:gd name="T0" fmla="*/ 0 w 52"/>
              <a:gd name="T1" fmla="*/ 16453 h 33"/>
              <a:gd name="T2" fmla="*/ 0 w 52"/>
              <a:gd name="T3" fmla="*/ 16453 h 33"/>
              <a:gd name="T4" fmla="*/ 26988 w 52"/>
              <a:gd name="T5" fmla="*/ 30163 h 33"/>
              <a:gd name="T6" fmla="*/ 41275 w 52"/>
              <a:gd name="T7" fmla="*/ 16453 h 33"/>
              <a:gd name="T8" fmla="*/ 26988 w 52"/>
              <a:gd name="T9" fmla="*/ 0 h 33"/>
              <a:gd name="T10" fmla="*/ 0 w 52"/>
              <a:gd name="T11" fmla="*/ 16453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rgbClr val="000080"/>
          </a:solidFill>
          <a:ln w="9525">
            <a:solidFill>
              <a:schemeClr val="bg2"/>
            </a:solidFill>
            <a:prstDash val="solid"/>
            <a:round/>
            <a:headEnd/>
            <a:tailEnd/>
          </a:ln>
        </p:spPr>
        <p:txBody>
          <a:bodyPr/>
          <a:lstStyle/>
          <a:p>
            <a:endParaRPr lang="en-US" dirty="0"/>
          </a:p>
        </p:txBody>
      </p:sp>
      <p:sp>
        <p:nvSpPr>
          <p:cNvPr id="18496" name="Freeform 63"/>
          <p:cNvSpPr>
            <a:spLocks noChangeAspect="1"/>
          </p:cNvSpPr>
          <p:nvPr>
            <p:custDataLst>
              <p:tags r:id="rId37"/>
            </p:custDataLst>
          </p:nvPr>
        </p:nvSpPr>
        <p:spPr bwMode="auto">
          <a:xfrm>
            <a:off x="938213" y="2311400"/>
            <a:ext cx="68262" cy="69850"/>
          </a:xfrm>
          <a:custGeom>
            <a:avLst/>
            <a:gdLst>
              <a:gd name="T0" fmla="*/ 0 w 87"/>
              <a:gd name="T1" fmla="*/ 56915 h 81"/>
              <a:gd name="T2" fmla="*/ 0 w 87"/>
              <a:gd name="T3" fmla="*/ 56915 h 81"/>
              <a:gd name="T4" fmla="*/ 13339 w 87"/>
              <a:gd name="T5" fmla="*/ 69850 h 81"/>
              <a:gd name="T6" fmla="*/ 40800 w 87"/>
              <a:gd name="T7" fmla="*/ 41393 h 81"/>
              <a:gd name="T8" fmla="*/ 54139 w 87"/>
              <a:gd name="T9" fmla="*/ 41393 h 81"/>
              <a:gd name="T10" fmla="*/ 54139 w 87"/>
              <a:gd name="T11" fmla="*/ 28457 h 81"/>
              <a:gd name="T12" fmla="*/ 40800 w 87"/>
              <a:gd name="T13" fmla="*/ 28457 h 81"/>
              <a:gd name="T14" fmla="*/ 68262 w 87"/>
              <a:gd name="T15" fmla="*/ 15522 h 81"/>
              <a:gd name="T16" fmla="*/ 54139 w 87"/>
              <a:gd name="T17" fmla="*/ 0 h 81"/>
              <a:gd name="T18" fmla="*/ 0 w 87"/>
              <a:gd name="T19" fmla="*/ 56915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000080"/>
          </a:solidFill>
          <a:ln w="9525">
            <a:solidFill>
              <a:schemeClr val="bg2"/>
            </a:solidFill>
            <a:prstDash val="solid"/>
            <a:round/>
            <a:headEnd/>
            <a:tailEnd/>
          </a:ln>
        </p:spPr>
        <p:txBody>
          <a:bodyPr/>
          <a:lstStyle/>
          <a:p>
            <a:endParaRPr lang="en-US" dirty="0"/>
          </a:p>
        </p:txBody>
      </p:sp>
      <p:sp>
        <p:nvSpPr>
          <p:cNvPr id="18497" name="Freeform 64"/>
          <p:cNvSpPr>
            <a:spLocks noChangeAspect="1"/>
          </p:cNvSpPr>
          <p:nvPr>
            <p:custDataLst>
              <p:tags r:id="rId38"/>
            </p:custDataLst>
          </p:nvPr>
        </p:nvSpPr>
        <p:spPr bwMode="auto">
          <a:xfrm>
            <a:off x="1414463" y="2481263"/>
            <a:ext cx="42862" cy="84137"/>
          </a:xfrm>
          <a:custGeom>
            <a:avLst/>
            <a:gdLst>
              <a:gd name="T0" fmla="*/ 0 w 54"/>
              <a:gd name="T1" fmla="*/ 0 h 96"/>
              <a:gd name="T2" fmla="*/ 0 w 54"/>
              <a:gd name="T3" fmla="*/ 0 h 96"/>
              <a:gd name="T4" fmla="*/ 0 w 54"/>
              <a:gd name="T5" fmla="*/ 28922 h 96"/>
              <a:gd name="T6" fmla="*/ 15081 w 54"/>
              <a:gd name="T7" fmla="*/ 70991 h 96"/>
              <a:gd name="T8" fmla="*/ 42862 w 54"/>
              <a:gd name="T9" fmla="*/ 84137 h 96"/>
              <a:gd name="T10" fmla="*/ 15081 w 54"/>
              <a:gd name="T11" fmla="*/ 56968 h 96"/>
              <a:gd name="T12" fmla="*/ 28575 w 54"/>
              <a:gd name="T13" fmla="*/ 42069 h 96"/>
              <a:gd name="T14" fmla="*/ 15081 w 54"/>
              <a:gd name="T15" fmla="*/ 28922 h 96"/>
              <a:gd name="T16" fmla="*/ 28575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498" name="Freeform 65"/>
          <p:cNvSpPr>
            <a:spLocks noChangeAspect="1"/>
          </p:cNvSpPr>
          <p:nvPr>
            <p:custDataLst>
              <p:tags r:id="rId39"/>
            </p:custDataLst>
          </p:nvPr>
        </p:nvSpPr>
        <p:spPr bwMode="auto">
          <a:xfrm>
            <a:off x="1512888" y="2606675"/>
            <a:ext cx="109537" cy="87313"/>
          </a:xfrm>
          <a:custGeom>
            <a:avLst/>
            <a:gdLst>
              <a:gd name="T0" fmla="*/ 0 w 140"/>
              <a:gd name="T1" fmla="*/ 0 h 96"/>
              <a:gd name="T2" fmla="*/ 0 w 140"/>
              <a:gd name="T3" fmla="*/ 0 h 96"/>
              <a:gd name="T4" fmla="*/ 13301 w 140"/>
              <a:gd name="T5" fmla="*/ 30014 h 96"/>
              <a:gd name="T6" fmla="*/ 40685 w 140"/>
              <a:gd name="T7" fmla="*/ 43657 h 96"/>
              <a:gd name="T8" fmla="*/ 67287 w 140"/>
              <a:gd name="T9" fmla="*/ 59118 h 96"/>
              <a:gd name="T10" fmla="*/ 67287 w 140"/>
              <a:gd name="T11" fmla="*/ 73670 h 96"/>
              <a:gd name="T12" fmla="*/ 94671 w 140"/>
              <a:gd name="T13" fmla="*/ 87313 h 96"/>
              <a:gd name="T14" fmla="*/ 109537 w 140"/>
              <a:gd name="T15" fmla="*/ 87313 h 96"/>
              <a:gd name="T16" fmla="*/ 53986 w 140"/>
              <a:gd name="T17" fmla="*/ 15462 h 96"/>
              <a:gd name="T18" fmla="*/ 13301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499" name="Line 66"/>
          <p:cNvSpPr>
            <a:spLocks noChangeAspect="1" noChangeShapeType="1"/>
          </p:cNvSpPr>
          <p:nvPr>
            <p:custDataLst>
              <p:tags r:id="rId40"/>
            </p:custDataLst>
          </p:nvPr>
        </p:nvSpPr>
        <p:spPr bwMode="auto">
          <a:xfrm flipV="1">
            <a:off x="644525" y="2517775"/>
            <a:ext cx="14288" cy="53975"/>
          </a:xfrm>
          <a:prstGeom prst="line">
            <a:avLst/>
          </a:prstGeom>
          <a:noFill/>
          <a:ln w="9525">
            <a:solidFill>
              <a:schemeClr val="bg2"/>
            </a:solidFill>
            <a:round/>
            <a:headEnd/>
            <a:tailEnd/>
          </a:ln>
        </p:spPr>
        <p:txBody>
          <a:bodyPr/>
          <a:lstStyle/>
          <a:p>
            <a:endParaRPr lang="en-US" dirty="0"/>
          </a:p>
        </p:txBody>
      </p:sp>
      <p:sp>
        <p:nvSpPr>
          <p:cNvPr id="18500" name="Freeform 67"/>
          <p:cNvSpPr>
            <a:spLocks noChangeAspect="1"/>
          </p:cNvSpPr>
          <p:nvPr>
            <p:custDataLst>
              <p:tags r:id="rId41"/>
            </p:custDataLst>
          </p:nvPr>
        </p:nvSpPr>
        <p:spPr bwMode="auto">
          <a:xfrm>
            <a:off x="663575" y="2497138"/>
            <a:ext cx="26988" cy="12700"/>
          </a:xfrm>
          <a:custGeom>
            <a:avLst/>
            <a:gdLst>
              <a:gd name="T0" fmla="*/ 0 w 34"/>
              <a:gd name="T1" fmla="*/ 12700 h 16"/>
              <a:gd name="T2" fmla="*/ 0 w 34"/>
              <a:gd name="T3" fmla="*/ 12700 h 16"/>
              <a:gd name="T4" fmla="*/ 26988 w 34"/>
              <a:gd name="T5" fmla="*/ 12700 h 16"/>
              <a:gd name="T6" fmla="*/ 26988 w 34"/>
              <a:gd name="T7" fmla="*/ 0 h 16"/>
              <a:gd name="T8" fmla="*/ 13494 w 34"/>
              <a:gd name="T9" fmla="*/ 0 h 16"/>
              <a:gd name="T10" fmla="*/ 13494 w 34"/>
              <a:gd name="T11" fmla="*/ 12700 h 16"/>
              <a:gd name="T12" fmla="*/ 0 w 34"/>
              <a:gd name="T13" fmla="*/ 12700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8501" name="Freeform 68"/>
          <p:cNvSpPr>
            <a:spLocks noChangeAspect="1"/>
          </p:cNvSpPr>
          <p:nvPr>
            <p:custDataLst>
              <p:tags r:id="rId42"/>
            </p:custDataLst>
          </p:nvPr>
        </p:nvSpPr>
        <p:spPr bwMode="auto">
          <a:xfrm>
            <a:off x="1239838" y="1600200"/>
            <a:ext cx="1843087" cy="1306513"/>
          </a:xfrm>
          <a:custGeom>
            <a:avLst/>
            <a:gdLst>
              <a:gd name="T0" fmla="*/ 1337775 w 2338"/>
              <a:gd name="T1" fmla="*/ 1264082 h 1478"/>
              <a:gd name="T2" fmla="*/ 1269980 w 2338"/>
              <a:gd name="T3" fmla="*/ 1264082 h 1478"/>
              <a:gd name="T4" fmla="*/ 1310972 w 2338"/>
              <a:gd name="T5" fmla="*/ 1221652 h 1478"/>
              <a:gd name="T6" fmla="*/ 1215586 w 2338"/>
              <a:gd name="T7" fmla="*/ 1151818 h 1478"/>
              <a:gd name="T8" fmla="*/ 1147002 w 2338"/>
              <a:gd name="T9" fmla="*/ 1066956 h 1478"/>
              <a:gd name="T10" fmla="*/ 1009835 w 2338"/>
              <a:gd name="T11" fmla="*/ 1081100 h 1478"/>
              <a:gd name="T12" fmla="*/ 383122 w 2338"/>
              <a:gd name="T13" fmla="*/ 1066956 h 1478"/>
              <a:gd name="T14" fmla="*/ 286159 w 2338"/>
              <a:gd name="T15" fmla="*/ 996238 h 1478"/>
              <a:gd name="T16" fmla="*/ 231765 w 2338"/>
              <a:gd name="T17" fmla="*/ 882206 h 1478"/>
              <a:gd name="T18" fmla="*/ 148204 w 2338"/>
              <a:gd name="T19" fmla="*/ 699223 h 1478"/>
              <a:gd name="T20" fmla="*/ 81985 w 2338"/>
              <a:gd name="T21" fmla="*/ 685964 h 1478"/>
              <a:gd name="T22" fmla="*/ 0 w 2338"/>
              <a:gd name="T23" fmla="*/ 627621 h 1478"/>
              <a:gd name="T24" fmla="*/ 108000 w 2338"/>
              <a:gd name="T25" fmla="*/ 161767 h 1478"/>
              <a:gd name="T26" fmla="*/ 245167 w 2338"/>
              <a:gd name="T27" fmla="*/ 91933 h 1478"/>
              <a:gd name="T28" fmla="*/ 313750 w 2338"/>
              <a:gd name="T29" fmla="*/ 105193 h 1478"/>
              <a:gd name="T30" fmla="*/ 353955 w 2338"/>
              <a:gd name="T31" fmla="*/ 147624 h 1478"/>
              <a:gd name="T32" fmla="*/ 449341 w 2338"/>
              <a:gd name="T33" fmla="*/ 147624 h 1478"/>
              <a:gd name="T34" fmla="*/ 573895 w 2338"/>
              <a:gd name="T35" fmla="*/ 190054 h 1478"/>
              <a:gd name="T36" fmla="*/ 599121 w 2338"/>
              <a:gd name="T37" fmla="*/ 261656 h 1478"/>
              <a:gd name="T38" fmla="*/ 696085 w 2338"/>
              <a:gd name="T39" fmla="*/ 219225 h 1478"/>
              <a:gd name="T40" fmla="*/ 845865 w 2338"/>
              <a:gd name="T41" fmla="*/ 246629 h 1478"/>
              <a:gd name="T42" fmla="*/ 927850 w 2338"/>
              <a:gd name="T43" fmla="*/ 204198 h 1478"/>
              <a:gd name="T44" fmla="*/ 957018 w 2338"/>
              <a:gd name="T45" fmla="*/ 161767 h 1478"/>
              <a:gd name="T46" fmla="*/ 968843 w 2338"/>
              <a:gd name="T47" fmla="*/ 261656 h 1478"/>
              <a:gd name="T48" fmla="*/ 1009835 w 2338"/>
              <a:gd name="T49" fmla="*/ 147624 h 1478"/>
              <a:gd name="T50" fmla="*/ 1011412 w 2338"/>
              <a:gd name="T51" fmla="*/ 0 h 1478"/>
              <a:gd name="T52" fmla="*/ 1106798 w 2338"/>
              <a:gd name="T53" fmla="*/ 204198 h 1478"/>
              <a:gd name="T54" fmla="*/ 1161192 w 2338"/>
              <a:gd name="T55" fmla="*/ 274916 h 1478"/>
              <a:gd name="T56" fmla="*/ 1202185 w 2338"/>
              <a:gd name="T57" fmla="*/ 119336 h 1478"/>
              <a:gd name="T58" fmla="*/ 1283381 w 2338"/>
              <a:gd name="T59" fmla="*/ 161767 h 1478"/>
              <a:gd name="T60" fmla="*/ 1283381 w 2338"/>
              <a:gd name="T61" fmla="*/ 261656 h 1478"/>
              <a:gd name="T62" fmla="*/ 1202185 w 2338"/>
              <a:gd name="T63" fmla="*/ 317347 h 1478"/>
              <a:gd name="T64" fmla="*/ 1161192 w 2338"/>
              <a:gd name="T65" fmla="*/ 402208 h 1478"/>
              <a:gd name="T66" fmla="*/ 1091032 w 2338"/>
              <a:gd name="T67" fmla="*/ 516241 h 1478"/>
              <a:gd name="T68" fmla="*/ 1024813 w 2338"/>
              <a:gd name="T69" fmla="*/ 571931 h 1478"/>
              <a:gd name="T70" fmla="*/ 1038214 w 2338"/>
              <a:gd name="T71" fmla="*/ 699223 h 1478"/>
              <a:gd name="T72" fmla="*/ 1147002 w 2338"/>
              <a:gd name="T73" fmla="*/ 813256 h 1478"/>
              <a:gd name="T74" fmla="*/ 1269980 w 2338"/>
              <a:gd name="T75" fmla="*/ 939664 h 1478"/>
              <a:gd name="T76" fmla="*/ 1351965 w 2338"/>
              <a:gd name="T77" fmla="*/ 855686 h 1478"/>
              <a:gd name="T78" fmla="*/ 1351965 w 2338"/>
              <a:gd name="T79" fmla="*/ 685964 h 1478"/>
              <a:gd name="T80" fmla="*/ 1351965 w 2338"/>
              <a:gd name="T81" fmla="*/ 614362 h 1478"/>
              <a:gd name="T82" fmla="*/ 1366943 w 2338"/>
              <a:gd name="T83" fmla="*/ 529500 h 1478"/>
              <a:gd name="T84" fmla="*/ 1489132 w 2338"/>
              <a:gd name="T85" fmla="*/ 585191 h 1478"/>
              <a:gd name="T86" fmla="*/ 1582942 w 2338"/>
              <a:gd name="T87" fmla="*/ 728394 h 1478"/>
              <a:gd name="T88" fmla="*/ 1623935 w 2338"/>
              <a:gd name="T89" fmla="*/ 656792 h 1478"/>
              <a:gd name="T90" fmla="*/ 1707496 w 2338"/>
              <a:gd name="T91" fmla="*/ 813256 h 1478"/>
              <a:gd name="T92" fmla="*/ 1775292 w 2338"/>
              <a:gd name="T93" fmla="*/ 855686 h 1478"/>
              <a:gd name="T94" fmla="*/ 1802883 w 2338"/>
              <a:gd name="T95" fmla="*/ 911377 h 1478"/>
              <a:gd name="T96" fmla="*/ 1843087 w 2338"/>
              <a:gd name="T97" fmla="*/ 967067 h 1478"/>
              <a:gd name="T98" fmla="*/ 1707496 w 2338"/>
              <a:gd name="T99" fmla="*/ 1038669 h 1478"/>
              <a:gd name="T100" fmla="*/ 1571117 w 2338"/>
              <a:gd name="T101" fmla="*/ 1066956 h 1478"/>
              <a:gd name="T102" fmla="*/ 1557716 w 2338"/>
              <a:gd name="T103" fmla="*/ 1094359 h 1478"/>
              <a:gd name="T104" fmla="*/ 1653102 w 2338"/>
              <a:gd name="T105" fmla="*/ 1094359 h 1478"/>
              <a:gd name="T106" fmla="*/ 1638913 w 2338"/>
              <a:gd name="T107" fmla="*/ 1109387 h 1478"/>
              <a:gd name="T108" fmla="*/ 1707496 w 2338"/>
              <a:gd name="T109" fmla="*/ 1179221 h 1478"/>
              <a:gd name="T110" fmla="*/ 1748489 w 2338"/>
              <a:gd name="T111" fmla="*/ 1165961 h 1478"/>
              <a:gd name="T112" fmla="*/ 1623935 w 2338"/>
              <a:gd name="T113" fmla="*/ 1250823 h 1478"/>
              <a:gd name="T114" fmla="*/ 1638913 w 2338"/>
              <a:gd name="T115" fmla="*/ 1179221 h 1478"/>
              <a:gd name="T116" fmla="*/ 1571117 w 2338"/>
              <a:gd name="T117" fmla="*/ 1136790 h 1478"/>
              <a:gd name="T118" fmla="*/ 1516723 w 2338"/>
              <a:gd name="T119" fmla="*/ 1194248 h 1478"/>
              <a:gd name="T120" fmla="*/ 1378768 w 2338"/>
              <a:gd name="T121" fmla="*/ 1236679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000080"/>
          </a:solidFill>
          <a:ln w="9525">
            <a:solidFill>
              <a:schemeClr val="bg2"/>
            </a:solidFill>
            <a:prstDash val="solid"/>
            <a:round/>
            <a:headEnd/>
            <a:tailEnd/>
          </a:ln>
        </p:spPr>
        <p:txBody>
          <a:bodyPr/>
          <a:lstStyle/>
          <a:p>
            <a:endParaRPr lang="en-US" dirty="0"/>
          </a:p>
        </p:txBody>
      </p:sp>
      <p:sp>
        <p:nvSpPr>
          <p:cNvPr id="18502" name="Freeform 69"/>
          <p:cNvSpPr>
            <a:spLocks noChangeAspect="1"/>
          </p:cNvSpPr>
          <p:nvPr>
            <p:custDataLst>
              <p:tags r:id="rId43"/>
            </p:custDataLst>
          </p:nvPr>
        </p:nvSpPr>
        <p:spPr bwMode="auto">
          <a:xfrm>
            <a:off x="2727325" y="3470275"/>
            <a:ext cx="80963" cy="57150"/>
          </a:xfrm>
          <a:custGeom>
            <a:avLst/>
            <a:gdLst>
              <a:gd name="T0" fmla="*/ 0 w 104"/>
              <a:gd name="T1" fmla="*/ 43543 h 63"/>
              <a:gd name="T2" fmla="*/ 0 w 104"/>
              <a:gd name="T3" fmla="*/ 43543 h 63"/>
              <a:gd name="T4" fmla="*/ 0 w 104"/>
              <a:gd name="T5" fmla="*/ 0 h 63"/>
              <a:gd name="T6" fmla="*/ 40482 w 104"/>
              <a:gd name="T7" fmla="*/ 0 h 63"/>
              <a:gd name="T8" fmla="*/ 40482 w 104"/>
              <a:gd name="T9" fmla="*/ 13607 h 63"/>
              <a:gd name="T10" fmla="*/ 53716 w 104"/>
              <a:gd name="T11" fmla="*/ 13607 h 63"/>
              <a:gd name="T12" fmla="*/ 80963 w 104"/>
              <a:gd name="T13" fmla="*/ 28121 h 63"/>
              <a:gd name="T14" fmla="*/ 67729 w 104"/>
              <a:gd name="T15" fmla="*/ 43543 h 63"/>
              <a:gd name="T16" fmla="*/ 67729 w 104"/>
              <a:gd name="T17" fmla="*/ 28121 h 63"/>
              <a:gd name="T18" fmla="*/ 27247 w 104"/>
              <a:gd name="T19" fmla="*/ 43543 h 63"/>
              <a:gd name="T20" fmla="*/ 27247 w 104"/>
              <a:gd name="T21" fmla="*/ 28121 h 63"/>
              <a:gd name="T22" fmla="*/ 14013 w 104"/>
              <a:gd name="T23" fmla="*/ 43543 h 63"/>
              <a:gd name="T24" fmla="*/ 14013 w 104"/>
              <a:gd name="T25" fmla="*/ 57150 h 63"/>
              <a:gd name="T26" fmla="*/ 0 w 104"/>
              <a:gd name="T27" fmla="*/ 43543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03" name="Freeform 70"/>
          <p:cNvSpPr>
            <a:spLocks noChangeAspect="1"/>
          </p:cNvSpPr>
          <p:nvPr>
            <p:custDataLst>
              <p:tags r:id="rId44"/>
            </p:custDataLst>
          </p:nvPr>
        </p:nvSpPr>
        <p:spPr bwMode="auto">
          <a:xfrm>
            <a:off x="2674938" y="3470275"/>
            <a:ext cx="52387" cy="42863"/>
          </a:xfrm>
          <a:custGeom>
            <a:avLst/>
            <a:gdLst>
              <a:gd name="T0" fmla="*/ 52387 w 69"/>
              <a:gd name="T1" fmla="*/ 42863 h 48"/>
              <a:gd name="T2" fmla="*/ 52387 w 69"/>
              <a:gd name="T3" fmla="*/ 42863 h 48"/>
              <a:gd name="T4" fmla="*/ 52387 w 69"/>
              <a:gd name="T5" fmla="*/ 0 h 48"/>
              <a:gd name="T6" fmla="*/ 26573 w 69"/>
              <a:gd name="T7" fmla="*/ 0 h 48"/>
              <a:gd name="T8" fmla="*/ 39480 w 69"/>
              <a:gd name="T9" fmla="*/ 27682 h 48"/>
              <a:gd name="T10" fmla="*/ 0 w 69"/>
              <a:gd name="T11" fmla="*/ 42863 h 48"/>
              <a:gd name="T12" fmla="*/ 13666 w 69"/>
              <a:gd name="T13" fmla="*/ 42863 h 48"/>
              <a:gd name="T14" fmla="*/ 52387 w 69"/>
              <a:gd name="T15" fmla="*/ 42863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chemeClr val="bg1"/>
          </a:solidFill>
          <a:ln w="9525">
            <a:solidFill>
              <a:schemeClr val="bg2"/>
            </a:solidFill>
            <a:prstDash val="solid"/>
            <a:round/>
            <a:headEnd/>
            <a:tailEnd/>
          </a:ln>
        </p:spPr>
        <p:txBody>
          <a:bodyPr/>
          <a:lstStyle/>
          <a:p>
            <a:endParaRPr lang="en-US" dirty="0"/>
          </a:p>
        </p:txBody>
      </p:sp>
      <p:sp>
        <p:nvSpPr>
          <p:cNvPr id="18504" name="Freeform 71"/>
          <p:cNvSpPr>
            <a:spLocks noChangeAspect="1"/>
          </p:cNvSpPr>
          <p:nvPr>
            <p:custDataLst>
              <p:tags r:id="rId45"/>
            </p:custDataLst>
          </p:nvPr>
        </p:nvSpPr>
        <p:spPr bwMode="auto">
          <a:xfrm>
            <a:off x="2946400" y="3681413"/>
            <a:ext cx="14288" cy="14287"/>
          </a:xfrm>
          <a:custGeom>
            <a:avLst/>
            <a:gdLst>
              <a:gd name="T0" fmla="*/ 0 w 17"/>
              <a:gd name="T1" fmla="*/ 14287 h 15"/>
              <a:gd name="T2" fmla="*/ 0 w 17"/>
              <a:gd name="T3" fmla="*/ 14287 h 15"/>
              <a:gd name="T4" fmla="*/ 14288 w 17"/>
              <a:gd name="T5" fmla="*/ 14287 h 15"/>
              <a:gd name="T6" fmla="*/ 14288 w 17"/>
              <a:gd name="T7" fmla="*/ 0 h 15"/>
              <a:gd name="T8" fmla="*/ 0 w 17"/>
              <a:gd name="T9" fmla="*/ 0 h 15"/>
              <a:gd name="T10" fmla="*/ 0 w 17"/>
              <a:gd name="T11" fmla="*/ 142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05" name="Freeform 72"/>
          <p:cNvSpPr>
            <a:spLocks noChangeAspect="1"/>
          </p:cNvSpPr>
          <p:nvPr>
            <p:custDataLst>
              <p:tags r:id="rId46"/>
            </p:custDataLst>
          </p:nvPr>
        </p:nvSpPr>
        <p:spPr bwMode="auto">
          <a:xfrm>
            <a:off x="2592388" y="3498850"/>
            <a:ext cx="39687" cy="28575"/>
          </a:xfrm>
          <a:custGeom>
            <a:avLst/>
            <a:gdLst>
              <a:gd name="T0" fmla="*/ 0 w 51"/>
              <a:gd name="T1" fmla="*/ 15180 h 32"/>
              <a:gd name="T2" fmla="*/ 0 w 51"/>
              <a:gd name="T3" fmla="*/ 15180 h 32"/>
              <a:gd name="T4" fmla="*/ 26458 w 51"/>
              <a:gd name="T5" fmla="*/ 28575 h 32"/>
              <a:gd name="T6" fmla="*/ 39687 w 51"/>
              <a:gd name="T7" fmla="*/ 15180 h 32"/>
              <a:gd name="T8" fmla="*/ 13229 w 51"/>
              <a:gd name="T9" fmla="*/ 0 h 32"/>
              <a:gd name="T10" fmla="*/ 0 w 51"/>
              <a:gd name="T11" fmla="*/ 15180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506" name="Freeform 73"/>
          <p:cNvSpPr>
            <a:spLocks noChangeAspect="1"/>
          </p:cNvSpPr>
          <p:nvPr>
            <p:custDataLst>
              <p:tags r:id="rId47"/>
            </p:custDataLst>
          </p:nvPr>
        </p:nvSpPr>
        <p:spPr bwMode="auto">
          <a:xfrm>
            <a:off x="2455863" y="3386138"/>
            <a:ext cx="219075" cy="84137"/>
          </a:xfrm>
          <a:custGeom>
            <a:avLst/>
            <a:gdLst>
              <a:gd name="T0" fmla="*/ 0 w 276"/>
              <a:gd name="T1" fmla="*/ 42069 h 96"/>
              <a:gd name="T2" fmla="*/ 0 w 276"/>
              <a:gd name="T3" fmla="*/ 42069 h 96"/>
              <a:gd name="T4" fmla="*/ 13494 w 276"/>
              <a:gd name="T5" fmla="*/ 42069 h 96"/>
              <a:gd name="T6" fmla="*/ 41275 w 276"/>
              <a:gd name="T7" fmla="*/ 13146 h 96"/>
              <a:gd name="T8" fmla="*/ 68262 w 276"/>
              <a:gd name="T9" fmla="*/ 27169 h 96"/>
              <a:gd name="T10" fmla="*/ 54769 w 276"/>
              <a:gd name="T11" fmla="*/ 27169 h 96"/>
              <a:gd name="T12" fmla="*/ 68262 w 276"/>
              <a:gd name="T13" fmla="*/ 27169 h 96"/>
              <a:gd name="T14" fmla="*/ 123031 w 276"/>
              <a:gd name="T15" fmla="*/ 42069 h 96"/>
              <a:gd name="T16" fmla="*/ 137319 w 276"/>
              <a:gd name="T17" fmla="*/ 69238 h 96"/>
              <a:gd name="T18" fmla="*/ 164306 w 276"/>
              <a:gd name="T19" fmla="*/ 69238 h 96"/>
              <a:gd name="T20" fmla="*/ 150812 w 276"/>
              <a:gd name="T21" fmla="*/ 84137 h 96"/>
              <a:gd name="T22" fmla="*/ 219075 w 276"/>
              <a:gd name="T23" fmla="*/ 84137 h 96"/>
              <a:gd name="T24" fmla="*/ 205581 w 276"/>
              <a:gd name="T25" fmla="*/ 69238 h 96"/>
              <a:gd name="T26" fmla="*/ 192087 w 276"/>
              <a:gd name="T27" fmla="*/ 69238 h 96"/>
              <a:gd name="T28" fmla="*/ 192087 w 276"/>
              <a:gd name="T29" fmla="*/ 55215 h 96"/>
              <a:gd name="T30" fmla="*/ 137319 w 276"/>
              <a:gd name="T31" fmla="*/ 27169 h 96"/>
              <a:gd name="T32" fmla="*/ 68262 w 276"/>
              <a:gd name="T33" fmla="*/ 0 h 96"/>
              <a:gd name="T34" fmla="*/ 26988 w 276"/>
              <a:gd name="T35" fmla="*/ 13146 h 96"/>
              <a:gd name="T36" fmla="*/ 0 w 276"/>
              <a:gd name="T37" fmla="*/ 42069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07" name="Freeform 74"/>
          <p:cNvSpPr>
            <a:spLocks noChangeAspect="1"/>
          </p:cNvSpPr>
          <p:nvPr>
            <p:custDataLst>
              <p:tags r:id="rId48"/>
            </p:custDataLst>
          </p:nvPr>
        </p:nvSpPr>
        <p:spPr bwMode="auto">
          <a:xfrm>
            <a:off x="2838450" y="3498850"/>
            <a:ext cx="25400" cy="14288"/>
          </a:xfrm>
          <a:custGeom>
            <a:avLst/>
            <a:gdLst>
              <a:gd name="T0" fmla="*/ 0 w 33"/>
              <a:gd name="T1" fmla="*/ 14288 h 17"/>
              <a:gd name="T2" fmla="*/ 0 w 33"/>
              <a:gd name="T3" fmla="*/ 14288 h 17"/>
              <a:gd name="T4" fmla="*/ 25400 w 33"/>
              <a:gd name="T5" fmla="*/ 14288 h 17"/>
              <a:gd name="T6" fmla="*/ 0 w 33"/>
              <a:gd name="T7" fmla="*/ 0 h 17"/>
              <a:gd name="T8" fmla="*/ 0 w 33"/>
              <a:gd name="T9" fmla="*/ 142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508" name="Freeform 75"/>
          <p:cNvSpPr>
            <a:spLocks noChangeAspect="1"/>
          </p:cNvSpPr>
          <p:nvPr>
            <p:custDataLst>
              <p:tags r:id="rId49"/>
            </p:custDataLst>
          </p:nvPr>
        </p:nvSpPr>
        <p:spPr bwMode="auto">
          <a:xfrm>
            <a:off x="2946400" y="3554413"/>
            <a:ext cx="14288" cy="15875"/>
          </a:xfrm>
          <a:custGeom>
            <a:avLst/>
            <a:gdLst>
              <a:gd name="T0" fmla="*/ 0 w 17"/>
              <a:gd name="T1" fmla="*/ 0 h 15"/>
              <a:gd name="T2" fmla="*/ 0 w 17"/>
              <a:gd name="T3" fmla="*/ 0 h 15"/>
              <a:gd name="T4" fmla="*/ 0 w 17"/>
              <a:gd name="T5" fmla="*/ 15875 h 15"/>
              <a:gd name="T6" fmla="*/ 142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09" name="Freeform 76"/>
          <p:cNvSpPr>
            <a:spLocks noChangeAspect="1"/>
          </p:cNvSpPr>
          <p:nvPr>
            <p:custDataLst>
              <p:tags r:id="rId50"/>
            </p:custDataLst>
          </p:nvPr>
        </p:nvSpPr>
        <p:spPr bwMode="auto">
          <a:xfrm>
            <a:off x="2592388" y="3344863"/>
            <a:ext cx="14287" cy="41275"/>
          </a:xfrm>
          <a:custGeom>
            <a:avLst/>
            <a:gdLst>
              <a:gd name="T0" fmla="*/ 0 w 17"/>
              <a:gd name="T1" fmla="*/ 0 h 48"/>
              <a:gd name="T2" fmla="*/ 0 w 17"/>
              <a:gd name="T3" fmla="*/ 0 h 48"/>
              <a:gd name="T4" fmla="*/ 0 w 17"/>
              <a:gd name="T5" fmla="*/ 12898 h 48"/>
              <a:gd name="T6" fmla="*/ 14287 w 17"/>
              <a:gd name="T7" fmla="*/ 41275 h 48"/>
              <a:gd name="T8" fmla="*/ 14287 w 17"/>
              <a:gd name="T9" fmla="*/ 12898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chemeClr val="accent1"/>
          </a:solidFill>
          <a:ln w="9525">
            <a:solidFill>
              <a:schemeClr val="bg2"/>
            </a:solidFill>
            <a:prstDash val="solid"/>
            <a:round/>
            <a:headEnd/>
            <a:tailEnd/>
          </a:ln>
        </p:spPr>
        <p:txBody>
          <a:bodyPr/>
          <a:lstStyle/>
          <a:p>
            <a:endParaRPr lang="en-US" dirty="0"/>
          </a:p>
        </p:txBody>
      </p:sp>
      <p:sp>
        <p:nvSpPr>
          <p:cNvPr id="18510" name="Freeform 77"/>
          <p:cNvSpPr>
            <a:spLocks noChangeAspect="1"/>
          </p:cNvSpPr>
          <p:nvPr>
            <p:custDataLst>
              <p:tags r:id="rId51"/>
            </p:custDataLst>
          </p:nvPr>
        </p:nvSpPr>
        <p:spPr bwMode="auto">
          <a:xfrm>
            <a:off x="3000375" y="2581275"/>
            <a:ext cx="138113" cy="169863"/>
          </a:xfrm>
          <a:custGeom>
            <a:avLst/>
            <a:gdLst>
              <a:gd name="T0" fmla="*/ 0 w 175"/>
              <a:gd name="T1" fmla="*/ 127397 h 192"/>
              <a:gd name="T2" fmla="*/ 0 w 175"/>
              <a:gd name="T3" fmla="*/ 127397 h 192"/>
              <a:gd name="T4" fmla="*/ 0 w 175"/>
              <a:gd name="T5" fmla="*/ 141553 h 192"/>
              <a:gd name="T6" fmla="*/ 13417 w 175"/>
              <a:gd name="T7" fmla="*/ 141553 h 192"/>
              <a:gd name="T8" fmla="*/ 82079 w 175"/>
              <a:gd name="T9" fmla="*/ 141553 h 192"/>
              <a:gd name="T10" fmla="*/ 82079 w 175"/>
              <a:gd name="T11" fmla="*/ 154823 h 192"/>
              <a:gd name="T12" fmla="*/ 67873 w 175"/>
              <a:gd name="T13" fmla="*/ 154823 h 192"/>
              <a:gd name="T14" fmla="*/ 82079 w 175"/>
              <a:gd name="T15" fmla="*/ 154823 h 192"/>
              <a:gd name="T16" fmla="*/ 95495 w 175"/>
              <a:gd name="T17" fmla="*/ 141553 h 192"/>
              <a:gd name="T18" fmla="*/ 110490 w 175"/>
              <a:gd name="T19" fmla="*/ 141553 h 192"/>
              <a:gd name="T20" fmla="*/ 110490 w 175"/>
              <a:gd name="T21" fmla="*/ 154823 h 192"/>
              <a:gd name="T22" fmla="*/ 123907 w 175"/>
              <a:gd name="T23" fmla="*/ 154823 h 192"/>
              <a:gd name="T24" fmla="*/ 123907 w 175"/>
              <a:gd name="T25" fmla="*/ 169863 h 192"/>
              <a:gd name="T26" fmla="*/ 138113 w 175"/>
              <a:gd name="T27" fmla="*/ 169863 h 192"/>
              <a:gd name="T28" fmla="*/ 138113 w 175"/>
              <a:gd name="T29" fmla="*/ 141553 h 192"/>
              <a:gd name="T30" fmla="*/ 123907 w 175"/>
              <a:gd name="T31" fmla="*/ 141553 h 192"/>
              <a:gd name="T32" fmla="*/ 138113 w 175"/>
              <a:gd name="T33" fmla="*/ 127397 h 192"/>
              <a:gd name="T34" fmla="*/ 123907 w 175"/>
              <a:gd name="T35" fmla="*/ 141553 h 192"/>
              <a:gd name="T36" fmla="*/ 110490 w 175"/>
              <a:gd name="T37" fmla="*/ 127397 h 192"/>
              <a:gd name="T38" fmla="*/ 138113 w 175"/>
              <a:gd name="T39" fmla="*/ 99087 h 192"/>
              <a:gd name="T40" fmla="*/ 123907 w 175"/>
              <a:gd name="T41" fmla="*/ 112357 h 192"/>
              <a:gd name="T42" fmla="*/ 110490 w 175"/>
              <a:gd name="T43" fmla="*/ 99087 h 192"/>
              <a:gd name="T44" fmla="*/ 123907 w 175"/>
              <a:gd name="T45" fmla="*/ 84932 h 192"/>
              <a:gd name="T46" fmla="*/ 82079 w 175"/>
              <a:gd name="T47" fmla="*/ 84932 h 192"/>
              <a:gd name="T48" fmla="*/ 67873 w 175"/>
              <a:gd name="T49" fmla="*/ 69892 h 192"/>
              <a:gd name="T50" fmla="*/ 82079 w 175"/>
              <a:gd name="T51" fmla="*/ 56621 h 192"/>
              <a:gd name="T52" fmla="*/ 67873 w 175"/>
              <a:gd name="T53" fmla="*/ 56621 h 192"/>
              <a:gd name="T54" fmla="*/ 54456 w 175"/>
              <a:gd name="T55" fmla="*/ 69892 h 192"/>
              <a:gd name="T56" fmla="*/ 82079 w 175"/>
              <a:gd name="T57" fmla="*/ 0 h 192"/>
              <a:gd name="T58" fmla="*/ 54456 w 175"/>
              <a:gd name="T59" fmla="*/ 14155 h 192"/>
              <a:gd name="T60" fmla="*/ 13417 w 175"/>
              <a:gd name="T61" fmla="*/ 99087 h 192"/>
              <a:gd name="T62" fmla="*/ 13417 w 175"/>
              <a:gd name="T63" fmla="*/ 112357 h 192"/>
              <a:gd name="T64" fmla="*/ 0 w 175"/>
              <a:gd name="T65" fmla="*/ 12739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000080"/>
          </a:solidFill>
          <a:ln w="9525">
            <a:noFill/>
            <a:prstDash val="solid"/>
            <a:round/>
            <a:headEnd/>
            <a:tailEnd/>
          </a:ln>
        </p:spPr>
        <p:txBody>
          <a:bodyPr/>
          <a:lstStyle/>
          <a:p>
            <a:endParaRPr lang="en-US" dirty="0"/>
          </a:p>
        </p:txBody>
      </p:sp>
      <p:sp>
        <p:nvSpPr>
          <p:cNvPr id="18511" name="Line 78"/>
          <p:cNvSpPr>
            <a:spLocks noChangeAspect="1" noChangeShapeType="1"/>
          </p:cNvSpPr>
          <p:nvPr>
            <p:custDataLst>
              <p:tags r:id="rId52"/>
            </p:custDataLst>
          </p:nvPr>
        </p:nvSpPr>
        <p:spPr bwMode="auto">
          <a:xfrm>
            <a:off x="2967038" y="3605213"/>
            <a:ext cx="12700" cy="14287"/>
          </a:xfrm>
          <a:prstGeom prst="line">
            <a:avLst/>
          </a:prstGeom>
          <a:noFill/>
          <a:ln w="9525">
            <a:solidFill>
              <a:schemeClr val="bg2"/>
            </a:solidFill>
            <a:round/>
            <a:headEnd/>
            <a:tailEnd/>
          </a:ln>
        </p:spPr>
        <p:txBody>
          <a:bodyPr/>
          <a:lstStyle/>
          <a:p>
            <a:endParaRPr lang="en-US" dirty="0"/>
          </a:p>
        </p:txBody>
      </p:sp>
      <p:sp>
        <p:nvSpPr>
          <p:cNvPr id="18512" name="Line 79"/>
          <p:cNvSpPr>
            <a:spLocks noChangeAspect="1" noChangeShapeType="1"/>
          </p:cNvSpPr>
          <p:nvPr>
            <p:custDataLst>
              <p:tags r:id="rId53"/>
            </p:custDataLst>
          </p:nvPr>
        </p:nvSpPr>
        <p:spPr bwMode="auto">
          <a:xfrm>
            <a:off x="2582863" y="3322638"/>
            <a:ext cx="28575" cy="14287"/>
          </a:xfrm>
          <a:prstGeom prst="line">
            <a:avLst/>
          </a:prstGeom>
          <a:noFill/>
          <a:ln w="9525">
            <a:solidFill>
              <a:schemeClr val="bg2"/>
            </a:solidFill>
            <a:round/>
            <a:headEnd/>
            <a:tailEnd/>
          </a:ln>
        </p:spPr>
        <p:txBody>
          <a:bodyPr/>
          <a:lstStyle/>
          <a:p>
            <a:endParaRPr lang="en-US" dirty="0"/>
          </a:p>
        </p:txBody>
      </p:sp>
      <p:sp>
        <p:nvSpPr>
          <p:cNvPr id="18513" name="Freeform 80"/>
          <p:cNvSpPr>
            <a:spLocks noChangeAspect="1"/>
          </p:cNvSpPr>
          <p:nvPr>
            <p:custDataLst>
              <p:tags r:id="rId54"/>
            </p:custDataLst>
          </p:nvPr>
        </p:nvSpPr>
        <p:spPr bwMode="auto">
          <a:xfrm>
            <a:off x="2606675" y="3300413"/>
            <a:ext cx="12700" cy="28575"/>
          </a:xfrm>
          <a:custGeom>
            <a:avLst/>
            <a:gdLst>
              <a:gd name="T0" fmla="*/ 0 w 17"/>
              <a:gd name="T1" fmla="*/ 0 h 31"/>
              <a:gd name="T2" fmla="*/ 0 w 17"/>
              <a:gd name="T3" fmla="*/ 0 h 31"/>
              <a:gd name="T4" fmla="*/ 12700 w 17"/>
              <a:gd name="T5" fmla="*/ 13827 h 31"/>
              <a:gd name="T6" fmla="*/ 12700 w 17"/>
              <a:gd name="T7" fmla="*/ 2857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chemeClr val="accent1"/>
          </a:solidFill>
          <a:ln w="9525">
            <a:solidFill>
              <a:schemeClr val="bg2"/>
            </a:solidFill>
            <a:prstDash val="solid"/>
            <a:round/>
            <a:headEnd/>
            <a:tailEnd/>
          </a:ln>
        </p:spPr>
        <p:txBody>
          <a:bodyPr/>
          <a:lstStyle/>
          <a:p>
            <a:endParaRPr lang="en-US" dirty="0"/>
          </a:p>
        </p:txBody>
      </p:sp>
      <p:sp>
        <p:nvSpPr>
          <p:cNvPr id="18514" name="Freeform 81"/>
          <p:cNvSpPr>
            <a:spLocks noChangeAspect="1"/>
          </p:cNvSpPr>
          <p:nvPr>
            <p:custDataLst>
              <p:tags r:id="rId55"/>
            </p:custDataLst>
          </p:nvPr>
        </p:nvSpPr>
        <p:spPr bwMode="auto">
          <a:xfrm>
            <a:off x="2619375" y="3328988"/>
            <a:ext cx="12700" cy="28575"/>
          </a:xfrm>
          <a:custGeom>
            <a:avLst/>
            <a:gdLst>
              <a:gd name="T0" fmla="*/ 0 w 17"/>
              <a:gd name="T1" fmla="*/ 0 h 32"/>
              <a:gd name="T2" fmla="*/ 0 w 17"/>
              <a:gd name="T3" fmla="*/ 0 h 32"/>
              <a:gd name="T4" fmla="*/ 12700 w 17"/>
              <a:gd name="T5" fmla="*/ 15180 h 32"/>
              <a:gd name="T6" fmla="*/ 12700 w 17"/>
              <a:gd name="T7" fmla="*/ 28575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chemeClr val="accent1"/>
          </a:solidFill>
          <a:ln w="9525">
            <a:solidFill>
              <a:schemeClr val="bg2"/>
            </a:solidFill>
            <a:prstDash val="solid"/>
            <a:round/>
            <a:headEnd/>
            <a:tailEnd/>
          </a:ln>
        </p:spPr>
        <p:txBody>
          <a:bodyPr/>
          <a:lstStyle/>
          <a:p>
            <a:endParaRPr lang="en-US" dirty="0"/>
          </a:p>
        </p:txBody>
      </p:sp>
      <p:sp>
        <p:nvSpPr>
          <p:cNvPr id="18515" name="Freeform 82"/>
          <p:cNvSpPr>
            <a:spLocks noChangeAspect="1"/>
          </p:cNvSpPr>
          <p:nvPr>
            <p:custDataLst>
              <p:tags r:id="rId56"/>
            </p:custDataLst>
          </p:nvPr>
        </p:nvSpPr>
        <p:spPr bwMode="auto">
          <a:xfrm>
            <a:off x="2674938" y="3398838"/>
            <a:ext cx="12700" cy="15875"/>
          </a:xfrm>
          <a:custGeom>
            <a:avLst/>
            <a:gdLst>
              <a:gd name="T0" fmla="*/ 0 w 18"/>
              <a:gd name="T1" fmla="*/ 0 h 16"/>
              <a:gd name="T2" fmla="*/ 0 w 18"/>
              <a:gd name="T3" fmla="*/ 0 h 16"/>
              <a:gd name="T4" fmla="*/ 12700 w 18"/>
              <a:gd name="T5" fmla="*/ 15875 h 16"/>
              <a:gd name="T6" fmla="*/ 0 w 18"/>
              <a:gd name="T7" fmla="*/ 158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8516" name="Freeform 83"/>
          <p:cNvSpPr>
            <a:spLocks noChangeAspect="1"/>
          </p:cNvSpPr>
          <p:nvPr>
            <p:custDataLst>
              <p:tags r:id="rId57"/>
            </p:custDataLst>
          </p:nvPr>
        </p:nvSpPr>
        <p:spPr bwMode="auto">
          <a:xfrm>
            <a:off x="2714625" y="3429000"/>
            <a:ext cx="26988" cy="1588"/>
          </a:xfrm>
          <a:custGeom>
            <a:avLst/>
            <a:gdLst>
              <a:gd name="T0" fmla="*/ 0 w 33"/>
              <a:gd name="T1" fmla="*/ 0 h 1588"/>
              <a:gd name="T2" fmla="*/ 0 w 33"/>
              <a:gd name="T3" fmla="*/ 0 h 1588"/>
              <a:gd name="T4" fmla="*/ 12267 w 33"/>
              <a:gd name="T5" fmla="*/ 0 h 1588"/>
              <a:gd name="T6" fmla="*/ 26988 w 33"/>
              <a:gd name="T7" fmla="*/ 0 h 1588"/>
              <a:gd name="T8" fmla="*/ 0 60000 65536"/>
              <a:gd name="T9" fmla="*/ 0 60000 65536"/>
              <a:gd name="T10" fmla="*/ 0 60000 65536"/>
              <a:gd name="T11" fmla="*/ 0 60000 65536"/>
              <a:gd name="T12" fmla="*/ 0 w 33"/>
              <a:gd name="T13" fmla="*/ 0 h 1588"/>
              <a:gd name="T14" fmla="*/ 33 w 33"/>
              <a:gd name="T15" fmla="*/ 1588 h 1588"/>
            </a:gdLst>
            <a:ahLst/>
            <a:cxnLst>
              <a:cxn ang="T8">
                <a:pos x="T0" y="T1"/>
              </a:cxn>
              <a:cxn ang="T9">
                <a:pos x="T2" y="T3"/>
              </a:cxn>
              <a:cxn ang="T10">
                <a:pos x="T4" y="T5"/>
              </a:cxn>
              <a:cxn ang="T11">
                <a:pos x="T6" y="T7"/>
              </a:cxn>
            </a:cxnLst>
            <a:rect l="T12" t="T13" r="T14" b="T15"/>
            <a:pathLst>
              <a:path w="33" h="1588">
                <a:moveTo>
                  <a:pt x="0" y="0"/>
                </a:moveTo>
                <a:lnTo>
                  <a:pt x="0" y="0"/>
                </a:lnTo>
                <a:lnTo>
                  <a:pt x="15" y="0"/>
                </a:lnTo>
                <a:lnTo>
                  <a:pt x="33" y="0"/>
                </a:lnTo>
              </a:path>
            </a:pathLst>
          </a:custGeom>
          <a:solidFill>
            <a:schemeClr val="accent1"/>
          </a:solidFill>
          <a:ln w="9525">
            <a:solidFill>
              <a:schemeClr val="bg2"/>
            </a:solidFill>
            <a:prstDash val="solid"/>
            <a:round/>
            <a:headEnd/>
            <a:tailEnd/>
          </a:ln>
        </p:spPr>
        <p:txBody>
          <a:bodyPr/>
          <a:lstStyle/>
          <a:p>
            <a:endParaRPr lang="en-US" dirty="0"/>
          </a:p>
        </p:txBody>
      </p:sp>
      <p:sp>
        <p:nvSpPr>
          <p:cNvPr id="18517" name="Line 84"/>
          <p:cNvSpPr>
            <a:spLocks noChangeAspect="1" noChangeShapeType="1"/>
          </p:cNvSpPr>
          <p:nvPr>
            <p:custDataLst>
              <p:tags r:id="rId58"/>
            </p:custDataLst>
          </p:nvPr>
        </p:nvSpPr>
        <p:spPr bwMode="auto">
          <a:xfrm>
            <a:off x="2654300" y="3379788"/>
            <a:ext cx="11113" cy="12700"/>
          </a:xfrm>
          <a:prstGeom prst="line">
            <a:avLst/>
          </a:prstGeom>
          <a:noFill/>
          <a:ln w="9525">
            <a:solidFill>
              <a:schemeClr val="bg2"/>
            </a:solidFill>
            <a:round/>
            <a:headEnd/>
            <a:tailEnd/>
          </a:ln>
        </p:spPr>
        <p:txBody>
          <a:bodyPr/>
          <a:lstStyle/>
          <a:p>
            <a:endParaRPr lang="en-US" dirty="0"/>
          </a:p>
        </p:txBody>
      </p:sp>
      <p:sp>
        <p:nvSpPr>
          <p:cNvPr id="18518" name="Freeform 85"/>
          <p:cNvSpPr>
            <a:spLocks noChangeAspect="1"/>
          </p:cNvSpPr>
          <p:nvPr>
            <p:custDataLst>
              <p:tags r:id="rId59"/>
            </p:custDataLst>
          </p:nvPr>
        </p:nvSpPr>
        <p:spPr bwMode="auto">
          <a:xfrm>
            <a:off x="1593850" y="2651125"/>
            <a:ext cx="1244600" cy="693738"/>
          </a:xfrm>
          <a:custGeom>
            <a:avLst/>
            <a:gdLst>
              <a:gd name="T0" fmla="*/ 628610 w 1578"/>
              <a:gd name="T1" fmla="*/ 15024 h 785"/>
              <a:gd name="T2" fmla="*/ 683031 w 1578"/>
              <a:gd name="T3" fmla="*/ 29164 h 785"/>
              <a:gd name="T4" fmla="*/ 697228 w 1578"/>
              <a:gd name="T5" fmla="*/ 99863 h 785"/>
              <a:gd name="T6" fmla="*/ 780044 w 1578"/>
              <a:gd name="T7" fmla="*/ 84839 h 785"/>
              <a:gd name="T8" fmla="*/ 807649 w 1578"/>
              <a:gd name="T9" fmla="*/ 99863 h 785"/>
              <a:gd name="T10" fmla="*/ 875479 w 1578"/>
              <a:gd name="T11" fmla="*/ 114003 h 785"/>
              <a:gd name="T12" fmla="*/ 793452 w 1578"/>
              <a:gd name="T13" fmla="*/ 169679 h 785"/>
              <a:gd name="T14" fmla="*/ 793452 w 1578"/>
              <a:gd name="T15" fmla="*/ 241262 h 785"/>
              <a:gd name="T16" fmla="*/ 821058 w 1578"/>
              <a:gd name="T17" fmla="*/ 241262 h 785"/>
              <a:gd name="T18" fmla="*/ 848663 w 1578"/>
              <a:gd name="T19" fmla="*/ 142283 h 785"/>
              <a:gd name="T20" fmla="*/ 888887 w 1578"/>
              <a:gd name="T21" fmla="*/ 169679 h 785"/>
              <a:gd name="T22" fmla="*/ 903084 w 1578"/>
              <a:gd name="T23" fmla="*/ 212098 h 785"/>
              <a:gd name="T24" fmla="*/ 903084 w 1578"/>
              <a:gd name="T25" fmla="*/ 254518 h 785"/>
              <a:gd name="T26" fmla="*/ 984323 w 1578"/>
              <a:gd name="T27" fmla="*/ 198842 h 785"/>
              <a:gd name="T28" fmla="*/ 1066349 w 1578"/>
              <a:gd name="T29" fmla="*/ 156422 h 785"/>
              <a:gd name="T30" fmla="*/ 1190178 w 1578"/>
              <a:gd name="T31" fmla="*/ 71583 h 785"/>
              <a:gd name="T32" fmla="*/ 1217784 w 1578"/>
              <a:gd name="T33" fmla="*/ 84839 h 785"/>
              <a:gd name="T34" fmla="*/ 1244600 w 1578"/>
              <a:gd name="T35" fmla="*/ 156422 h 785"/>
              <a:gd name="T36" fmla="*/ 1190178 w 1578"/>
              <a:gd name="T37" fmla="*/ 184702 h 785"/>
              <a:gd name="T38" fmla="*/ 1163362 w 1578"/>
              <a:gd name="T39" fmla="*/ 254518 h 785"/>
              <a:gd name="T40" fmla="*/ 1176770 w 1578"/>
              <a:gd name="T41" fmla="*/ 254518 h 785"/>
              <a:gd name="T42" fmla="*/ 1093955 w 1578"/>
              <a:gd name="T43" fmla="*/ 283681 h 785"/>
              <a:gd name="T44" fmla="*/ 1052941 w 1578"/>
              <a:gd name="T45" fmla="*/ 311961 h 785"/>
              <a:gd name="T46" fmla="*/ 1052941 w 1578"/>
              <a:gd name="T47" fmla="*/ 354381 h 785"/>
              <a:gd name="T48" fmla="*/ 1038744 w 1578"/>
              <a:gd name="T49" fmla="*/ 326101 h 785"/>
              <a:gd name="T50" fmla="*/ 1038744 w 1578"/>
              <a:gd name="T51" fmla="*/ 354381 h 785"/>
              <a:gd name="T52" fmla="*/ 1038744 w 1578"/>
              <a:gd name="T53" fmla="*/ 452476 h 785"/>
              <a:gd name="T54" fmla="*/ 929901 w 1578"/>
              <a:gd name="T55" fmla="*/ 551455 h 785"/>
              <a:gd name="T56" fmla="*/ 943309 w 1578"/>
              <a:gd name="T57" fmla="*/ 693738 h 785"/>
              <a:gd name="T58" fmla="*/ 903084 w 1578"/>
              <a:gd name="T59" fmla="*/ 593875 h 785"/>
              <a:gd name="T60" fmla="*/ 848663 w 1578"/>
              <a:gd name="T61" fmla="*/ 566479 h 785"/>
              <a:gd name="T62" fmla="*/ 793452 w 1578"/>
              <a:gd name="T63" fmla="*/ 551455 h 785"/>
              <a:gd name="T64" fmla="*/ 766636 w 1578"/>
              <a:gd name="T65" fmla="*/ 566479 h 785"/>
              <a:gd name="T66" fmla="*/ 753227 w 1578"/>
              <a:gd name="T67" fmla="*/ 593875 h 785"/>
              <a:gd name="T68" fmla="*/ 697228 w 1578"/>
              <a:gd name="T69" fmla="*/ 579735 h 785"/>
              <a:gd name="T70" fmla="*/ 642018 w 1578"/>
              <a:gd name="T71" fmla="*/ 579735 h 785"/>
              <a:gd name="T72" fmla="*/ 587596 w 1578"/>
              <a:gd name="T73" fmla="*/ 636295 h 785"/>
              <a:gd name="T74" fmla="*/ 492161 w 1578"/>
              <a:gd name="T75" fmla="*/ 579735 h 785"/>
              <a:gd name="T76" fmla="*/ 451937 w 1578"/>
              <a:gd name="T77" fmla="*/ 593875 h 785"/>
              <a:gd name="T78" fmla="*/ 396726 w 1578"/>
              <a:gd name="T79" fmla="*/ 524059 h 785"/>
              <a:gd name="T80" fmla="*/ 164054 w 1578"/>
              <a:gd name="T81" fmla="*/ 509036 h 785"/>
              <a:gd name="T82" fmla="*/ 136449 w 1578"/>
              <a:gd name="T83" fmla="*/ 466616 h 785"/>
              <a:gd name="T84" fmla="*/ 55210 w 1578"/>
              <a:gd name="T85" fmla="*/ 410057 h 785"/>
              <a:gd name="T86" fmla="*/ 41013 w 1578"/>
              <a:gd name="T87" fmla="*/ 367637 h 785"/>
              <a:gd name="T88" fmla="*/ 27605 w 1578"/>
              <a:gd name="T89" fmla="*/ 354381 h 785"/>
              <a:gd name="T90" fmla="*/ 14197 w 1578"/>
              <a:gd name="T91" fmla="*/ 311961 h 785"/>
              <a:gd name="T92" fmla="*/ 0 w 1578"/>
              <a:gd name="T93" fmla="*/ 212098 h 785"/>
              <a:gd name="T94" fmla="*/ 14197 w 1578"/>
              <a:gd name="T95" fmla="*/ 114003 h 785"/>
              <a:gd name="T96" fmla="*/ 41013 w 1578"/>
              <a:gd name="T97" fmla="*/ 57443 h 785"/>
              <a:gd name="T98" fmla="*/ 41013 w 1578"/>
              <a:gd name="T99" fmla="*/ 29164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noFill/>
          <a:ln w="9525">
            <a:solidFill>
              <a:schemeClr val="bg2"/>
            </a:solidFill>
            <a:round/>
            <a:headEnd/>
            <a:tailEnd/>
          </a:ln>
        </p:spPr>
        <p:txBody>
          <a:bodyPr/>
          <a:lstStyle/>
          <a:p>
            <a:endParaRPr lang="en-US" dirty="0"/>
          </a:p>
        </p:txBody>
      </p:sp>
      <p:sp>
        <p:nvSpPr>
          <p:cNvPr id="18519" name="Freeform 86"/>
          <p:cNvSpPr>
            <a:spLocks noChangeAspect="1"/>
          </p:cNvSpPr>
          <p:nvPr>
            <p:custDataLst>
              <p:tags r:id="rId60"/>
            </p:custDataLst>
          </p:nvPr>
        </p:nvSpPr>
        <p:spPr bwMode="auto">
          <a:xfrm>
            <a:off x="2687638" y="5292725"/>
            <a:ext cx="109537" cy="112713"/>
          </a:xfrm>
          <a:custGeom>
            <a:avLst/>
            <a:gdLst>
              <a:gd name="T0" fmla="*/ 109537 w 140"/>
              <a:gd name="T1" fmla="*/ 85877 h 126"/>
              <a:gd name="T2" fmla="*/ 109537 w 140"/>
              <a:gd name="T3" fmla="*/ 85877 h 126"/>
              <a:gd name="T4" fmla="*/ 109537 w 140"/>
              <a:gd name="T5" fmla="*/ 0 h 126"/>
              <a:gd name="T6" fmla="*/ 80588 w 140"/>
              <a:gd name="T7" fmla="*/ 13418 h 126"/>
              <a:gd name="T8" fmla="*/ 67287 w 140"/>
              <a:gd name="T9" fmla="*/ 26836 h 126"/>
              <a:gd name="T10" fmla="*/ 80588 w 140"/>
              <a:gd name="T11" fmla="*/ 42938 h 126"/>
              <a:gd name="T12" fmla="*/ 95454 w 140"/>
              <a:gd name="T13" fmla="*/ 26836 h 126"/>
              <a:gd name="T14" fmla="*/ 95454 w 140"/>
              <a:gd name="T15" fmla="*/ 42938 h 126"/>
              <a:gd name="T16" fmla="*/ 80588 w 140"/>
              <a:gd name="T17" fmla="*/ 42938 h 126"/>
              <a:gd name="T18" fmla="*/ 80588 w 140"/>
              <a:gd name="T19" fmla="*/ 69775 h 126"/>
              <a:gd name="T20" fmla="*/ 80588 w 140"/>
              <a:gd name="T21" fmla="*/ 56357 h 126"/>
              <a:gd name="T22" fmla="*/ 67287 w 140"/>
              <a:gd name="T23" fmla="*/ 56357 h 126"/>
              <a:gd name="T24" fmla="*/ 53986 w 140"/>
              <a:gd name="T25" fmla="*/ 56357 h 126"/>
              <a:gd name="T26" fmla="*/ 13301 w 140"/>
              <a:gd name="T27" fmla="*/ 26836 h 126"/>
              <a:gd name="T28" fmla="*/ 0 w 140"/>
              <a:gd name="T29" fmla="*/ 42938 h 126"/>
              <a:gd name="T30" fmla="*/ 13301 w 140"/>
              <a:gd name="T31" fmla="*/ 56357 h 126"/>
              <a:gd name="T32" fmla="*/ 26602 w 140"/>
              <a:gd name="T33" fmla="*/ 56357 h 126"/>
              <a:gd name="T34" fmla="*/ 26602 w 140"/>
              <a:gd name="T35" fmla="*/ 69775 h 126"/>
              <a:gd name="T36" fmla="*/ 39903 w 140"/>
              <a:gd name="T37" fmla="*/ 69775 h 126"/>
              <a:gd name="T38" fmla="*/ 39903 w 140"/>
              <a:gd name="T39" fmla="*/ 85877 h 126"/>
              <a:gd name="T40" fmla="*/ 67287 w 140"/>
              <a:gd name="T41" fmla="*/ 99295 h 126"/>
              <a:gd name="T42" fmla="*/ 80588 w 140"/>
              <a:gd name="T43" fmla="*/ 99295 h 126"/>
              <a:gd name="T44" fmla="*/ 95454 w 140"/>
              <a:gd name="T45" fmla="*/ 112713 h 126"/>
              <a:gd name="T46" fmla="*/ 109537 w 140"/>
              <a:gd name="T47" fmla="*/ 85877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chemeClr val="accent2"/>
          </a:solidFill>
          <a:ln w="9525">
            <a:solidFill>
              <a:schemeClr val="bg2"/>
            </a:solidFill>
            <a:prstDash val="solid"/>
            <a:round/>
            <a:headEnd/>
            <a:tailEnd/>
          </a:ln>
        </p:spPr>
        <p:txBody>
          <a:bodyPr/>
          <a:lstStyle/>
          <a:p>
            <a:endParaRPr lang="en-US" dirty="0"/>
          </a:p>
        </p:txBody>
      </p:sp>
      <p:sp>
        <p:nvSpPr>
          <p:cNvPr id="18520" name="Freeform 87"/>
          <p:cNvSpPr>
            <a:spLocks noChangeAspect="1"/>
          </p:cNvSpPr>
          <p:nvPr>
            <p:custDataLst>
              <p:tags r:id="rId61"/>
            </p:custDataLst>
          </p:nvPr>
        </p:nvSpPr>
        <p:spPr bwMode="auto">
          <a:xfrm>
            <a:off x="2819400" y="5257800"/>
            <a:ext cx="82550" cy="128588"/>
          </a:xfrm>
          <a:custGeom>
            <a:avLst/>
            <a:gdLst>
              <a:gd name="T0" fmla="*/ 0 w 103"/>
              <a:gd name="T1" fmla="*/ 85725 h 144"/>
              <a:gd name="T2" fmla="*/ 0 w 103"/>
              <a:gd name="T3" fmla="*/ 85725 h 144"/>
              <a:gd name="T4" fmla="*/ 0 w 103"/>
              <a:gd name="T5" fmla="*/ 0 h 144"/>
              <a:gd name="T6" fmla="*/ 13625 w 103"/>
              <a:gd name="T7" fmla="*/ 42863 h 144"/>
              <a:gd name="T8" fmla="*/ 55300 w 103"/>
              <a:gd name="T9" fmla="*/ 69652 h 144"/>
              <a:gd name="T10" fmla="*/ 82550 w 103"/>
              <a:gd name="T11" fmla="*/ 85725 h 144"/>
              <a:gd name="T12" fmla="*/ 68925 w 103"/>
              <a:gd name="T13" fmla="*/ 99120 h 144"/>
              <a:gd name="T14" fmla="*/ 27250 w 103"/>
              <a:gd name="T15" fmla="*/ 112514 h 144"/>
              <a:gd name="T16" fmla="*/ 13625 w 103"/>
              <a:gd name="T17" fmla="*/ 128588 h 144"/>
              <a:gd name="T18" fmla="*/ 0 w 103"/>
              <a:gd name="T19" fmla="*/ 85725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chemeClr val="accent2"/>
          </a:solidFill>
          <a:ln w="9525">
            <a:solidFill>
              <a:schemeClr val="bg2"/>
            </a:solidFill>
            <a:round/>
            <a:headEnd/>
            <a:tailEnd/>
          </a:ln>
        </p:spPr>
        <p:txBody>
          <a:bodyPr/>
          <a:lstStyle/>
          <a:p>
            <a:endParaRPr lang="en-US" dirty="0"/>
          </a:p>
        </p:txBody>
      </p:sp>
      <p:sp>
        <p:nvSpPr>
          <p:cNvPr id="18521" name="Freeform 88"/>
          <p:cNvSpPr>
            <a:spLocks noChangeAspect="1"/>
          </p:cNvSpPr>
          <p:nvPr>
            <p:custDataLst>
              <p:tags r:id="rId62"/>
            </p:custDataLst>
          </p:nvPr>
        </p:nvSpPr>
        <p:spPr bwMode="auto">
          <a:xfrm>
            <a:off x="2306638" y="3921125"/>
            <a:ext cx="11112" cy="30163"/>
          </a:xfrm>
          <a:custGeom>
            <a:avLst/>
            <a:gdLst>
              <a:gd name="T0" fmla="*/ 0 w 15"/>
              <a:gd name="T1" fmla="*/ 0 h 33"/>
              <a:gd name="T2" fmla="*/ 0 w 15"/>
              <a:gd name="T3" fmla="*/ 0 h 33"/>
              <a:gd name="T4" fmla="*/ 11112 w 15"/>
              <a:gd name="T5" fmla="*/ 16453 h 33"/>
              <a:gd name="T6" fmla="*/ 0 w 15"/>
              <a:gd name="T7" fmla="*/ 16453 h 33"/>
              <a:gd name="T8" fmla="*/ 11112 w 15"/>
              <a:gd name="T9" fmla="*/ 30163 h 33"/>
              <a:gd name="T10" fmla="*/ 11112 w 15"/>
              <a:gd name="T11" fmla="*/ 16453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chemeClr val="accent1"/>
          </a:solidFill>
          <a:ln w="9525">
            <a:solidFill>
              <a:schemeClr val="bg2"/>
            </a:solidFill>
            <a:prstDash val="solid"/>
            <a:round/>
            <a:headEnd/>
            <a:tailEnd/>
          </a:ln>
        </p:spPr>
        <p:txBody>
          <a:bodyPr/>
          <a:lstStyle/>
          <a:p>
            <a:endParaRPr lang="en-US" dirty="0"/>
          </a:p>
        </p:txBody>
      </p:sp>
      <p:sp>
        <p:nvSpPr>
          <p:cNvPr id="18522" name="Freeform 89"/>
          <p:cNvSpPr>
            <a:spLocks noChangeAspect="1"/>
          </p:cNvSpPr>
          <p:nvPr>
            <p:custDataLst>
              <p:tags r:id="rId63"/>
            </p:custDataLst>
          </p:nvPr>
        </p:nvSpPr>
        <p:spPr bwMode="auto">
          <a:xfrm>
            <a:off x="2674938" y="4938713"/>
            <a:ext cx="25400" cy="57150"/>
          </a:xfrm>
          <a:custGeom>
            <a:avLst/>
            <a:gdLst>
              <a:gd name="T0" fmla="*/ 13063 w 35"/>
              <a:gd name="T1" fmla="*/ 0 h 65"/>
              <a:gd name="T2" fmla="*/ 13063 w 35"/>
              <a:gd name="T3" fmla="*/ 0 h 65"/>
              <a:gd name="T4" fmla="*/ 0 w 35"/>
              <a:gd name="T5" fmla="*/ 42203 h 65"/>
              <a:gd name="T6" fmla="*/ 13063 w 35"/>
              <a:gd name="T7" fmla="*/ 57150 h 65"/>
              <a:gd name="T8" fmla="*/ 25400 w 35"/>
              <a:gd name="T9" fmla="*/ 14947 h 65"/>
              <a:gd name="T10" fmla="*/ 13063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chemeClr val="bg1"/>
          </a:solidFill>
          <a:ln w="9525">
            <a:solidFill>
              <a:schemeClr val="bg2"/>
            </a:solidFill>
            <a:prstDash val="solid"/>
            <a:round/>
            <a:headEnd/>
            <a:tailEnd/>
          </a:ln>
        </p:spPr>
        <p:txBody>
          <a:bodyPr/>
          <a:lstStyle/>
          <a:p>
            <a:endParaRPr lang="en-US" dirty="0"/>
          </a:p>
        </p:txBody>
      </p:sp>
      <p:sp>
        <p:nvSpPr>
          <p:cNvPr id="18523" name="Freeform 90"/>
          <p:cNvSpPr>
            <a:spLocks noChangeAspect="1"/>
          </p:cNvSpPr>
          <p:nvPr>
            <p:custDataLst>
              <p:tags r:id="rId64"/>
            </p:custDataLst>
          </p:nvPr>
        </p:nvSpPr>
        <p:spPr bwMode="auto">
          <a:xfrm>
            <a:off x="2960688" y="5251450"/>
            <a:ext cx="69850" cy="41275"/>
          </a:xfrm>
          <a:custGeom>
            <a:avLst/>
            <a:gdLst>
              <a:gd name="T0" fmla="*/ 0 w 88"/>
              <a:gd name="T1" fmla="*/ 12898 h 48"/>
              <a:gd name="T2" fmla="*/ 0 w 88"/>
              <a:gd name="T3" fmla="*/ 12898 h 48"/>
              <a:gd name="T4" fmla="*/ 13494 w 88"/>
              <a:gd name="T5" fmla="*/ 25797 h 48"/>
              <a:gd name="T6" fmla="*/ 27781 w 88"/>
              <a:gd name="T7" fmla="*/ 25797 h 48"/>
              <a:gd name="T8" fmla="*/ 41275 w 88"/>
              <a:gd name="T9" fmla="*/ 41275 h 48"/>
              <a:gd name="T10" fmla="*/ 69850 w 88"/>
              <a:gd name="T11" fmla="*/ 12898 h 48"/>
              <a:gd name="T12" fmla="*/ 69850 w 88"/>
              <a:gd name="T13" fmla="*/ 0 h 48"/>
              <a:gd name="T14" fmla="*/ 27781 w 88"/>
              <a:gd name="T15" fmla="*/ 0 h 48"/>
              <a:gd name="T16" fmla="*/ 13494 w 88"/>
              <a:gd name="T17" fmla="*/ 0 h 48"/>
              <a:gd name="T18" fmla="*/ 27781 w 88"/>
              <a:gd name="T19" fmla="*/ 12898 h 48"/>
              <a:gd name="T20" fmla="*/ 13494 w 88"/>
              <a:gd name="T21" fmla="*/ 25797 h 48"/>
              <a:gd name="T22" fmla="*/ 0 w 88"/>
              <a:gd name="T23" fmla="*/ 12898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24" name="Freeform 91"/>
          <p:cNvSpPr>
            <a:spLocks noChangeAspect="1"/>
          </p:cNvSpPr>
          <p:nvPr>
            <p:custDataLst>
              <p:tags r:id="rId65"/>
            </p:custDataLst>
          </p:nvPr>
        </p:nvSpPr>
        <p:spPr bwMode="auto">
          <a:xfrm>
            <a:off x="2644775" y="4324350"/>
            <a:ext cx="177800" cy="1028700"/>
          </a:xfrm>
          <a:custGeom>
            <a:avLst/>
            <a:gdLst>
              <a:gd name="T0" fmla="*/ 109538 w 224"/>
              <a:gd name="T1" fmla="*/ 14104 h 1167"/>
              <a:gd name="T2" fmla="*/ 150813 w 224"/>
              <a:gd name="T3" fmla="*/ 42312 h 1167"/>
              <a:gd name="T4" fmla="*/ 164306 w 224"/>
              <a:gd name="T5" fmla="*/ 126935 h 1167"/>
              <a:gd name="T6" fmla="*/ 177800 w 224"/>
              <a:gd name="T7" fmla="*/ 154261 h 1167"/>
              <a:gd name="T8" fmla="*/ 164306 w 224"/>
              <a:gd name="T9" fmla="*/ 211558 h 1167"/>
              <a:gd name="T10" fmla="*/ 109538 w 224"/>
              <a:gd name="T11" fmla="*/ 338493 h 1167"/>
              <a:gd name="T12" fmla="*/ 109538 w 224"/>
              <a:gd name="T13" fmla="*/ 436338 h 1167"/>
              <a:gd name="T14" fmla="*/ 96044 w 224"/>
              <a:gd name="T15" fmla="*/ 478650 h 1167"/>
              <a:gd name="T16" fmla="*/ 81756 w 224"/>
              <a:gd name="T17" fmla="*/ 563273 h 1167"/>
              <a:gd name="T18" fmla="*/ 81756 w 224"/>
              <a:gd name="T19" fmla="*/ 647896 h 1167"/>
              <a:gd name="T20" fmla="*/ 96044 w 224"/>
              <a:gd name="T21" fmla="*/ 704311 h 1167"/>
              <a:gd name="T22" fmla="*/ 81756 w 224"/>
              <a:gd name="T23" fmla="*/ 719297 h 1167"/>
              <a:gd name="T24" fmla="*/ 81756 w 224"/>
              <a:gd name="T25" fmla="*/ 774830 h 1167"/>
              <a:gd name="T26" fmla="*/ 68263 w 224"/>
              <a:gd name="T27" fmla="*/ 830364 h 1167"/>
              <a:gd name="T28" fmla="*/ 54769 w 224"/>
              <a:gd name="T29" fmla="*/ 901765 h 1167"/>
              <a:gd name="T30" fmla="*/ 68263 w 224"/>
              <a:gd name="T31" fmla="*/ 901765 h 1167"/>
              <a:gd name="T32" fmla="*/ 81756 w 224"/>
              <a:gd name="T33" fmla="*/ 957299 h 1167"/>
              <a:gd name="T34" fmla="*/ 150813 w 224"/>
              <a:gd name="T35" fmla="*/ 957299 h 1167"/>
              <a:gd name="T36" fmla="*/ 136525 w 224"/>
              <a:gd name="T37" fmla="*/ 957299 h 1167"/>
              <a:gd name="T38" fmla="*/ 109538 w 224"/>
              <a:gd name="T39" fmla="*/ 986388 h 1167"/>
              <a:gd name="T40" fmla="*/ 96044 w 224"/>
              <a:gd name="T41" fmla="*/ 1028700 h 1167"/>
              <a:gd name="T42" fmla="*/ 96044 w 224"/>
              <a:gd name="T43" fmla="*/ 999611 h 1167"/>
              <a:gd name="T44" fmla="*/ 68263 w 224"/>
              <a:gd name="T45" fmla="*/ 999611 h 1167"/>
              <a:gd name="T46" fmla="*/ 54769 w 224"/>
              <a:gd name="T47" fmla="*/ 973166 h 1167"/>
              <a:gd name="T48" fmla="*/ 26988 w 224"/>
              <a:gd name="T49" fmla="*/ 957299 h 1167"/>
              <a:gd name="T50" fmla="*/ 13494 w 224"/>
              <a:gd name="T51" fmla="*/ 957299 h 1167"/>
              <a:gd name="T52" fmla="*/ 26988 w 224"/>
              <a:gd name="T53" fmla="*/ 944077 h 1167"/>
              <a:gd name="T54" fmla="*/ 26988 w 224"/>
              <a:gd name="T55" fmla="*/ 914988 h 1167"/>
              <a:gd name="T56" fmla="*/ 13494 w 224"/>
              <a:gd name="T57" fmla="*/ 944077 h 1167"/>
              <a:gd name="T58" fmla="*/ 26988 w 224"/>
              <a:gd name="T59" fmla="*/ 914988 h 1167"/>
              <a:gd name="T60" fmla="*/ 13494 w 224"/>
              <a:gd name="T61" fmla="*/ 914988 h 1167"/>
              <a:gd name="T62" fmla="*/ 0 w 224"/>
              <a:gd name="T63" fmla="*/ 872676 h 1167"/>
              <a:gd name="T64" fmla="*/ 13494 w 224"/>
              <a:gd name="T65" fmla="*/ 817142 h 1167"/>
              <a:gd name="T66" fmla="*/ 26988 w 224"/>
              <a:gd name="T67" fmla="*/ 830364 h 1167"/>
              <a:gd name="T68" fmla="*/ 13494 w 224"/>
              <a:gd name="T69" fmla="*/ 774830 h 1167"/>
              <a:gd name="T70" fmla="*/ 26988 w 224"/>
              <a:gd name="T71" fmla="*/ 761608 h 1167"/>
              <a:gd name="T72" fmla="*/ 26988 w 224"/>
              <a:gd name="T73" fmla="*/ 745741 h 1167"/>
              <a:gd name="T74" fmla="*/ 41275 w 224"/>
              <a:gd name="T75" fmla="*/ 690207 h 1167"/>
              <a:gd name="T76" fmla="*/ 41275 w 224"/>
              <a:gd name="T77" fmla="*/ 719297 h 1167"/>
              <a:gd name="T78" fmla="*/ 68263 w 224"/>
              <a:gd name="T79" fmla="*/ 634673 h 1167"/>
              <a:gd name="T80" fmla="*/ 54769 w 224"/>
              <a:gd name="T81" fmla="*/ 619688 h 1167"/>
              <a:gd name="T82" fmla="*/ 41275 w 224"/>
              <a:gd name="T83" fmla="*/ 563273 h 1167"/>
              <a:gd name="T84" fmla="*/ 41275 w 224"/>
              <a:gd name="T85" fmla="*/ 507739 h 1167"/>
              <a:gd name="T86" fmla="*/ 96044 w 224"/>
              <a:gd name="T87" fmla="*/ 365819 h 1167"/>
              <a:gd name="T88" fmla="*/ 96044 w 224"/>
              <a:gd name="T89" fmla="*/ 296181 h 1167"/>
              <a:gd name="T90" fmla="*/ 109538 w 224"/>
              <a:gd name="T91" fmla="*/ 211558 h 1167"/>
              <a:gd name="T92" fmla="*/ 123031 w 224"/>
              <a:gd name="T93" fmla="*/ 84623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chemeClr val="accent2"/>
          </a:solidFill>
          <a:ln w="9525">
            <a:solidFill>
              <a:schemeClr val="bg2"/>
            </a:solidFill>
            <a:prstDash val="solid"/>
            <a:round/>
            <a:headEnd/>
            <a:tailEnd/>
          </a:ln>
        </p:spPr>
        <p:txBody>
          <a:bodyPr/>
          <a:lstStyle/>
          <a:p>
            <a:endParaRPr lang="en-US" dirty="0"/>
          </a:p>
        </p:txBody>
      </p:sp>
      <p:sp>
        <p:nvSpPr>
          <p:cNvPr id="18525" name="Freeform 92"/>
          <p:cNvSpPr>
            <a:spLocks noChangeAspect="1"/>
          </p:cNvSpPr>
          <p:nvPr>
            <p:custDataLst>
              <p:tags r:id="rId66"/>
            </p:custDataLst>
          </p:nvPr>
        </p:nvSpPr>
        <p:spPr bwMode="auto">
          <a:xfrm>
            <a:off x="2576513" y="3644900"/>
            <a:ext cx="246062" cy="366713"/>
          </a:xfrm>
          <a:custGeom>
            <a:avLst/>
            <a:gdLst>
              <a:gd name="T0" fmla="*/ 191469 w 311"/>
              <a:gd name="T1" fmla="*/ 366713 h 414"/>
              <a:gd name="T2" fmla="*/ 191469 w 311"/>
              <a:gd name="T3" fmla="*/ 366713 h 414"/>
              <a:gd name="T4" fmla="*/ 204920 w 311"/>
              <a:gd name="T5" fmla="*/ 310909 h 414"/>
              <a:gd name="T6" fmla="*/ 191469 w 311"/>
              <a:gd name="T7" fmla="*/ 268391 h 414"/>
              <a:gd name="T8" fmla="*/ 204920 w 311"/>
              <a:gd name="T9" fmla="*/ 268391 h 414"/>
              <a:gd name="T10" fmla="*/ 191469 w 311"/>
              <a:gd name="T11" fmla="*/ 255105 h 414"/>
              <a:gd name="T12" fmla="*/ 191469 w 311"/>
              <a:gd name="T13" fmla="*/ 239161 h 414"/>
              <a:gd name="T14" fmla="*/ 246062 w 311"/>
              <a:gd name="T15" fmla="*/ 239161 h 414"/>
              <a:gd name="T16" fmla="*/ 246062 w 311"/>
              <a:gd name="T17" fmla="*/ 212587 h 414"/>
              <a:gd name="T18" fmla="*/ 232612 w 311"/>
              <a:gd name="T19" fmla="*/ 183357 h 414"/>
              <a:gd name="T20" fmla="*/ 246062 w 311"/>
              <a:gd name="T21" fmla="*/ 140839 h 414"/>
              <a:gd name="T22" fmla="*/ 204920 w 311"/>
              <a:gd name="T23" fmla="*/ 140839 h 414"/>
              <a:gd name="T24" fmla="*/ 191469 w 311"/>
              <a:gd name="T25" fmla="*/ 127552 h 414"/>
              <a:gd name="T26" fmla="*/ 150327 w 311"/>
              <a:gd name="T27" fmla="*/ 127552 h 414"/>
              <a:gd name="T28" fmla="*/ 136877 w 311"/>
              <a:gd name="T29" fmla="*/ 111608 h 414"/>
              <a:gd name="T30" fmla="*/ 136877 w 311"/>
              <a:gd name="T31" fmla="*/ 98322 h 414"/>
              <a:gd name="T32" fmla="*/ 123427 w 311"/>
              <a:gd name="T33" fmla="*/ 69091 h 414"/>
              <a:gd name="T34" fmla="*/ 136877 w 311"/>
              <a:gd name="T35" fmla="*/ 42517 h 414"/>
              <a:gd name="T36" fmla="*/ 150327 w 311"/>
              <a:gd name="T37" fmla="*/ 26573 h 414"/>
              <a:gd name="T38" fmla="*/ 164569 w 311"/>
              <a:gd name="T39" fmla="*/ 13287 h 414"/>
              <a:gd name="T40" fmla="*/ 150327 w 311"/>
              <a:gd name="T41" fmla="*/ 0 h 414"/>
              <a:gd name="T42" fmla="*/ 123427 w 311"/>
              <a:gd name="T43" fmla="*/ 26573 h 414"/>
              <a:gd name="T44" fmla="*/ 82284 w 311"/>
              <a:gd name="T45" fmla="*/ 42517 h 414"/>
              <a:gd name="T46" fmla="*/ 68834 w 311"/>
              <a:gd name="T47" fmla="*/ 69091 h 414"/>
              <a:gd name="T48" fmla="*/ 41142 w 311"/>
              <a:gd name="T49" fmla="*/ 85035 h 414"/>
              <a:gd name="T50" fmla="*/ 41142 w 311"/>
              <a:gd name="T51" fmla="*/ 111608 h 414"/>
              <a:gd name="T52" fmla="*/ 27692 w 311"/>
              <a:gd name="T53" fmla="*/ 85035 h 414"/>
              <a:gd name="T54" fmla="*/ 41142 w 311"/>
              <a:gd name="T55" fmla="*/ 98322 h 414"/>
              <a:gd name="T56" fmla="*/ 27692 w 311"/>
              <a:gd name="T57" fmla="*/ 111608 h 414"/>
              <a:gd name="T58" fmla="*/ 27692 w 311"/>
              <a:gd name="T59" fmla="*/ 127552 h 414"/>
              <a:gd name="T60" fmla="*/ 27692 w 311"/>
              <a:gd name="T61" fmla="*/ 140839 h 414"/>
              <a:gd name="T62" fmla="*/ 27692 w 311"/>
              <a:gd name="T63" fmla="*/ 196643 h 414"/>
              <a:gd name="T64" fmla="*/ 41142 w 311"/>
              <a:gd name="T65" fmla="*/ 196643 h 414"/>
              <a:gd name="T66" fmla="*/ 27692 w 311"/>
              <a:gd name="T67" fmla="*/ 225874 h 414"/>
              <a:gd name="T68" fmla="*/ 14242 w 311"/>
              <a:gd name="T69" fmla="*/ 225874 h 414"/>
              <a:gd name="T70" fmla="*/ 14242 w 311"/>
              <a:gd name="T71" fmla="*/ 239161 h 414"/>
              <a:gd name="T72" fmla="*/ 0 w 311"/>
              <a:gd name="T73" fmla="*/ 239161 h 414"/>
              <a:gd name="T74" fmla="*/ 0 w 311"/>
              <a:gd name="T75" fmla="*/ 255105 h 414"/>
              <a:gd name="T76" fmla="*/ 41142 w 311"/>
              <a:gd name="T77" fmla="*/ 281678 h 414"/>
              <a:gd name="T78" fmla="*/ 68834 w 311"/>
              <a:gd name="T79" fmla="*/ 268391 h 414"/>
              <a:gd name="T80" fmla="*/ 82284 w 311"/>
              <a:gd name="T81" fmla="*/ 281678 h 414"/>
              <a:gd name="T82" fmla="*/ 109976 w 311"/>
              <a:gd name="T83" fmla="*/ 310909 h 414"/>
              <a:gd name="T84" fmla="*/ 123427 w 311"/>
              <a:gd name="T85" fmla="*/ 339254 h 414"/>
              <a:gd name="T86" fmla="*/ 178019 w 311"/>
              <a:gd name="T87" fmla="*/ 324196 h 414"/>
              <a:gd name="T88" fmla="*/ 191469 w 311"/>
              <a:gd name="T89" fmla="*/ 339254 h 414"/>
              <a:gd name="T90" fmla="*/ 191469 w 311"/>
              <a:gd name="T91" fmla="*/ 353426 h 414"/>
              <a:gd name="T92" fmla="*/ 178019 w 311"/>
              <a:gd name="T93" fmla="*/ 353426 h 414"/>
              <a:gd name="T94" fmla="*/ 191469 w 311"/>
              <a:gd name="T95" fmla="*/ 366713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chemeClr val="bg1"/>
          </a:solidFill>
          <a:ln w="9525">
            <a:solidFill>
              <a:schemeClr val="bg2"/>
            </a:solidFill>
            <a:round/>
            <a:headEnd/>
            <a:tailEnd/>
          </a:ln>
        </p:spPr>
        <p:txBody>
          <a:bodyPr/>
          <a:lstStyle/>
          <a:p>
            <a:endParaRPr lang="en-US" dirty="0"/>
          </a:p>
        </p:txBody>
      </p:sp>
      <p:sp>
        <p:nvSpPr>
          <p:cNvPr id="18526" name="Freeform 93"/>
          <p:cNvSpPr>
            <a:spLocks noChangeAspect="1"/>
          </p:cNvSpPr>
          <p:nvPr>
            <p:custDataLst>
              <p:tags r:id="rId67"/>
            </p:custDataLst>
          </p:nvPr>
        </p:nvSpPr>
        <p:spPr bwMode="auto">
          <a:xfrm>
            <a:off x="2538413" y="3900488"/>
            <a:ext cx="119062" cy="141287"/>
          </a:xfrm>
          <a:custGeom>
            <a:avLst/>
            <a:gdLst>
              <a:gd name="T0" fmla="*/ 119062 w 156"/>
              <a:gd name="T1" fmla="*/ 26658 h 159"/>
              <a:gd name="T2" fmla="*/ 119062 w 156"/>
              <a:gd name="T3" fmla="*/ 26658 h 159"/>
              <a:gd name="T4" fmla="*/ 106087 w 156"/>
              <a:gd name="T5" fmla="*/ 13329 h 159"/>
              <a:gd name="T6" fmla="*/ 79375 w 156"/>
              <a:gd name="T7" fmla="*/ 26658 h 159"/>
              <a:gd name="T8" fmla="*/ 39687 w 156"/>
              <a:gd name="T9" fmla="*/ 0 h 159"/>
              <a:gd name="T10" fmla="*/ 13738 w 156"/>
              <a:gd name="T11" fmla="*/ 13329 h 159"/>
              <a:gd name="T12" fmla="*/ 13738 w 156"/>
              <a:gd name="T13" fmla="*/ 26658 h 159"/>
              <a:gd name="T14" fmla="*/ 0 w 156"/>
              <a:gd name="T15" fmla="*/ 42653 h 159"/>
              <a:gd name="T16" fmla="*/ 0 w 156"/>
              <a:gd name="T17" fmla="*/ 69311 h 159"/>
              <a:gd name="T18" fmla="*/ 13738 w 156"/>
              <a:gd name="T19" fmla="*/ 98634 h 159"/>
              <a:gd name="T20" fmla="*/ 13738 w 156"/>
              <a:gd name="T21" fmla="*/ 84417 h 159"/>
              <a:gd name="T22" fmla="*/ 26713 w 156"/>
              <a:gd name="T23" fmla="*/ 84417 h 159"/>
              <a:gd name="T24" fmla="*/ 13738 w 156"/>
              <a:gd name="T25" fmla="*/ 98634 h 159"/>
              <a:gd name="T26" fmla="*/ 0 w 156"/>
              <a:gd name="T27" fmla="*/ 127069 h 159"/>
              <a:gd name="T28" fmla="*/ 26713 w 156"/>
              <a:gd name="T29" fmla="*/ 141287 h 159"/>
              <a:gd name="T30" fmla="*/ 66400 w 156"/>
              <a:gd name="T31" fmla="*/ 98634 h 159"/>
              <a:gd name="T32" fmla="*/ 92349 w 156"/>
              <a:gd name="T33" fmla="*/ 84417 h 159"/>
              <a:gd name="T34" fmla="*/ 106087 w 156"/>
              <a:gd name="T35" fmla="*/ 69311 h 159"/>
              <a:gd name="T36" fmla="*/ 119062 w 156"/>
              <a:gd name="T37" fmla="*/ 42653 h 159"/>
              <a:gd name="T38" fmla="*/ 106087 w 156"/>
              <a:gd name="T39" fmla="*/ 26658 h 159"/>
              <a:gd name="T40" fmla="*/ 119062 w 156"/>
              <a:gd name="T41" fmla="*/ 26658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chemeClr val="bg1"/>
          </a:solidFill>
          <a:ln w="9525">
            <a:solidFill>
              <a:schemeClr val="bg2"/>
            </a:solidFill>
            <a:round/>
            <a:headEnd/>
            <a:tailEnd/>
          </a:ln>
        </p:spPr>
        <p:txBody>
          <a:bodyPr/>
          <a:lstStyle/>
          <a:p>
            <a:endParaRPr lang="en-US" dirty="0"/>
          </a:p>
        </p:txBody>
      </p:sp>
      <p:sp>
        <p:nvSpPr>
          <p:cNvPr id="18527" name="Freeform 94"/>
          <p:cNvSpPr>
            <a:spLocks noChangeAspect="1"/>
          </p:cNvSpPr>
          <p:nvPr>
            <p:custDataLst>
              <p:tags r:id="rId68"/>
            </p:custDataLst>
          </p:nvPr>
        </p:nvSpPr>
        <p:spPr bwMode="auto">
          <a:xfrm>
            <a:off x="2520950" y="3927475"/>
            <a:ext cx="276225" cy="411163"/>
          </a:xfrm>
          <a:custGeom>
            <a:avLst/>
            <a:gdLst>
              <a:gd name="T0" fmla="*/ 262019 w 350"/>
              <a:gd name="T1" fmla="*/ 241393 h 465"/>
              <a:gd name="T2" fmla="*/ 262019 w 350"/>
              <a:gd name="T3" fmla="*/ 241393 h 465"/>
              <a:gd name="T4" fmla="*/ 233607 w 350"/>
              <a:gd name="T5" fmla="*/ 241393 h 465"/>
              <a:gd name="T6" fmla="*/ 233607 w 350"/>
              <a:gd name="T7" fmla="*/ 212213 h 465"/>
              <a:gd name="T8" fmla="*/ 205985 w 350"/>
              <a:gd name="T9" fmla="*/ 227245 h 465"/>
              <a:gd name="T10" fmla="*/ 179152 w 350"/>
              <a:gd name="T11" fmla="*/ 212213 h 465"/>
              <a:gd name="T12" fmla="*/ 165735 w 350"/>
              <a:gd name="T13" fmla="*/ 169771 h 465"/>
              <a:gd name="T14" fmla="*/ 192568 w 350"/>
              <a:gd name="T15" fmla="*/ 114065 h 465"/>
              <a:gd name="T16" fmla="*/ 247024 w 350"/>
              <a:gd name="T17" fmla="*/ 84885 h 465"/>
              <a:gd name="T18" fmla="*/ 233607 w 350"/>
              <a:gd name="T19" fmla="*/ 71622 h 465"/>
              <a:gd name="T20" fmla="*/ 247024 w 350"/>
              <a:gd name="T21" fmla="*/ 71622 h 465"/>
              <a:gd name="T22" fmla="*/ 247024 w 350"/>
              <a:gd name="T23" fmla="*/ 57474 h 465"/>
              <a:gd name="T24" fmla="*/ 233607 w 350"/>
              <a:gd name="T25" fmla="*/ 42443 h 465"/>
              <a:gd name="T26" fmla="*/ 179152 w 350"/>
              <a:gd name="T27" fmla="*/ 57474 h 465"/>
              <a:gd name="T28" fmla="*/ 165735 w 350"/>
              <a:gd name="T29" fmla="*/ 29179 h 465"/>
              <a:gd name="T30" fmla="*/ 138113 w 350"/>
              <a:gd name="T31" fmla="*/ 0 h 465"/>
              <a:gd name="T32" fmla="*/ 124696 w 350"/>
              <a:gd name="T33" fmla="*/ 0 h 465"/>
              <a:gd name="T34" fmla="*/ 138113 w 350"/>
              <a:gd name="T35" fmla="*/ 15916 h 465"/>
              <a:gd name="T36" fmla="*/ 124696 w 350"/>
              <a:gd name="T37" fmla="*/ 42443 h 465"/>
              <a:gd name="T38" fmla="*/ 110490 w 350"/>
              <a:gd name="T39" fmla="*/ 57474 h 465"/>
              <a:gd name="T40" fmla="*/ 83657 w 350"/>
              <a:gd name="T41" fmla="*/ 71622 h 465"/>
              <a:gd name="T42" fmla="*/ 42618 w 350"/>
              <a:gd name="T43" fmla="*/ 114065 h 465"/>
              <a:gd name="T44" fmla="*/ 14995 w 350"/>
              <a:gd name="T45" fmla="*/ 99917 h 465"/>
              <a:gd name="T46" fmla="*/ 29201 w 350"/>
              <a:gd name="T47" fmla="*/ 71622 h 465"/>
              <a:gd name="T48" fmla="*/ 0 w 350"/>
              <a:gd name="T49" fmla="*/ 99917 h 465"/>
              <a:gd name="T50" fmla="*/ 14995 w 350"/>
              <a:gd name="T51" fmla="*/ 127328 h 465"/>
              <a:gd name="T52" fmla="*/ 0 w 350"/>
              <a:gd name="T53" fmla="*/ 127328 h 465"/>
              <a:gd name="T54" fmla="*/ 29201 w 350"/>
              <a:gd name="T55" fmla="*/ 156507 h 465"/>
              <a:gd name="T56" fmla="*/ 56034 w 350"/>
              <a:gd name="T57" fmla="*/ 184802 h 465"/>
              <a:gd name="T58" fmla="*/ 124696 w 350"/>
              <a:gd name="T59" fmla="*/ 326278 h 465"/>
              <a:gd name="T60" fmla="*/ 233607 w 350"/>
              <a:gd name="T61" fmla="*/ 411163 h 465"/>
              <a:gd name="T62" fmla="*/ 262019 w 350"/>
              <a:gd name="T63" fmla="*/ 397015 h 465"/>
              <a:gd name="T64" fmla="*/ 276225 w 350"/>
              <a:gd name="T65" fmla="*/ 368720 h 465"/>
              <a:gd name="T66" fmla="*/ 262019 w 350"/>
              <a:gd name="T67" fmla="*/ 354573 h 465"/>
              <a:gd name="T68" fmla="*/ 276225 w 350"/>
              <a:gd name="T69" fmla="*/ 269688 h 465"/>
              <a:gd name="T70" fmla="*/ 262019 w 350"/>
              <a:gd name="T71" fmla="*/ 241393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chemeClr val="bg1"/>
          </a:solidFill>
          <a:ln w="9525">
            <a:solidFill>
              <a:schemeClr val="bg2"/>
            </a:solidFill>
            <a:round/>
            <a:headEnd/>
            <a:tailEnd/>
          </a:ln>
        </p:spPr>
        <p:txBody>
          <a:bodyPr/>
          <a:lstStyle/>
          <a:p>
            <a:endParaRPr lang="en-US" dirty="0"/>
          </a:p>
        </p:txBody>
      </p:sp>
      <p:sp>
        <p:nvSpPr>
          <p:cNvPr id="18528" name="Freeform 95"/>
          <p:cNvSpPr>
            <a:spLocks noChangeAspect="1"/>
          </p:cNvSpPr>
          <p:nvPr>
            <p:custDataLst>
              <p:tags r:id="rId69"/>
            </p:custDataLst>
          </p:nvPr>
        </p:nvSpPr>
        <p:spPr bwMode="auto">
          <a:xfrm>
            <a:off x="2781300" y="4140200"/>
            <a:ext cx="249238" cy="309563"/>
          </a:xfrm>
          <a:custGeom>
            <a:avLst/>
            <a:gdLst>
              <a:gd name="T0" fmla="*/ 249238 w 313"/>
              <a:gd name="T1" fmla="*/ 239407 h 353"/>
              <a:gd name="T2" fmla="*/ 249238 w 313"/>
              <a:gd name="T3" fmla="*/ 239407 h 353"/>
              <a:gd name="T4" fmla="*/ 249238 w 313"/>
              <a:gd name="T5" fmla="*/ 197314 h 353"/>
              <a:gd name="T6" fmla="*/ 235701 w 313"/>
              <a:gd name="T7" fmla="*/ 168374 h 353"/>
              <a:gd name="T8" fmla="*/ 235701 w 313"/>
              <a:gd name="T9" fmla="*/ 155220 h 353"/>
              <a:gd name="T10" fmla="*/ 208627 w 313"/>
              <a:gd name="T11" fmla="*/ 155220 h 353"/>
              <a:gd name="T12" fmla="*/ 194294 w 313"/>
              <a:gd name="T13" fmla="*/ 126281 h 353"/>
              <a:gd name="T14" fmla="*/ 194294 w 313"/>
              <a:gd name="T15" fmla="*/ 113126 h 353"/>
              <a:gd name="T16" fmla="*/ 180757 w 313"/>
              <a:gd name="T17" fmla="*/ 84187 h 353"/>
              <a:gd name="T18" fmla="*/ 96351 w 313"/>
              <a:gd name="T19" fmla="*/ 57002 h 353"/>
              <a:gd name="T20" fmla="*/ 82814 w 313"/>
              <a:gd name="T21" fmla="*/ 42094 h 353"/>
              <a:gd name="T22" fmla="*/ 82814 w 313"/>
              <a:gd name="T23" fmla="*/ 0 h 353"/>
              <a:gd name="T24" fmla="*/ 55740 w 313"/>
              <a:gd name="T25" fmla="*/ 0 h 353"/>
              <a:gd name="T26" fmla="*/ 27870 w 313"/>
              <a:gd name="T27" fmla="*/ 28939 h 353"/>
              <a:gd name="T28" fmla="*/ 0 w 313"/>
              <a:gd name="T29" fmla="*/ 28939 h 353"/>
              <a:gd name="T30" fmla="*/ 14333 w 313"/>
              <a:gd name="T31" fmla="*/ 57002 h 353"/>
              <a:gd name="T32" fmla="*/ 0 w 313"/>
              <a:gd name="T33" fmla="*/ 141189 h 353"/>
              <a:gd name="T34" fmla="*/ 14333 w 313"/>
              <a:gd name="T35" fmla="*/ 155220 h 353"/>
              <a:gd name="T36" fmla="*/ 0 w 313"/>
              <a:gd name="T37" fmla="*/ 183282 h 353"/>
              <a:gd name="T38" fmla="*/ 14333 w 313"/>
              <a:gd name="T39" fmla="*/ 225376 h 353"/>
              <a:gd name="T40" fmla="*/ 14333 w 313"/>
              <a:gd name="T41" fmla="*/ 239407 h 353"/>
              <a:gd name="T42" fmla="*/ 27870 w 313"/>
              <a:gd name="T43" fmla="*/ 309563 h 353"/>
              <a:gd name="T44" fmla="*/ 41407 w 313"/>
              <a:gd name="T45" fmla="*/ 309563 h 353"/>
              <a:gd name="T46" fmla="*/ 69277 w 313"/>
              <a:gd name="T47" fmla="*/ 281501 h 353"/>
              <a:gd name="T48" fmla="*/ 112277 w 313"/>
              <a:gd name="T49" fmla="*/ 294655 h 353"/>
              <a:gd name="T50" fmla="*/ 125813 w 313"/>
              <a:gd name="T51" fmla="*/ 281501 h 353"/>
              <a:gd name="T52" fmla="*/ 152887 w 313"/>
              <a:gd name="T53" fmla="*/ 294655 h 353"/>
              <a:gd name="T54" fmla="*/ 167220 w 313"/>
              <a:gd name="T55" fmla="*/ 225376 h 353"/>
              <a:gd name="T56" fmla="*/ 222164 w 313"/>
              <a:gd name="T57" fmla="*/ 225376 h 353"/>
              <a:gd name="T58" fmla="*/ 249238 w 313"/>
              <a:gd name="T59" fmla="*/ 239407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chemeClr val="bg1"/>
          </a:solidFill>
          <a:ln w="9525">
            <a:solidFill>
              <a:schemeClr val="bg2"/>
            </a:solidFill>
            <a:round/>
            <a:headEnd/>
            <a:tailEnd/>
          </a:ln>
        </p:spPr>
        <p:txBody>
          <a:bodyPr/>
          <a:lstStyle/>
          <a:p>
            <a:endParaRPr lang="en-US" dirty="0"/>
          </a:p>
        </p:txBody>
      </p:sp>
      <p:sp>
        <p:nvSpPr>
          <p:cNvPr id="18529" name="Freeform 96"/>
          <p:cNvSpPr>
            <a:spLocks noChangeAspect="1"/>
          </p:cNvSpPr>
          <p:nvPr>
            <p:custDataLst>
              <p:tags r:id="rId70"/>
            </p:custDataLst>
          </p:nvPr>
        </p:nvSpPr>
        <p:spPr bwMode="auto">
          <a:xfrm>
            <a:off x="2932113" y="4365625"/>
            <a:ext cx="179387" cy="196850"/>
          </a:xfrm>
          <a:custGeom>
            <a:avLst/>
            <a:gdLst>
              <a:gd name="T0" fmla="*/ 165893 w 226"/>
              <a:gd name="T1" fmla="*/ 141238 h 223"/>
              <a:gd name="T2" fmla="*/ 165893 w 226"/>
              <a:gd name="T3" fmla="*/ 141238 h 223"/>
              <a:gd name="T4" fmla="*/ 179387 w 226"/>
              <a:gd name="T5" fmla="*/ 112107 h 223"/>
              <a:gd name="T6" fmla="*/ 151606 w 226"/>
              <a:gd name="T7" fmla="*/ 98866 h 223"/>
              <a:gd name="T8" fmla="*/ 151606 w 226"/>
              <a:gd name="T9" fmla="*/ 69736 h 223"/>
              <a:gd name="T10" fmla="*/ 138112 w 226"/>
              <a:gd name="T11" fmla="*/ 69736 h 223"/>
              <a:gd name="T12" fmla="*/ 96837 w 226"/>
              <a:gd name="T13" fmla="*/ 56495 h 223"/>
              <a:gd name="T14" fmla="*/ 96837 w 226"/>
              <a:gd name="T15" fmla="*/ 14124 h 223"/>
              <a:gd name="T16" fmla="*/ 69850 w 226"/>
              <a:gd name="T17" fmla="*/ 0 h 223"/>
              <a:gd name="T18" fmla="*/ 13494 w 226"/>
              <a:gd name="T19" fmla="*/ 0 h 223"/>
              <a:gd name="T20" fmla="*/ 0 w 226"/>
              <a:gd name="T21" fmla="*/ 69736 h 223"/>
              <a:gd name="T22" fmla="*/ 26987 w 226"/>
              <a:gd name="T23" fmla="*/ 112107 h 223"/>
              <a:gd name="T24" fmla="*/ 69850 w 226"/>
              <a:gd name="T25" fmla="*/ 112107 h 223"/>
              <a:gd name="T26" fmla="*/ 96837 w 226"/>
              <a:gd name="T27" fmla="*/ 141238 h 223"/>
              <a:gd name="T28" fmla="*/ 96837 w 226"/>
              <a:gd name="T29" fmla="*/ 154479 h 223"/>
              <a:gd name="T30" fmla="*/ 83344 w 226"/>
              <a:gd name="T31" fmla="*/ 182726 h 223"/>
              <a:gd name="T32" fmla="*/ 124618 w 226"/>
              <a:gd name="T33" fmla="*/ 196850 h 223"/>
              <a:gd name="T34" fmla="*/ 138112 w 226"/>
              <a:gd name="T35" fmla="*/ 182726 h 223"/>
              <a:gd name="T36" fmla="*/ 165893 w 226"/>
              <a:gd name="T37" fmla="*/ 169485 h 223"/>
              <a:gd name="T38" fmla="*/ 165893 w 226"/>
              <a:gd name="T39" fmla="*/ 14123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chemeClr val="bg1"/>
          </a:solidFill>
          <a:ln w="9525">
            <a:solidFill>
              <a:schemeClr val="bg2"/>
            </a:solidFill>
            <a:prstDash val="solid"/>
            <a:round/>
            <a:headEnd/>
            <a:tailEnd/>
          </a:ln>
        </p:spPr>
        <p:txBody>
          <a:bodyPr/>
          <a:lstStyle/>
          <a:p>
            <a:endParaRPr lang="en-US" dirty="0"/>
          </a:p>
        </p:txBody>
      </p:sp>
      <p:sp>
        <p:nvSpPr>
          <p:cNvPr id="18530" name="Freeform 97"/>
          <p:cNvSpPr>
            <a:spLocks noChangeAspect="1"/>
          </p:cNvSpPr>
          <p:nvPr>
            <p:custDataLst>
              <p:tags r:id="rId71"/>
            </p:custDataLst>
          </p:nvPr>
        </p:nvSpPr>
        <p:spPr bwMode="auto">
          <a:xfrm>
            <a:off x="2700338" y="4422775"/>
            <a:ext cx="423862" cy="876300"/>
          </a:xfrm>
          <a:custGeom>
            <a:avLst/>
            <a:gdLst>
              <a:gd name="T0" fmla="*/ 314937 w 537"/>
              <a:gd name="T1" fmla="*/ 310062 h 992"/>
              <a:gd name="T2" fmla="*/ 397025 w 537"/>
              <a:gd name="T3" fmla="*/ 140455 h 992"/>
              <a:gd name="T4" fmla="*/ 410444 w 537"/>
              <a:gd name="T5" fmla="*/ 84803 h 992"/>
              <a:gd name="T6" fmla="*/ 397025 w 537"/>
              <a:gd name="T7" fmla="*/ 113071 h 992"/>
              <a:gd name="T8" fmla="*/ 355981 w 537"/>
              <a:gd name="T9" fmla="*/ 140455 h 992"/>
              <a:gd name="T10" fmla="*/ 328355 w 537"/>
              <a:gd name="T11" fmla="*/ 98054 h 992"/>
              <a:gd name="T12" fmla="*/ 301518 w 537"/>
              <a:gd name="T13" fmla="*/ 55652 h 992"/>
              <a:gd name="T14" fmla="*/ 232848 w 537"/>
              <a:gd name="T15" fmla="*/ 13251 h 992"/>
              <a:gd name="T16" fmla="*/ 192593 w 537"/>
              <a:gd name="T17" fmla="*/ 13251 h 992"/>
              <a:gd name="T18" fmla="*/ 122344 w 537"/>
              <a:gd name="T19" fmla="*/ 28268 h 992"/>
              <a:gd name="T20" fmla="*/ 95507 w 537"/>
              <a:gd name="T21" fmla="*/ 70669 h 992"/>
              <a:gd name="T22" fmla="*/ 81299 w 537"/>
              <a:gd name="T23" fmla="*/ 155473 h 992"/>
              <a:gd name="T24" fmla="*/ 67881 w 537"/>
              <a:gd name="T25" fmla="*/ 295928 h 992"/>
              <a:gd name="T26" fmla="*/ 54463 w 537"/>
              <a:gd name="T27" fmla="*/ 367481 h 992"/>
              <a:gd name="T28" fmla="*/ 41044 w 537"/>
              <a:gd name="T29" fmla="*/ 437267 h 992"/>
              <a:gd name="T30" fmla="*/ 26837 w 537"/>
              <a:gd name="T31" fmla="*/ 522070 h 992"/>
              <a:gd name="T32" fmla="*/ 26837 w 537"/>
              <a:gd name="T33" fmla="*/ 606873 h 992"/>
              <a:gd name="T34" fmla="*/ 41044 w 537"/>
              <a:gd name="T35" fmla="*/ 621890 h 992"/>
              <a:gd name="T36" fmla="*/ 41044 w 537"/>
              <a:gd name="T37" fmla="*/ 621890 h 992"/>
              <a:gd name="T38" fmla="*/ 13418 w 537"/>
              <a:gd name="T39" fmla="*/ 706694 h 992"/>
              <a:gd name="T40" fmla="*/ 0 w 537"/>
              <a:gd name="T41" fmla="*/ 775596 h 992"/>
              <a:gd name="T42" fmla="*/ 0 w 537"/>
              <a:gd name="T43" fmla="*/ 817998 h 992"/>
              <a:gd name="T44" fmla="*/ 13418 w 537"/>
              <a:gd name="T45" fmla="*/ 847149 h 992"/>
              <a:gd name="T46" fmla="*/ 67881 w 537"/>
              <a:gd name="T47" fmla="*/ 860399 h 992"/>
              <a:gd name="T48" fmla="*/ 95507 w 537"/>
              <a:gd name="T49" fmla="*/ 876300 h 992"/>
              <a:gd name="T50" fmla="*/ 95507 w 537"/>
              <a:gd name="T51" fmla="*/ 804747 h 992"/>
              <a:gd name="T52" fmla="*/ 122344 w 537"/>
              <a:gd name="T53" fmla="*/ 749095 h 992"/>
              <a:gd name="T54" fmla="*/ 164967 w 537"/>
              <a:gd name="T55" fmla="*/ 690793 h 992"/>
              <a:gd name="T56" fmla="*/ 122344 w 537"/>
              <a:gd name="T57" fmla="*/ 664292 h 992"/>
              <a:gd name="T58" fmla="*/ 137341 w 537"/>
              <a:gd name="T59" fmla="*/ 635141 h 992"/>
              <a:gd name="T60" fmla="*/ 164967 w 537"/>
              <a:gd name="T61" fmla="*/ 606873 h 992"/>
              <a:gd name="T62" fmla="*/ 178385 w 537"/>
              <a:gd name="T63" fmla="*/ 579489 h 992"/>
              <a:gd name="T64" fmla="*/ 178385 w 537"/>
              <a:gd name="T65" fmla="*/ 550338 h 992"/>
              <a:gd name="T66" fmla="*/ 206011 w 537"/>
              <a:gd name="T67" fmla="*/ 550338 h 992"/>
              <a:gd name="T68" fmla="*/ 192593 w 537"/>
              <a:gd name="T69" fmla="*/ 537087 h 992"/>
              <a:gd name="T70" fmla="*/ 178385 w 537"/>
              <a:gd name="T71" fmla="*/ 494686 h 992"/>
              <a:gd name="T72" fmla="*/ 232848 w 537"/>
              <a:gd name="T73" fmla="*/ 494686 h 992"/>
              <a:gd name="T74" fmla="*/ 232848 w 537"/>
              <a:gd name="T75" fmla="*/ 437267 h 992"/>
              <a:gd name="T76" fmla="*/ 273892 w 537"/>
              <a:gd name="T77" fmla="*/ 437267 h 992"/>
              <a:gd name="T78" fmla="*/ 355981 w 537"/>
              <a:gd name="T79" fmla="*/ 380731 h 992"/>
              <a:gd name="T80" fmla="*/ 342563 w 537"/>
              <a:gd name="T81" fmla="*/ 352463 h 992"/>
              <a:gd name="T82" fmla="*/ 314937 w 537"/>
              <a:gd name="T83" fmla="*/ 325079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000080"/>
          </a:solidFill>
          <a:ln w="9525">
            <a:solidFill>
              <a:schemeClr val="bg2"/>
            </a:solidFill>
            <a:round/>
            <a:headEnd/>
            <a:tailEnd/>
          </a:ln>
        </p:spPr>
        <p:txBody>
          <a:bodyPr/>
          <a:lstStyle/>
          <a:p>
            <a:endParaRPr lang="en-US" dirty="0"/>
          </a:p>
        </p:txBody>
      </p:sp>
      <p:sp>
        <p:nvSpPr>
          <p:cNvPr id="18531" name="Freeform 98"/>
          <p:cNvSpPr>
            <a:spLocks noChangeAspect="1"/>
          </p:cNvSpPr>
          <p:nvPr>
            <p:custDataLst>
              <p:tags r:id="rId72"/>
            </p:custDataLst>
          </p:nvPr>
        </p:nvSpPr>
        <p:spPr bwMode="auto">
          <a:xfrm>
            <a:off x="3013075" y="4635500"/>
            <a:ext cx="125413" cy="111125"/>
          </a:xfrm>
          <a:custGeom>
            <a:avLst/>
            <a:gdLst>
              <a:gd name="T0" fmla="*/ 111125 w 158"/>
              <a:gd name="T1" fmla="*/ 82698 h 129"/>
              <a:gd name="T2" fmla="*/ 111125 w 158"/>
              <a:gd name="T3" fmla="*/ 82698 h 129"/>
              <a:gd name="T4" fmla="*/ 125413 w 158"/>
              <a:gd name="T5" fmla="*/ 55132 h 129"/>
              <a:gd name="T6" fmla="*/ 111125 w 158"/>
              <a:gd name="T7" fmla="*/ 41349 h 129"/>
              <a:gd name="T8" fmla="*/ 69850 w 158"/>
              <a:gd name="T9" fmla="*/ 13783 h 129"/>
              <a:gd name="T10" fmla="*/ 56356 w 158"/>
              <a:gd name="T11" fmla="*/ 13783 h 129"/>
              <a:gd name="T12" fmla="*/ 42863 w 158"/>
              <a:gd name="T13" fmla="*/ 0 h 129"/>
              <a:gd name="T14" fmla="*/ 27781 w 158"/>
              <a:gd name="T15" fmla="*/ 0 h 129"/>
              <a:gd name="T16" fmla="*/ 0 w 158"/>
              <a:gd name="T17" fmla="*/ 96481 h 129"/>
              <a:gd name="T18" fmla="*/ 13494 w 158"/>
              <a:gd name="T19" fmla="*/ 96481 h 129"/>
              <a:gd name="T20" fmla="*/ 56356 w 158"/>
              <a:gd name="T21" fmla="*/ 111125 h 129"/>
              <a:gd name="T22" fmla="*/ 97632 w 158"/>
              <a:gd name="T23" fmla="*/ 111125 h 129"/>
              <a:gd name="T24" fmla="*/ 111125 w 158"/>
              <a:gd name="T25" fmla="*/ 82698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chemeClr val="bg1"/>
          </a:solidFill>
          <a:ln w="9525">
            <a:solidFill>
              <a:schemeClr val="bg2"/>
            </a:solidFill>
            <a:round/>
            <a:headEnd/>
            <a:tailEnd/>
          </a:ln>
        </p:spPr>
        <p:txBody>
          <a:bodyPr/>
          <a:lstStyle/>
          <a:p>
            <a:endParaRPr lang="en-US" dirty="0"/>
          </a:p>
        </p:txBody>
      </p:sp>
      <p:sp>
        <p:nvSpPr>
          <p:cNvPr id="18532" name="Freeform 99"/>
          <p:cNvSpPr>
            <a:spLocks noChangeAspect="1"/>
          </p:cNvSpPr>
          <p:nvPr>
            <p:custDataLst>
              <p:tags r:id="rId73"/>
            </p:custDataLst>
          </p:nvPr>
        </p:nvSpPr>
        <p:spPr bwMode="auto">
          <a:xfrm>
            <a:off x="2687638" y="3816350"/>
            <a:ext cx="844550" cy="903288"/>
          </a:xfrm>
          <a:custGeom>
            <a:avLst/>
            <a:gdLst>
              <a:gd name="T0" fmla="*/ 490358 w 1073"/>
              <a:gd name="T1" fmla="*/ 26515 h 1022"/>
              <a:gd name="T2" fmla="*/ 448643 w 1073"/>
              <a:gd name="T3" fmla="*/ 55682 h 1022"/>
              <a:gd name="T4" fmla="*/ 421094 w 1073"/>
              <a:gd name="T5" fmla="*/ 55682 h 1022"/>
              <a:gd name="T6" fmla="*/ 380165 w 1073"/>
              <a:gd name="T7" fmla="*/ 68940 h 1022"/>
              <a:gd name="T8" fmla="*/ 325856 w 1073"/>
              <a:gd name="T9" fmla="*/ 84849 h 1022"/>
              <a:gd name="T10" fmla="*/ 299095 w 1073"/>
              <a:gd name="T11" fmla="*/ 55682 h 1022"/>
              <a:gd name="T12" fmla="*/ 299095 w 1073"/>
              <a:gd name="T13" fmla="*/ 0 h 1022"/>
              <a:gd name="T14" fmla="*/ 271547 w 1073"/>
              <a:gd name="T15" fmla="*/ 13258 h 1022"/>
              <a:gd name="T16" fmla="*/ 189689 w 1073"/>
              <a:gd name="T17" fmla="*/ 13258 h 1022"/>
              <a:gd name="T18" fmla="*/ 203857 w 1073"/>
              <a:gd name="T19" fmla="*/ 55682 h 1022"/>
              <a:gd name="T20" fmla="*/ 176309 w 1073"/>
              <a:gd name="T21" fmla="*/ 98107 h 1022"/>
              <a:gd name="T22" fmla="*/ 149548 w 1073"/>
              <a:gd name="T23" fmla="*/ 84849 h 1022"/>
              <a:gd name="T24" fmla="*/ 81070 w 1073"/>
              <a:gd name="T25" fmla="*/ 68940 h 1022"/>
              <a:gd name="T26" fmla="*/ 94451 w 1073"/>
              <a:gd name="T27" fmla="*/ 98107 h 1022"/>
              <a:gd name="T28" fmla="*/ 94451 w 1073"/>
              <a:gd name="T29" fmla="*/ 140531 h 1022"/>
              <a:gd name="T30" fmla="*/ 26761 w 1073"/>
              <a:gd name="T31" fmla="*/ 225380 h 1022"/>
              <a:gd name="T32" fmla="*/ 13381 w 1073"/>
              <a:gd name="T33" fmla="*/ 323487 h 1022"/>
              <a:gd name="T34" fmla="*/ 67690 w 1073"/>
              <a:gd name="T35" fmla="*/ 323487 h 1022"/>
              <a:gd name="T36" fmla="*/ 94451 w 1073"/>
              <a:gd name="T37" fmla="*/ 352654 h 1022"/>
              <a:gd name="T38" fmla="*/ 149548 w 1073"/>
              <a:gd name="T39" fmla="*/ 323487 h 1022"/>
              <a:gd name="T40" fmla="*/ 176309 w 1073"/>
              <a:gd name="T41" fmla="*/ 365911 h 1022"/>
              <a:gd name="T42" fmla="*/ 271547 w 1073"/>
              <a:gd name="T43" fmla="*/ 408336 h 1022"/>
              <a:gd name="T44" fmla="*/ 284927 w 1073"/>
              <a:gd name="T45" fmla="*/ 450760 h 1022"/>
              <a:gd name="T46" fmla="*/ 325856 w 1073"/>
              <a:gd name="T47" fmla="*/ 479927 h 1022"/>
              <a:gd name="T48" fmla="*/ 339237 w 1073"/>
              <a:gd name="T49" fmla="*/ 522352 h 1022"/>
              <a:gd name="T50" fmla="*/ 339237 w 1073"/>
              <a:gd name="T51" fmla="*/ 607201 h 1022"/>
              <a:gd name="T52" fmla="*/ 394333 w 1073"/>
              <a:gd name="T53" fmla="*/ 620458 h 1022"/>
              <a:gd name="T54" fmla="*/ 421094 w 1073"/>
              <a:gd name="T55" fmla="*/ 662883 h 1022"/>
              <a:gd name="T56" fmla="*/ 421094 w 1073"/>
              <a:gd name="T57" fmla="*/ 692049 h 1022"/>
              <a:gd name="T58" fmla="*/ 407714 w 1073"/>
              <a:gd name="T59" fmla="*/ 747732 h 1022"/>
              <a:gd name="T60" fmla="*/ 366785 w 1073"/>
              <a:gd name="T61" fmla="*/ 818439 h 1022"/>
              <a:gd name="T62" fmla="*/ 394333 w 1073"/>
              <a:gd name="T63" fmla="*/ 832581 h 1022"/>
              <a:gd name="T64" fmla="*/ 448643 w 1073"/>
              <a:gd name="T65" fmla="*/ 875005 h 1022"/>
              <a:gd name="T66" fmla="*/ 462023 w 1073"/>
              <a:gd name="T67" fmla="*/ 875005 h 1022"/>
              <a:gd name="T68" fmla="*/ 517907 w 1073"/>
              <a:gd name="T69" fmla="*/ 790156 h 1022"/>
              <a:gd name="T70" fmla="*/ 545455 w 1073"/>
              <a:gd name="T71" fmla="*/ 705307 h 1022"/>
              <a:gd name="T72" fmla="*/ 585597 w 1073"/>
              <a:gd name="T73" fmla="*/ 662883 h 1022"/>
              <a:gd name="T74" fmla="*/ 680835 w 1073"/>
              <a:gd name="T75" fmla="*/ 635484 h 1022"/>
              <a:gd name="T76" fmla="*/ 708383 w 1073"/>
              <a:gd name="T77" fmla="*/ 607201 h 1022"/>
              <a:gd name="T78" fmla="*/ 735144 w 1073"/>
              <a:gd name="T79" fmla="*/ 550635 h 1022"/>
              <a:gd name="T80" fmla="*/ 749312 w 1073"/>
              <a:gd name="T81" fmla="*/ 508210 h 1022"/>
              <a:gd name="T82" fmla="*/ 817002 w 1073"/>
              <a:gd name="T83" fmla="*/ 323487 h 1022"/>
              <a:gd name="T84" fmla="*/ 830382 w 1073"/>
              <a:gd name="T85" fmla="*/ 225380 h 1022"/>
              <a:gd name="T86" fmla="*/ 721763 w 1073"/>
              <a:gd name="T87" fmla="*/ 168814 h 1022"/>
              <a:gd name="T88" fmla="*/ 654074 w 1073"/>
              <a:gd name="T89" fmla="*/ 168814 h 1022"/>
              <a:gd name="T90" fmla="*/ 626525 w 1073"/>
              <a:gd name="T91" fmla="*/ 153789 h 1022"/>
              <a:gd name="T92" fmla="*/ 613145 w 1073"/>
              <a:gd name="T93" fmla="*/ 140531 h 1022"/>
              <a:gd name="T94" fmla="*/ 545455 w 1073"/>
              <a:gd name="T95" fmla="*/ 140531 h 1022"/>
              <a:gd name="T96" fmla="*/ 531287 w 1073"/>
              <a:gd name="T97" fmla="*/ 111364 h 1022"/>
              <a:gd name="T98" fmla="*/ 504526 w 1073"/>
              <a:gd name="T99" fmla="*/ 140531 h 1022"/>
              <a:gd name="T100" fmla="*/ 476978 w 1073"/>
              <a:gd name="T101" fmla="*/ 140531 h 1022"/>
              <a:gd name="T102" fmla="*/ 517907 w 1073"/>
              <a:gd name="T103" fmla="*/ 84849 h 1022"/>
              <a:gd name="T104" fmla="*/ 504526 w 1073"/>
              <a:gd name="T105" fmla="*/ 68940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000080"/>
          </a:solidFill>
          <a:ln w="9525">
            <a:solidFill>
              <a:schemeClr val="bg2"/>
            </a:solidFill>
            <a:round/>
            <a:headEnd/>
            <a:tailEnd/>
          </a:ln>
        </p:spPr>
        <p:txBody>
          <a:bodyPr/>
          <a:lstStyle/>
          <a:p>
            <a:endParaRPr lang="en-US" dirty="0"/>
          </a:p>
        </p:txBody>
      </p:sp>
      <p:sp>
        <p:nvSpPr>
          <p:cNvPr id="18533" name="Freeform 100"/>
          <p:cNvSpPr>
            <a:spLocks noChangeAspect="1"/>
          </p:cNvSpPr>
          <p:nvPr>
            <p:custDataLst>
              <p:tags r:id="rId74"/>
            </p:custDataLst>
          </p:nvPr>
        </p:nvSpPr>
        <p:spPr bwMode="auto">
          <a:xfrm>
            <a:off x="3111500" y="3795713"/>
            <a:ext cx="53975" cy="84137"/>
          </a:xfrm>
          <a:custGeom>
            <a:avLst/>
            <a:gdLst>
              <a:gd name="T0" fmla="*/ 0 w 69"/>
              <a:gd name="T1" fmla="*/ 70991 h 96"/>
              <a:gd name="T2" fmla="*/ 0 w 69"/>
              <a:gd name="T3" fmla="*/ 70991 h 96"/>
              <a:gd name="T4" fmla="*/ 13298 w 69"/>
              <a:gd name="T5" fmla="*/ 84137 h 96"/>
              <a:gd name="T6" fmla="*/ 27379 w 69"/>
              <a:gd name="T7" fmla="*/ 70991 h 96"/>
              <a:gd name="T8" fmla="*/ 53975 w 69"/>
              <a:gd name="T9" fmla="*/ 42069 h 96"/>
              <a:gd name="T10" fmla="*/ 0 w 69"/>
              <a:gd name="T11" fmla="*/ 0 h 96"/>
              <a:gd name="T12" fmla="*/ 0 w 69"/>
              <a:gd name="T13" fmla="*/ 15776 h 96"/>
              <a:gd name="T14" fmla="*/ 0 w 69"/>
              <a:gd name="T15" fmla="*/ 42069 h 96"/>
              <a:gd name="T16" fmla="*/ 0 w 69"/>
              <a:gd name="T17" fmla="*/ 70991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chemeClr val="bg1"/>
          </a:solidFill>
          <a:ln w="9525">
            <a:solidFill>
              <a:schemeClr val="bg2"/>
            </a:solidFill>
            <a:round/>
            <a:headEnd/>
            <a:tailEnd/>
          </a:ln>
        </p:spPr>
        <p:txBody>
          <a:bodyPr/>
          <a:lstStyle/>
          <a:p>
            <a:endParaRPr lang="en-US" dirty="0"/>
          </a:p>
        </p:txBody>
      </p:sp>
      <p:sp>
        <p:nvSpPr>
          <p:cNvPr id="18534" name="Freeform 101"/>
          <p:cNvSpPr>
            <a:spLocks noChangeAspect="1"/>
          </p:cNvSpPr>
          <p:nvPr>
            <p:custDataLst>
              <p:tags r:id="rId75"/>
            </p:custDataLst>
          </p:nvPr>
        </p:nvSpPr>
        <p:spPr bwMode="auto">
          <a:xfrm>
            <a:off x="3030538" y="3795713"/>
            <a:ext cx="80962" cy="84137"/>
          </a:xfrm>
          <a:custGeom>
            <a:avLst/>
            <a:gdLst>
              <a:gd name="T0" fmla="*/ 80962 w 104"/>
              <a:gd name="T1" fmla="*/ 70991 h 96"/>
              <a:gd name="T2" fmla="*/ 80962 w 104"/>
              <a:gd name="T3" fmla="*/ 70991 h 96"/>
              <a:gd name="T4" fmla="*/ 80962 w 104"/>
              <a:gd name="T5" fmla="*/ 42069 h 96"/>
              <a:gd name="T6" fmla="*/ 80962 w 104"/>
              <a:gd name="T7" fmla="*/ 15776 h 96"/>
              <a:gd name="T8" fmla="*/ 80962 w 104"/>
              <a:gd name="T9" fmla="*/ 0 h 96"/>
              <a:gd name="T10" fmla="*/ 27247 w 104"/>
              <a:gd name="T11" fmla="*/ 0 h 96"/>
              <a:gd name="T12" fmla="*/ 0 w 104"/>
              <a:gd name="T13" fmla="*/ 28922 h 96"/>
              <a:gd name="T14" fmla="*/ 27247 w 104"/>
              <a:gd name="T15" fmla="*/ 84137 h 96"/>
              <a:gd name="T16" fmla="*/ 40481 w 104"/>
              <a:gd name="T17" fmla="*/ 84137 h 96"/>
              <a:gd name="T18" fmla="*/ 53715 w 104"/>
              <a:gd name="T19" fmla="*/ 70991 h 96"/>
              <a:gd name="T20" fmla="*/ 80962 w 104"/>
              <a:gd name="T21" fmla="*/ 70991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chemeClr val="bg1"/>
          </a:solidFill>
          <a:ln w="9525">
            <a:solidFill>
              <a:schemeClr val="bg2"/>
            </a:solidFill>
            <a:round/>
            <a:headEnd/>
            <a:tailEnd/>
          </a:ln>
        </p:spPr>
        <p:txBody>
          <a:bodyPr/>
          <a:lstStyle/>
          <a:p>
            <a:endParaRPr lang="en-US" dirty="0"/>
          </a:p>
        </p:txBody>
      </p:sp>
      <p:sp>
        <p:nvSpPr>
          <p:cNvPr id="18535" name="Freeform 102"/>
          <p:cNvSpPr>
            <a:spLocks noChangeAspect="1"/>
          </p:cNvSpPr>
          <p:nvPr>
            <p:custDataLst>
              <p:tags r:id="rId76"/>
            </p:custDataLst>
          </p:nvPr>
        </p:nvSpPr>
        <p:spPr bwMode="auto">
          <a:xfrm>
            <a:off x="2960688" y="3744913"/>
            <a:ext cx="93662" cy="155575"/>
          </a:xfrm>
          <a:custGeom>
            <a:avLst/>
            <a:gdLst>
              <a:gd name="T0" fmla="*/ 27092 w 121"/>
              <a:gd name="T1" fmla="*/ 0 h 177"/>
              <a:gd name="T2" fmla="*/ 27092 w 121"/>
              <a:gd name="T3" fmla="*/ 0 h 177"/>
              <a:gd name="T4" fmla="*/ 53411 w 121"/>
              <a:gd name="T5" fmla="*/ 13184 h 177"/>
              <a:gd name="T6" fmla="*/ 53411 w 121"/>
              <a:gd name="T7" fmla="*/ 29006 h 177"/>
              <a:gd name="T8" fmla="*/ 66570 w 121"/>
              <a:gd name="T9" fmla="*/ 29006 h 177"/>
              <a:gd name="T10" fmla="*/ 93662 w 121"/>
              <a:gd name="T11" fmla="*/ 55374 h 177"/>
              <a:gd name="T12" fmla="*/ 66570 w 121"/>
              <a:gd name="T13" fmla="*/ 84380 h 177"/>
              <a:gd name="T14" fmla="*/ 93662 w 121"/>
              <a:gd name="T15" fmla="*/ 139754 h 177"/>
              <a:gd name="T16" fmla="*/ 53411 w 121"/>
              <a:gd name="T17" fmla="*/ 155575 h 177"/>
              <a:gd name="T18" fmla="*/ 40251 w 121"/>
              <a:gd name="T19" fmla="*/ 155575 h 177"/>
              <a:gd name="T20" fmla="*/ 27092 w 121"/>
              <a:gd name="T21" fmla="*/ 126570 h 177"/>
              <a:gd name="T22" fmla="*/ 27092 w 121"/>
              <a:gd name="T23" fmla="*/ 84380 h 177"/>
              <a:gd name="T24" fmla="*/ 27092 w 121"/>
              <a:gd name="T25" fmla="*/ 71195 h 177"/>
              <a:gd name="T26" fmla="*/ 13159 w 121"/>
              <a:gd name="T27" fmla="*/ 71195 h 177"/>
              <a:gd name="T28" fmla="*/ 0 w 121"/>
              <a:gd name="T29" fmla="*/ 55374 h 177"/>
              <a:gd name="T30" fmla="*/ 0 w 121"/>
              <a:gd name="T31" fmla="*/ 29006 h 177"/>
              <a:gd name="T32" fmla="*/ 13159 w 121"/>
              <a:gd name="T33" fmla="*/ 29006 h 177"/>
              <a:gd name="T34" fmla="*/ 13159 w 121"/>
              <a:gd name="T35" fmla="*/ 13184 h 177"/>
              <a:gd name="T36" fmla="*/ 27092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chemeClr val="bg1"/>
          </a:solidFill>
          <a:ln w="9525">
            <a:solidFill>
              <a:schemeClr val="bg2"/>
            </a:solidFill>
            <a:round/>
            <a:headEnd/>
            <a:tailEnd/>
          </a:ln>
        </p:spPr>
        <p:txBody>
          <a:bodyPr/>
          <a:lstStyle/>
          <a:p>
            <a:endParaRPr lang="en-US" dirty="0"/>
          </a:p>
        </p:txBody>
      </p:sp>
      <p:sp>
        <p:nvSpPr>
          <p:cNvPr id="18536" name="Freeform 103"/>
          <p:cNvSpPr>
            <a:spLocks noChangeAspect="1"/>
          </p:cNvSpPr>
          <p:nvPr>
            <p:custDataLst>
              <p:tags r:id="rId77"/>
            </p:custDataLst>
          </p:nvPr>
        </p:nvSpPr>
        <p:spPr bwMode="auto">
          <a:xfrm>
            <a:off x="2700338" y="3659188"/>
            <a:ext cx="287337" cy="254000"/>
          </a:xfrm>
          <a:custGeom>
            <a:avLst/>
            <a:gdLst>
              <a:gd name="T0" fmla="*/ 287337 w 365"/>
              <a:gd name="T1" fmla="*/ 84667 h 288"/>
              <a:gd name="T2" fmla="*/ 287337 w 365"/>
              <a:gd name="T3" fmla="*/ 84667 h 288"/>
              <a:gd name="T4" fmla="*/ 273167 w 365"/>
              <a:gd name="T5" fmla="*/ 97896 h 288"/>
              <a:gd name="T6" fmla="*/ 273167 w 365"/>
              <a:gd name="T7" fmla="*/ 113771 h 288"/>
              <a:gd name="T8" fmla="*/ 259784 w 365"/>
              <a:gd name="T9" fmla="*/ 113771 h 288"/>
              <a:gd name="T10" fmla="*/ 259784 w 365"/>
              <a:gd name="T11" fmla="*/ 140229 h 288"/>
              <a:gd name="T12" fmla="*/ 273167 w 365"/>
              <a:gd name="T13" fmla="*/ 156104 h 288"/>
              <a:gd name="T14" fmla="*/ 259784 w 365"/>
              <a:gd name="T15" fmla="*/ 169333 h 288"/>
              <a:gd name="T16" fmla="*/ 218848 w 365"/>
              <a:gd name="T17" fmla="*/ 182562 h 288"/>
              <a:gd name="T18" fmla="*/ 176338 w 365"/>
              <a:gd name="T19" fmla="*/ 169333 h 288"/>
              <a:gd name="T20" fmla="*/ 190508 w 365"/>
              <a:gd name="T21" fmla="*/ 182562 h 288"/>
              <a:gd name="T22" fmla="*/ 190508 w 365"/>
              <a:gd name="T23" fmla="*/ 211667 h 288"/>
              <a:gd name="T24" fmla="*/ 205466 w 365"/>
              <a:gd name="T25" fmla="*/ 224896 h 288"/>
              <a:gd name="T26" fmla="*/ 162955 w 365"/>
              <a:gd name="T27" fmla="*/ 254000 h 288"/>
              <a:gd name="T28" fmla="*/ 149573 w 365"/>
              <a:gd name="T29" fmla="*/ 254000 h 288"/>
              <a:gd name="T30" fmla="*/ 136190 w 365"/>
              <a:gd name="T31" fmla="*/ 240771 h 288"/>
              <a:gd name="T32" fmla="*/ 122020 w 365"/>
              <a:gd name="T33" fmla="*/ 224896 h 288"/>
              <a:gd name="T34" fmla="*/ 122020 w 365"/>
              <a:gd name="T35" fmla="*/ 198437 h 288"/>
              <a:gd name="T36" fmla="*/ 108637 w 365"/>
              <a:gd name="T37" fmla="*/ 169333 h 288"/>
              <a:gd name="T38" fmla="*/ 122020 w 365"/>
              <a:gd name="T39" fmla="*/ 127000 h 288"/>
              <a:gd name="T40" fmla="*/ 81084 w 365"/>
              <a:gd name="T41" fmla="*/ 127000 h 288"/>
              <a:gd name="T42" fmla="*/ 67701 w 365"/>
              <a:gd name="T43" fmla="*/ 113771 h 288"/>
              <a:gd name="T44" fmla="*/ 26766 w 365"/>
              <a:gd name="T45" fmla="*/ 113771 h 288"/>
              <a:gd name="T46" fmla="*/ 13383 w 365"/>
              <a:gd name="T47" fmla="*/ 97896 h 288"/>
              <a:gd name="T48" fmla="*/ 13383 w 365"/>
              <a:gd name="T49" fmla="*/ 84667 h 288"/>
              <a:gd name="T50" fmla="*/ 0 w 365"/>
              <a:gd name="T51" fmla="*/ 55562 h 288"/>
              <a:gd name="T52" fmla="*/ 13383 w 365"/>
              <a:gd name="T53" fmla="*/ 29104 h 288"/>
              <a:gd name="T54" fmla="*/ 26766 w 365"/>
              <a:gd name="T55" fmla="*/ 13229 h 288"/>
              <a:gd name="T56" fmla="*/ 40936 w 365"/>
              <a:gd name="T57" fmla="*/ 29104 h 288"/>
              <a:gd name="T58" fmla="*/ 26766 w 365"/>
              <a:gd name="T59" fmla="*/ 42333 h 288"/>
              <a:gd name="T60" fmla="*/ 26766 w 365"/>
              <a:gd name="T61" fmla="*/ 71437 h 288"/>
              <a:gd name="T62" fmla="*/ 40936 w 365"/>
              <a:gd name="T63" fmla="*/ 55562 h 288"/>
              <a:gd name="T64" fmla="*/ 40936 w 365"/>
              <a:gd name="T65" fmla="*/ 29104 h 288"/>
              <a:gd name="T66" fmla="*/ 67701 w 365"/>
              <a:gd name="T67" fmla="*/ 13229 h 288"/>
              <a:gd name="T68" fmla="*/ 67701 w 365"/>
              <a:gd name="T69" fmla="*/ 0 h 288"/>
              <a:gd name="T70" fmla="*/ 67701 w 365"/>
              <a:gd name="T71" fmla="*/ 13229 h 288"/>
              <a:gd name="T72" fmla="*/ 108637 w 365"/>
              <a:gd name="T73" fmla="*/ 13229 h 288"/>
              <a:gd name="T74" fmla="*/ 108637 w 365"/>
              <a:gd name="T75" fmla="*/ 29104 h 288"/>
              <a:gd name="T76" fmla="*/ 149573 w 365"/>
              <a:gd name="T77" fmla="*/ 29104 h 288"/>
              <a:gd name="T78" fmla="*/ 176338 w 365"/>
              <a:gd name="T79" fmla="*/ 42333 h 288"/>
              <a:gd name="T80" fmla="*/ 205466 w 365"/>
              <a:gd name="T81" fmla="*/ 29104 h 288"/>
              <a:gd name="T82" fmla="*/ 232231 w 365"/>
              <a:gd name="T83" fmla="*/ 29104 h 288"/>
              <a:gd name="T84" fmla="*/ 218848 w 365"/>
              <a:gd name="T85" fmla="*/ 29104 h 288"/>
              <a:gd name="T86" fmla="*/ 232231 w 365"/>
              <a:gd name="T87" fmla="*/ 42333 h 288"/>
              <a:gd name="T88" fmla="*/ 259784 w 365"/>
              <a:gd name="T89" fmla="*/ 55562 h 288"/>
              <a:gd name="T90" fmla="*/ 259784 w 365"/>
              <a:gd name="T91" fmla="*/ 84667 h 288"/>
              <a:gd name="T92" fmla="*/ 273167 w 365"/>
              <a:gd name="T93" fmla="*/ 71437 h 288"/>
              <a:gd name="T94" fmla="*/ 287337 w 365"/>
              <a:gd name="T95" fmla="*/ 84667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chemeClr val="bg1"/>
          </a:solidFill>
          <a:ln w="9525">
            <a:solidFill>
              <a:schemeClr val="bg2"/>
            </a:solidFill>
            <a:round/>
            <a:headEnd/>
            <a:tailEnd/>
          </a:ln>
        </p:spPr>
        <p:txBody>
          <a:bodyPr/>
          <a:lstStyle/>
          <a:p>
            <a:endParaRPr lang="en-US" dirty="0"/>
          </a:p>
        </p:txBody>
      </p:sp>
      <p:sp>
        <p:nvSpPr>
          <p:cNvPr id="18537" name="Freeform 104"/>
          <p:cNvSpPr>
            <a:spLocks noChangeAspect="1"/>
          </p:cNvSpPr>
          <p:nvPr>
            <p:custDataLst>
              <p:tags r:id="rId78"/>
            </p:custDataLst>
          </p:nvPr>
        </p:nvSpPr>
        <p:spPr bwMode="auto">
          <a:xfrm>
            <a:off x="1757363" y="3155950"/>
            <a:ext cx="642937" cy="438150"/>
          </a:xfrm>
          <a:custGeom>
            <a:avLst/>
            <a:gdLst>
              <a:gd name="T0" fmla="*/ 424149 w 814"/>
              <a:gd name="T1" fmla="*/ 169265 h 497"/>
              <a:gd name="T2" fmla="*/ 410721 w 814"/>
              <a:gd name="T3" fmla="*/ 253898 h 497"/>
              <a:gd name="T4" fmla="*/ 424149 w 814"/>
              <a:gd name="T5" fmla="*/ 282109 h 497"/>
              <a:gd name="T6" fmla="*/ 492866 w 814"/>
              <a:gd name="T7" fmla="*/ 353517 h 497"/>
              <a:gd name="T8" fmla="*/ 560793 w 814"/>
              <a:gd name="T9" fmla="*/ 338530 h 497"/>
              <a:gd name="T10" fmla="*/ 560793 w 814"/>
              <a:gd name="T11" fmla="*/ 324425 h 497"/>
              <a:gd name="T12" fmla="*/ 588437 w 814"/>
              <a:gd name="T13" fmla="*/ 282109 h 497"/>
              <a:gd name="T14" fmla="*/ 642937 w 814"/>
              <a:gd name="T15" fmla="*/ 282109 h 497"/>
              <a:gd name="T16" fmla="*/ 628720 w 814"/>
              <a:gd name="T17" fmla="*/ 353517 h 497"/>
              <a:gd name="T18" fmla="*/ 601865 w 814"/>
              <a:gd name="T19" fmla="*/ 353517 h 497"/>
              <a:gd name="T20" fmla="*/ 547365 w 814"/>
              <a:gd name="T21" fmla="*/ 366741 h 497"/>
              <a:gd name="T22" fmla="*/ 547365 w 814"/>
              <a:gd name="T23" fmla="*/ 395834 h 497"/>
              <a:gd name="T24" fmla="*/ 492866 w 814"/>
              <a:gd name="T25" fmla="*/ 395834 h 497"/>
              <a:gd name="T26" fmla="*/ 451794 w 814"/>
              <a:gd name="T27" fmla="*/ 409058 h 497"/>
              <a:gd name="T28" fmla="*/ 342794 w 814"/>
              <a:gd name="T29" fmla="*/ 366741 h 497"/>
              <a:gd name="T30" fmla="*/ 288295 w 814"/>
              <a:gd name="T31" fmla="*/ 353517 h 497"/>
              <a:gd name="T32" fmla="*/ 247223 w 814"/>
              <a:gd name="T33" fmla="*/ 296214 h 497"/>
              <a:gd name="T34" fmla="*/ 247223 w 814"/>
              <a:gd name="T35" fmla="*/ 253898 h 497"/>
              <a:gd name="T36" fmla="*/ 163499 w 814"/>
              <a:gd name="T37" fmla="*/ 169265 h 497"/>
              <a:gd name="T38" fmla="*/ 136644 w 814"/>
              <a:gd name="T39" fmla="*/ 126949 h 497"/>
              <a:gd name="T40" fmla="*/ 122427 w 814"/>
              <a:gd name="T41" fmla="*/ 112843 h 497"/>
              <a:gd name="T42" fmla="*/ 81354 w 814"/>
              <a:gd name="T43" fmla="*/ 28211 h 497"/>
              <a:gd name="T44" fmla="*/ 41072 w 814"/>
              <a:gd name="T45" fmla="*/ 14987 h 497"/>
              <a:gd name="T46" fmla="*/ 122427 w 814"/>
              <a:gd name="T47" fmla="*/ 155160 h 497"/>
              <a:gd name="T48" fmla="*/ 150071 w 814"/>
              <a:gd name="T49" fmla="*/ 211581 h 497"/>
              <a:gd name="T50" fmla="*/ 150071 w 814"/>
              <a:gd name="T51" fmla="*/ 239792 h 497"/>
              <a:gd name="T52" fmla="*/ 95572 w 814"/>
              <a:gd name="T53" fmla="*/ 197476 h 497"/>
              <a:gd name="T54" fmla="*/ 95572 w 814"/>
              <a:gd name="T55" fmla="*/ 155160 h 497"/>
              <a:gd name="T56" fmla="*/ 41072 w 814"/>
              <a:gd name="T57" fmla="*/ 112843 h 497"/>
              <a:gd name="T58" fmla="*/ 67927 w 814"/>
              <a:gd name="T59" fmla="*/ 99620 h 497"/>
              <a:gd name="T60" fmla="*/ 0 w 814"/>
              <a:gd name="T61" fmla="*/ 0 h 497"/>
              <a:gd name="T62" fmla="*/ 122427 w 814"/>
              <a:gd name="T63" fmla="*/ 28211 h 497"/>
              <a:gd name="T64" fmla="*/ 260650 w 814"/>
              <a:gd name="T65" fmla="*/ 42316 h 497"/>
              <a:gd name="T66" fmla="*/ 288295 w 814"/>
              <a:gd name="T67" fmla="*/ 84633 h 497"/>
              <a:gd name="T68" fmla="*/ 315150 w 814"/>
              <a:gd name="T69" fmla="*/ 70527 h 497"/>
              <a:gd name="T70" fmla="*/ 383077 w 814"/>
              <a:gd name="T71" fmla="*/ 155160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000080"/>
          </a:solidFill>
          <a:ln w="9525">
            <a:solidFill>
              <a:schemeClr val="bg2"/>
            </a:solidFill>
            <a:round/>
            <a:headEnd/>
            <a:tailEnd/>
          </a:ln>
        </p:spPr>
        <p:txBody>
          <a:bodyPr/>
          <a:lstStyle/>
          <a:p>
            <a:endParaRPr lang="en-US" dirty="0"/>
          </a:p>
        </p:txBody>
      </p:sp>
      <p:sp>
        <p:nvSpPr>
          <p:cNvPr id="18538" name="Freeform 105"/>
          <p:cNvSpPr>
            <a:spLocks noChangeAspect="1"/>
          </p:cNvSpPr>
          <p:nvPr>
            <p:custDataLst>
              <p:tags r:id="rId79"/>
            </p:custDataLst>
          </p:nvPr>
        </p:nvSpPr>
        <p:spPr bwMode="auto">
          <a:xfrm>
            <a:off x="2290763" y="3508375"/>
            <a:ext cx="84137" cy="98425"/>
          </a:xfrm>
          <a:custGeom>
            <a:avLst/>
            <a:gdLst>
              <a:gd name="T0" fmla="*/ 70250 w 103"/>
              <a:gd name="T1" fmla="*/ 42562 h 111"/>
              <a:gd name="T2" fmla="*/ 70250 w 103"/>
              <a:gd name="T3" fmla="*/ 42562 h 111"/>
              <a:gd name="T4" fmla="*/ 84137 w 103"/>
              <a:gd name="T5" fmla="*/ 55863 h 111"/>
              <a:gd name="T6" fmla="*/ 56364 w 103"/>
              <a:gd name="T7" fmla="*/ 85124 h 111"/>
              <a:gd name="T8" fmla="*/ 41660 w 103"/>
              <a:gd name="T9" fmla="*/ 98425 h 111"/>
              <a:gd name="T10" fmla="*/ 0 w 103"/>
              <a:gd name="T11" fmla="*/ 85124 h 111"/>
              <a:gd name="T12" fmla="*/ 13887 w 103"/>
              <a:gd name="T13" fmla="*/ 42562 h 111"/>
              <a:gd name="T14" fmla="*/ 41660 w 103"/>
              <a:gd name="T15" fmla="*/ 42562 h 111"/>
              <a:gd name="T16" fmla="*/ 13887 w 103"/>
              <a:gd name="T17" fmla="*/ 13301 h 111"/>
              <a:gd name="T18" fmla="*/ 27773 w 103"/>
              <a:gd name="T19" fmla="*/ 0 h 111"/>
              <a:gd name="T20" fmla="*/ 70250 w 103"/>
              <a:gd name="T21" fmla="*/ 0 h 111"/>
              <a:gd name="T22" fmla="*/ 70250 w 103"/>
              <a:gd name="T23" fmla="*/ 4256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000080"/>
          </a:solidFill>
          <a:ln w="9525">
            <a:solidFill>
              <a:schemeClr val="bg2"/>
            </a:solidFill>
            <a:prstDash val="solid"/>
            <a:round/>
            <a:headEnd/>
            <a:tailEnd/>
          </a:ln>
        </p:spPr>
        <p:txBody>
          <a:bodyPr/>
          <a:lstStyle/>
          <a:p>
            <a:endParaRPr lang="en-US" dirty="0"/>
          </a:p>
        </p:txBody>
      </p:sp>
      <p:sp>
        <p:nvSpPr>
          <p:cNvPr id="18539" name="Freeform 106"/>
          <p:cNvSpPr>
            <a:spLocks noChangeAspect="1"/>
          </p:cNvSpPr>
          <p:nvPr>
            <p:custDataLst>
              <p:tags r:id="rId80"/>
            </p:custDataLst>
          </p:nvPr>
        </p:nvSpPr>
        <p:spPr bwMode="auto">
          <a:xfrm>
            <a:off x="2346325" y="3565525"/>
            <a:ext cx="134938" cy="57150"/>
          </a:xfrm>
          <a:custGeom>
            <a:avLst/>
            <a:gdLst>
              <a:gd name="T0" fmla="*/ 26988 w 170"/>
              <a:gd name="T1" fmla="*/ 0 h 63"/>
              <a:gd name="T2" fmla="*/ 26988 w 170"/>
              <a:gd name="T3" fmla="*/ 0 h 63"/>
              <a:gd name="T4" fmla="*/ 94457 w 170"/>
              <a:gd name="T5" fmla="*/ 0 h 63"/>
              <a:gd name="T6" fmla="*/ 134938 w 170"/>
              <a:gd name="T7" fmla="*/ 13607 h 63"/>
              <a:gd name="T8" fmla="*/ 107950 w 170"/>
              <a:gd name="T9" fmla="*/ 29936 h 63"/>
              <a:gd name="T10" fmla="*/ 54769 w 170"/>
              <a:gd name="T11" fmla="*/ 57150 h 63"/>
              <a:gd name="T12" fmla="*/ 40481 w 170"/>
              <a:gd name="T13" fmla="*/ 57150 h 63"/>
              <a:gd name="T14" fmla="*/ 40481 w 170"/>
              <a:gd name="T15" fmla="*/ 43543 h 63"/>
              <a:gd name="T16" fmla="*/ 0 w 170"/>
              <a:gd name="T17" fmla="*/ 29936 h 63"/>
              <a:gd name="T18" fmla="*/ 26988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000080"/>
          </a:solidFill>
          <a:ln w="9525">
            <a:solidFill>
              <a:schemeClr val="bg2"/>
            </a:solidFill>
            <a:round/>
            <a:headEnd/>
            <a:tailEnd/>
          </a:ln>
        </p:spPr>
        <p:txBody>
          <a:bodyPr/>
          <a:lstStyle/>
          <a:p>
            <a:endParaRPr lang="en-US" dirty="0"/>
          </a:p>
        </p:txBody>
      </p:sp>
      <p:sp>
        <p:nvSpPr>
          <p:cNvPr id="18540" name="Freeform 107"/>
          <p:cNvSpPr>
            <a:spLocks noChangeAspect="1"/>
          </p:cNvSpPr>
          <p:nvPr>
            <p:custDataLst>
              <p:tags r:id="rId81"/>
            </p:custDataLst>
          </p:nvPr>
        </p:nvSpPr>
        <p:spPr bwMode="auto">
          <a:xfrm>
            <a:off x="2332038" y="3594100"/>
            <a:ext cx="57150" cy="28575"/>
          </a:xfrm>
          <a:custGeom>
            <a:avLst/>
            <a:gdLst>
              <a:gd name="T0" fmla="*/ 16099 w 71"/>
              <a:gd name="T1" fmla="*/ 0 h 30"/>
              <a:gd name="T2" fmla="*/ 16099 w 71"/>
              <a:gd name="T3" fmla="*/ 0 h 30"/>
              <a:gd name="T4" fmla="*/ 0 w 71"/>
              <a:gd name="T5" fmla="*/ 14288 h 30"/>
              <a:gd name="T6" fmla="*/ 16099 w 71"/>
              <a:gd name="T7" fmla="*/ 28575 h 30"/>
              <a:gd name="T8" fmla="*/ 57150 w 71"/>
              <a:gd name="T9" fmla="*/ 28575 h 30"/>
              <a:gd name="T10" fmla="*/ 57150 w 71"/>
              <a:gd name="T11" fmla="*/ 14288 h 30"/>
              <a:gd name="T12" fmla="*/ 16099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000080"/>
          </a:solidFill>
          <a:ln w="9525">
            <a:solidFill>
              <a:schemeClr val="bg2"/>
            </a:solidFill>
            <a:prstDash val="solid"/>
            <a:round/>
            <a:headEnd/>
            <a:tailEnd/>
          </a:ln>
        </p:spPr>
        <p:txBody>
          <a:bodyPr/>
          <a:lstStyle/>
          <a:p>
            <a:endParaRPr lang="en-US" dirty="0"/>
          </a:p>
        </p:txBody>
      </p:sp>
      <p:sp>
        <p:nvSpPr>
          <p:cNvPr id="18541" name="Freeform 108"/>
          <p:cNvSpPr>
            <a:spLocks noChangeAspect="1"/>
          </p:cNvSpPr>
          <p:nvPr>
            <p:custDataLst>
              <p:tags r:id="rId82"/>
            </p:custDataLst>
          </p:nvPr>
        </p:nvSpPr>
        <p:spPr bwMode="auto">
          <a:xfrm>
            <a:off x="2400300" y="3579813"/>
            <a:ext cx="80963" cy="98425"/>
          </a:xfrm>
          <a:custGeom>
            <a:avLst/>
            <a:gdLst>
              <a:gd name="T0" fmla="*/ 80963 w 103"/>
              <a:gd name="T1" fmla="*/ 0 h 114"/>
              <a:gd name="T2" fmla="*/ 80963 w 103"/>
              <a:gd name="T3" fmla="*/ 0 h 114"/>
              <a:gd name="T4" fmla="*/ 80963 w 103"/>
              <a:gd name="T5" fmla="*/ 15541 h 114"/>
              <a:gd name="T6" fmla="*/ 67600 w 103"/>
              <a:gd name="T7" fmla="*/ 82884 h 114"/>
              <a:gd name="T8" fmla="*/ 80963 w 103"/>
              <a:gd name="T9" fmla="*/ 98425 h 114"/>
              <a:gd name="T10" fmla="*/ 67600 w 103"/>
              <a:gd name="T11" fmla="*/ 98425 h 114"/>
              <a:gd name="T12" fmla="*/ 26726 w 103"/>
              <a:gd name="T13" fmla="*/ 82884 h 114"/>
              <a:gd name="T14" fmla="*/ 0 w 103"/>
              <a:gd name="T15" fmla="*/ 56983 h 114"/>
              <a:gd name="T16" fmla="*/ 0 w 103"/>
              <a:gd name="T17" fmla="*/ 41442 h 114"/>
              <a:gd name="T18" fmla="*/ 54237 w 103"/>
              <a:gd name="T19" fmla="*/ 15541 h 114"/>
              <a:gd name="T20" fmla="*/ 80963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000080"/>
          </a:solidFill>
          <a:ln w="9525">
            <a:solidFill>
              <a:schemeClr val="bg2"/>
            </a:solidFill>
            <a:round/>
            <a:headEnd/>
            <a:tailEnd/>
          </a:ln>
        </p:spPr>
        <p:txBody>
          <a:bodyPr/>
          <a:lstStyle/>
          <a:p>
            <a:endParaRPr lang="en-US" dirty="0"/>
          </a:p>
        </p:txBody>
      </p:sp>
      <p:sp>
        <p:nvSpPr>
          <p:cNvPr id="18542" name="Freeform 109"/>
          <p:cNvSpPr>
            <a:spLocks noChangeAspect="1"/>
          </p:cNvSpPr>
          <p:nvPr>
            <p:custDataLst>
              <p:tags r:id="rId83"/>
            </p:custDataLst>
          </p:nvPr>
        </p:nvSpPr>
        <p:spPr bwMode="auto">
          <a:xfrm>
            <a:off x="2428875" y="3663950"/>
            <a:ext cx="68263" cy="71438"/>
          </a:xfrm>
          <a:custGeom>
            <a:avLst/>
            <a:gdLst>
              <a:gd name="T0" fmla="*/ 68263 w 87"/>
              <a:gd name="T1" fmla="*/ 71438 h 81"/>
              <a:gd name="T2" fmla="*/ 68263 w 87"/>
              <a:gd name="T3" fmla="*/ 71438 h 81"/>
              <a:gd name="T4" fmla="*/ 68263 w 87"/>
              <a:gd name="T5" fmla="*/ 42334 h 81"/>
              <a:gd name="T6" fmla="*/ 54140 w 87"/>
              <a:gd name="T7" fmla="*/ 29104 h 81"/>
              <a:gd name="T8" fmla="*/ 54140 w 87"/>
              <a:gd name="T9" fmla="*/ 15875 h 81"/>
              <a:gd name="T10" fmla="*/ 40801 w 87"/>
              <a:gd name="T11" fmla="*/ 15875 h 81"/>
              <a:gd name="T12" fmla="*/ 0 w 87"/>
              <a:gd name="T13" fmla="*/ 0 h 81"/>
              <a:gd name="T14" fmla="*/ 0 w 87"/>
              <a:gd name="T15" fmla="*/ 29104 h 81"/>
              <a:gd name="T16" fmla="*/ 14123 w 87"/>
              <a:gd name="T17" fmla="*/ 42334 h 81"/>
              <a:gd name="T18" fmla="*/ 27462 w 87"/>
              <a:gd name="T19" fmla="*/ 29104 h 81"/>
              <a:gd name="T20" fmla="*/ 40801 w 87"/>
              <a:gd name="T21" fmla="*/ 58209 h 81"/>
              <a:gd name="T22" fmla="*/ 68263 w 87"/>
              <a:gd name="T23" fmla="*/ 71438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003366"/>
          </a:solidFill>
          <a:ln w="9525">
            <a:solidFill>
              <a:schemeClr val="bg2"/>
            </a:solidFill>
            <a:round/>
            <a:headEnd/>
            <a:tailEnd/>
          </a:ln>
        </p:spPr>
        <p:txBody>
          <a:bodyPr/>
          <a:lstStyle/>
          <a:p>
            <a:endParaRPr lang="en-US" dirty="0"/>
          </a:p>
        </p:txBody>
      </p:sp>
      <p:sp>
        <p:nvSpPr>
          <p:cNvPr id="18543" name="Freeform 110"/>
          <p:cNvSpPr>
            <a:spLocks noChangeAspect="1"/>
          </p:cNvSpPr>
          <p:nvPr>
            <p:custDataLst>
              <p:tags r:id="rId84"/>
            </p:custDataLst>
          </p:nvPr>
        </p:nvSpPr>
        <p:spPr bwMode="auto">
          <a:xfrm>
            <a:off x="2497138" y="3706813"/>
            <a:ext cx="66675" cy="57150"/>
          </a:xfrm>
          <a:custGeom>
            <a:avLst/>
            <a:gdLst>
              <a:gd name="T0" fmla="*/ 0 w 84"/>
              <a:gd name="T1" fmla="*/ 28575 h 66"/>
              <a:gd name="T2" fmla="*/ 0 w 84"/>
              <a:gd name="T3" fmla="*/ 28575 h 66"/>
              <a:gd name="T4" fmla="*/ 40481 w 84"/>
              <a:gd name="T5" fmla="*/ 41564 h 66"/>
              <a:gd name="T6" fmla="*/ 40481 w 84"/>
              <a:gd name="T7" fmla="*/ 57150 h 66"/>
              <a:gd name="T8" fmla="*/ 54769 w 84"/>
              <a:gd name="T9" fmla="*/ 41564 h 66"/>
              <a:gd name="T10" fmla="*/ 40481 w 84"/>
              <a:gd name="T11" fmla="*/ 28575 h 66"/>
              <a:gd name="T12" fmla="*/ 66675 w 84"/>
              <a:gd name="T13" fmla="*/ 15586 h 66"/>
              <a:gd name="T14" fmla="*/ 54769 w 84"/>
              <a:gd name="T15" fmla="*/ 0 h 66"/>
              <a:gd name="T16" fmla="*/ 26988 w 84"/>
              <a:gd name="T17" fmla="*/ 15586 h 66"/>
              <a:gd name="T18" fmla="*/ 13494 w 84"/>
              <a:gd name="T19" fmla="*/ 15586 h 66"/>
              <a:gd name="T20" fmla="*/ 0 w 84"/>
              <a:gd name="T21" fmla="*/ 0 h 66"/>
              <a:gd name="T22" fmla="*/ 0 w 84"/>
              <a:gd name="T23" fmla="*/ 28575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8544" name="Freeform 111"/>
          <p:cNvSpPr>
            <a:spLocks noChangeAspect="1"/>
          </p:cNvSpPr>
          <p:nvPr>
            <p:custDataLst>
              <p:tags r:id="rId85"/>
            </p:custDataLst>
          </p:nvPr>
        </p:nvSpPr>
        <p:spPr bwMode="auto">
          <a:xfrm>
            <a:off x="2565400" y="3706813"/>
            <a:ext cx="55563" cy="57150"/>
          </a:xfrm>
          <a:custGeom>
            <a:avLst/>
            <a:gdLst>
              <a:gd name="T0" fmla="*/ 41874 w 69"/>
              <a:gd name="T1" fmla="*/ 15586 h 66"/>
              <a:gd name="T2" fmla="*/ 41874 w 69"/>
              <a:gd name="T3" fmla="*/ 15586 h 66"/>
              <a:gd name="T4" fmla="*/ 55563 w 69"/>
              <a:gd name="T5" fmla="*/ 28575 h 66"/>
              <a:gd name="T6" fmla="*/ 41874 w 69"/>
              <a:gd name="T7" fmla="*/ 41564 h 66"/>
              <a:gd name="T8" fmla="*/ 41874 w 69"/>
              <a:gd name="T9" fmla="*/ 57150 h 66"/>
              <a:gd name="T10" fmla="*/ 28184 w 69"/>
              <a:gd name="T11" fmla="*/ 28575 h 66"/>
              <a:gd name="T12" fmla="*/ 0 w 69"/>
              <a:gd name="T13" fmla="*/ 15586 h 66"/>
              <a:gd name="T14" fmla="*/ 0 w 69"/>
              <a:gd name="T15" fmla="*/ 0 h 66"/>
              <a:gd name="T16" fmla="*/ 13689 w 69"/>
              <a:gd name="T17" fmla="*/ 0 h 66"/>
              <a:gd name="T18" fmla="*/ 28184 w 69"/>
              <a:gd name="T19" fmla="*/ 0 h 66"/>
              <a:gd name="T20" fmla="*/ 41874 w 69"/>
              <a:gd name="T21" fmla="*/ 15586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chemeClr val="bg1"/>
          </a:solidFill>
          <a:ln w="9525">
            <a:solidFill>
              <a:schemeClr val="bg2"/>
            </a:solidFill>
            <a:prstDash val="solid"/>
            <a:round/>
            <a:headEnd/>
            <a:tailEnd/>
          </a:ln>
        </p:spPr>
        <p:txBody>
          <a:bodyPr/>
          <a:lstStyle/>
          <a:p>
            <a:endParaRPr lang="en-US" dirty="0"/>
          </a:p>
        </p:txBody>
      </p:sp>
      <p:sp>
        <p:nvSpPr>
          <p:cNvPr id="18545" name="Freeform 112"/>
          <p:cNvSpPr>
            <a:spLocks noChangeAspect="1"/>
          </p:cNvSpPr>
          <p:nvPr>
            <p:custDataLst>
              <p:tags r:id="rId86"/>
            </p:custDataLst>
          </p:nvPr>
        </p:nvSpPr>
        <p:spPr bwMode="auto">
          <a:xfrm>
            <a:off x="2551113" y="3706813"/>
            <a:ext cx="14287" cy="14287"/>
          </a:xfrm>
          <a:custGeom>
            <a:avLst/>
            <a:gdLst>
              <a:gd name="T0" fmla="*/ 14287 w 17"/>
              <a:gd name="T1" fmla="*/ 14287 h 18"/>
              <a:gd name="T2" fmla="*/ 14287 w 17"/>
              <a:gd name="T3" fmla="*/ 14287 h 18"/>
              <a:gd name="T4" fmla="*/ 14287 w 17"/>
              <a:gd name="T5" fmla="*/ 0 h 18"/>
              <a:gd name="T6" fmla="*/ 0 w 17"/>
              <a:gd name="T7" fmla="*/ 0 h 18"/>
              <a:gd name="T8" fmla="*/ 14287 w 17"/>
              <a:gd name="T9" fmla="*/ 1428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chemeClr val="bg1"/>
          </a:solidFill>
          <a:ln w="9525">
            <a:solidFill>
              <a:schemeClr val="bg2"/>
            </a:solidFill>
            <a:prstDash val="solid"/>
            <a:round/>
            <a:headEnd/>
            <a:tailEnd/>
          </a:ln>
        </p:spPr>
        <p:txBody>
          <a:bodyPr/>
          <a:lstStyle/>
          <a:p>
            <a:endParaRPr lang="en-US" dirty="0"/>
          </a:p>
        </p:txBody>
      </p:sp>
      <p:sp>
        <p:nvSpPr>
          <p:cNvPr id="18546" name="Freeform 113"/>
          <p:cNvSpPr>
            <a:spLocks noChangeAspect="1"/>
          </p:cNvSpPr>
          <p:nvPr>
            <p:custDataLst>
              <p:tags r:id="rId87"/>
            </p:custDataLst>
          </p:nvPr>
        </p:nvSpPr>
        <p:spPr bwMode="auto">
          <a:xfrm>
            <a:off x="7104063" y="3921125"/>
            <a:ext cx="214312" cy="198438"/>
          </a:xfrm>
          <a:custGeom>
            <a:avLst/>
            <a:gdLst>
              <a:gd name="T0" fmla="*/ 214312 w 275"/>
              <a:gd name="T1" fmla="*/ 57327 h 225"/>
              <a:gd name="T2" fmla="*/ 214312 w 275"/>
              <a:gd name="T3" fmla="*/ 57327 h 225"/>
              <a:gd name="T4" fmla="*/ 214312 w 275"/>
              <a:gd name="T5" fmla="*/ 113771 h 225"/>
              <a:gd name="T6" fmla="*/ 214312 w 275"/>
              <a:gd name="T7" fmla="*/ 198438 h 225"/>
              <a:gd name="T8" fmla="*/ 187036 w 275"/>
              <a:gd name="T9" fmla="*/ 169334 h 225"/>
              <a:gd name="T10" fmla="*/ 147291 w 275"/>
              <a:gd name="T11" fmla="*/ 184327 h 225"/>
              <a:gd name="T12" fmla="*/ 160539 w 275"/>
              <a:gd name="T13" fmla="*/ 156105 h 225"/>
              <a:gd name="T14" fmla="*/ 147291 w 275"/>
              <a:gd name="T15" fmla="*/ 127000 h 225"/>
              <a:gd name="T16" fmla="*/ 52994 w 275"/>
              <a:gd name="T17" fmla="*/ 71438 h 225"/>
              <a:gd name="T18" fmla="*/ 40524 w 275"/>
              <a:gd name="T19" fmla="*/ 84667 h 225"/>
              <a:gd name="T20" fmla="*/ 40524 w 275"/>
              <a:gd name="T21" fmla="*/ 71438 h 225"/>
              <a:gd name="T22" fmla="*/ 27276 w 275"/>
              <a:gd name="T23" fmla="*/ 57327 h 225"/>
              <a:gd name="T24" fmla="*/ 52994 w 275"/>
              <a:gd name="T25" fmla="*/ 57327 h 225"/>
              <a:gd name="T26" fmla="*/ 66242 w 275"/>
              <a:gd name="T27" fmla="*/ 42333 h 225"/>
              <a:gd name="T28" fmla="*/ 27276 w 275"/>
              <a:gd name="T29" fmla="*/ 42333 h 225"/>
              <a:gd name="T30" fmla="*/ 14028 w 275"/>
              <a:gd name="T31" fmla="*/ 29104 h 225"/>
              <a:gd name="T32" fmla="*/ 0 w 275"/>
              <a:gd name="T33" fmla="*/ 29104 h 225"/>
              <a:gd name="T34" fmla="*/ 27276 w 275"/>
              <a:gd name="T35" fmla="*/ 0 h 225"/>
              <a:gd name="T36" fmla="*/ 40524 w 275"/>
              <a:gd name="T37" fmla="*/ 0 h 225"/>
              <a:gd name="T38" fmla="*/ 66242 w 275"/>
              <a:gd name="T39" fmla="*/ 15875 h 225"/>
              <a:gd name="T40" fmla="*/ 66242 w 275"/>
              <a:gd name="T41" fmla="*/ 42333 h 225"/>
              <a:gd name="T42" fmla="*/ 92739 w 275"/>
              <a:gd name="T43" fmla="*/ 71438 h 225"/>
              <a:gd name="T44" fmla="*/ 120015 w 275"/>
              <a:gd name="T45" fmla="*/ 42333 h 225"/>
              <a:gd name="T46" fmla="*/ 147291 w 275"/>
              <a:gd name="T47" fmla="*/ 29104 h 225"/>
              <a:gd name="T48" fmla="*/ 214312 w 275"/>
              <a:gd name="T49" fmla="*/ 57327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chemeClr val="bg1"/>
          </a:solidFill>
          <a:ln w="9525">
            <a:solidFill>
              <a:schemeClr val="bg2"/>
            </a:solidFill>
            <a:round/>
            <a:headEnd/>
            <a:tailEnd/>
          </a:ln>
        </p:spPr>
        <p:txBody>
          <a:bodyPr/>
          <a:lstStyle/>
          <a:p>
            <a:endParaRPr lang="en-US" dirty="0"/>
          </a:p>
        </p:txBody>
      </p:sp>
      <p:sp>
        <p:nvSpPr>
          <p:cNvPr id="18547" name="Freeform 114"/>
          <p:cNvSpPr>
            <a:spLocks noChangeAspect="1"/>
          </p:cNvSpPr>
          <p:nvPr>
            <p:custDataLst>
              <p:tags r:id="rId88"/>
            </p:custDataLst>
          </p:nvPr>
        </p:nvSpPr>
        <p:spPr bwMode="auto">
          <a:xfrm>
            <a:off x="7318375" y="3978275"/>
            <a:ext cx="206375" cy="185738"/>
          </a:xfrm>
          <a:custGeom>
            <a:avLst/>
            <a:gdLst>
              <a:gd name="T0" fmla="*/ 0 w 261"/>
              <a:gd name="T1" fmla="*/ 142875 h 208"/>
              <a:gd name="T2" fmla="*/ 0 w 261"/>
              <a:gd name="T3" fmla="*/ 142875 h 208"/>
              <a:gd name="T4" fmla="*/ 0 w 261"/>
              <a:gd name="T5" fmla="*/ 57150 h 208"/>
              <a:gd name="T6" fmla="*/ 0 w 261"/>
              <a:gd name="T7" fmla="*/ 0 h 208"/>
              <a:gd name="T8" fmla="*/ 54559 w 261"/>
              <a:gd name="T9" fmla="*/ 14288 h 208"/>
              <a:gd name="T10" fmla="*/ 95676 w 261"/>
              <a:gd name="T11" fmla="*/ 42863 h 208"/>
              <a:gd name="T12" fmla="*/ 95676 w 261"/>
              <a:gd name="T13" fmla="*/ 57150 h 208"/>
              <a:gd name="T14" fmla="*/ 151816 w 261"/>
              <a:gd name="T15" fmla="*/ 85725 h 208"/>
              <a:gd name="T16" fmla="*/ 124141 w 261"/>
              <a:gd name="T17" fmla="*/ 100013 h 208"/>
              <a:gd name="T18" fmla="*/ 138374 w 261"/>
              <a:gd name="T19" fmla="*/ 100013 h 208"/>
              <a:gd name="T20" fmla="*/ 151816 w 261"/>
              <a:gd name="T21" fmla="*/ 113407 h 208"/>
              <a:gd name="T22" fmla="*/ 165258 w 261"/>
              <a:gd name="T23" fmla="*/ 142875 h 208"/>
              <a:gd name="T24" fmla="*/ 178700 w 261"/>
              <a:gd name="T25" fmla="*/ 142875 h 208"/>
              <a:gd name="T26" fmla="*/ 178700 w 261"/>
              <a:gd name="T27" fmla="*/ 156270 h 208"/>
              <a:gd name="T28" fmla="*/ 206375 w 261"/>
              <a:gd name="T29" fmla="*/ 171450 h 208"/>
              <a:gd name="T30" fmla="*/ 206375 w 261"/>
              <a:gd name="T31" fmla="*/ 185738 h 208"/>
              <a:gd name="T32" fmla="*/ 138374 w 261"/>
              <a:gd name="T33" fmla="*/ 171450 h 208"/>
              <a:gd name="T34" fmla="*/ 110699 w 261"/>
              <a:gd name="T35" fmla="*/ 113407 h 208"/>
              <a:gd name="T36" fmla="*/ 82234 w 261"/>
              <a:gd name="T37" fmla="*/ 113407 h 208"/>
              <a:gd name="T38" fmla="*/ 68001 w 261"/>
              <a:gd name="T39" fmla="*/ 113407 h 208"/>
              <a:gd name="T40" fmla="*/ 41117 w 261"/>
              <a:gd name="T41" fmla="*/ 128588 h 208"/>
              <a:gd name="T42" fmla="*/ 54559 w 261"/>
              <a:gd name="T43" fmla="*/ 142875 h 208"/>
              <a:gd name="T44" fmla="*/ 26884 w 261"/>
              <a:gd name="T45" fmla="*/ 142875 h 208"/>
              <a:gd name="T46" fmla="*/ 0 w 261"/>
              <a:gd name="T47" fmla="*/ 142875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chemeClr val="bg1"/>
          </a:solidFill>
          <a:ln w="9525">
            <a:solidFill>
              <a:schemeClr val="bg2"/>
            </a:solidFill>
            <a:round/>
            <a:headEnd/>
            <a:tailEnd/>
          </a:ln>
        </p:spPr>
        <p:txBody>
          <a:bodyPr/>
          <a:lstStyle/>
          <a:p>
            <a:endParaRPr lang="en-US" dirty="0"/>
          </a:p>
        </p:txBody>
      </p:sp>
      <p:sp>
        <p:nvSpPr>
          <p:cNvPr id="18548" name="Freeform 115"/>
          <p:cNvSpPr>
            <a:spLocks noChangeAspect="1"/>
          </p:cNvSpPr>
          <p:nvPr>
            <p:custDataLst>
              <p:tags r:id="rId89"/>
            </p:custDataLst>
          </p:nvPr>
        </p:nvSpPr>
        <p:spPr bwMode="auto">
          <a:xfrm>
            <a:off x="6716713" y="4164013"/>
            <a:ext cx="876300" cy="704850"/>
          </a:xfrm>
          <a:custGeom>
            <a:avLst/>
            <a:gdLst>
              <a:gd name="T0" fmla="*/ 42669 w 1109"/>
              <a:gd name="T1" fmla="*/ 562999 h 800"/>
              <a:gd name="T2" fmla="*/ 110624 w 1109"/>
              <a:gd name="T3" fmla="*/ 591193 h 800"/>
              <a:gd name="T4" fmla="*/ 219668 w 1109"/>
              <a:gd name="T5" fmla="*/ 548902 h 800"/>
              <a:gd name="T6" fmla="*/ 288413 w 1109"/>
              <a:gd name="T7" fmla="*/ 506611 h 800"/>
              <a:gd name="T8" fmla="*/ 453558 w 1109"/>
              <a:gd name="T9" fmla="*/ 520708 h 800"/>
              <a:gd name="T10" fmla="*/ 466991 w 1109"/>
              <a:gd name="T11" fmla="*/ 535686 h 800"/>
              <a:gd name="T12" fmla="*/ 534946 w 1109"/>
              <a:gd name="T13" fmla="*/ 520708 h 800"/>
              <a:gd name="T14" fmla="*/ 521513 w 1109"/>
              <a:gd name="T15" fmla="*/ 591193 h 800"/>
              <a:gd name="T16" fmla="*/ 534946 w 1109"/>
              <a:gd name="T17" fmla="*/ 562999 h 800"/>
              <a:gd name="T18" fmla="*/ 534946 w 1109"/>
              <a:gd name="T19" fmla="*/ 605290 h 800"/>
              <a:gd name="T20" fmla="*/ 576035 w 1109"/>
              <a:gd name="T21" fmla="*/ 633484 h 800"/>
              <a:gd name="T22" fmla="*/ 590258 w 1109"/>
              <a:gd name="T23" fmla="*/ 662559 h 800"/>
              <a:gd name="T24" fmla="*/ 644780 w 1109"/>
              <a:gd name="T25" fmla="*/ 675775 h 800"/>
              <a:gd name="T26" fmla="*/ 685869 w 1109"/>
              <a:gd name="T27" fmla="*/ 662559 h 800"/>
              <a:gd name="T28" fmla="*/ 699302 w 1109"/>
              <a:gd name="T29" fmla="*/ 675775 h 800"/>
              <a:gd name="T30" fmla="*/ 726167 w 1109"/>
              <a:gd name="T31" fmla="*/ 704850 h 800"/>
              <a:gd name="T32" fmla="*/ 794912 w 1109"/>
              <a:gd name="T33" fmla="*/ 662559 h 800"/>
              <a:gd name="T34" fmla="*/ 862867 w 1109"/>
              <a:gd name="T35" fmla="*/ 478417 h 800"/>
              <a:gd name="T36" fmla="*/ 862867 w 1109"/>
              <a:gd name="T37" fmla="*/ 351544 h 800"/>
              <a:gd name="T38" fmla="*/ 821778 w 1109"/>
              <a:gd name="T39" fmla="*/ 296037 h 800"/>
              <a:gd name="T40" fmla="*/ 794912 w 1109"/>
              <a:gd name="T41" fmla="*/ 253746 h 800"/>
              <a:gd name="T42" fmla="*/ 767256 w 1109"/>
              <a:gd name="T43" fmla="*/ 224671 h 800"/>
              <a:gd name="T44" fmla="*/ 712734 w 1109"/>
              <a:gd name="T45" fmla="*/ 140089 h 800"/>
              <a:gd name="T46" fmla="*/ 699302 w 1109"/>
              <a:gd name="T47" fmla="*/ 97798 h 800"/>
              <a:gd name="T48" fmla="*/ 658213 w 1109"/>
              <a:gd name="T49" fmla="*/ 84582 h 800"/>
              <a:gd name="T50" fmla="*/ 630557 w 1109"/>
              <a:gd name="T51" fmla="*/ 0 h 800"/>
              <a:gd name="T52" fmla="*/ 617124 w 1109"/>
              <a:gd name="T53" fmla="*/ 97798 h 800"/>
              <a:gd name="T54" fmla="*/ 576035 w 1109"/>
              <a:gd name="T55" fmla="*/ 155067 h 800"/>
              <a:gd name="T56" fmla="*/ 508080 w 1109"/>
              <a:gd name="T57" fmla="*/ 112776 h 800"/>
              <a:gd name="T58" fmla="*/ 480424 w 1109"/>
              <a:gd name="T59" fmla="*/ 97798 h 800"/>
              <a:gd name="T60" fmla="*/ 508080 w 1109"/>
              <a:gd name="T61" fmla="*/ 55507 h 800"/>
              <a:gd name="T62" fmla="*/ 508080 w 1109"/>
              <a:gd name="T63" fmla="*/ 28194 h 800"/>
              <a:gd name="T64" fmla="*/ 494647 w 1109"/>
              <a:gd name="T65" fmla="*/ 28194 h 800"/>
              <a:gd name="T66" fmla="*/ 410889 w 1109"/>
              <a:gd name="T67" fmla="*/ 13216 h 800"/>
              <a:gd name="T68" fmla="*/ 410889 w 1109"/>
              <a:gd name="T69" fmla="*/ 28194 h 800"/>
              <a:gd name="T70" fmla="*/ 369800 w 1109"/>
              <a:gd name="T71" fmla="*/ 42291 h 800"/>
              <a:gd name="T72" fmla="*/ 356367 w 1109"/>
              <a:gd name="T73" fmla="*/ 55507 h 800"/>
              <a:gd name="T74" fmla="*/ 356367 w 1109"/>
              <a:gd name="T75" fmla="*/ 97798 h 800"/>
              <a:gd name="T76" fmla="*/ 328711 w 1109"/>
              <a:gd name="T77" fmla="*/ 97798 h 800"/>
              <a:gd name="T78" fmla="*/ 315278 w 1109"/>
              <a:gd name="T79" fmla="*/ 70485 h 800"/>
              <a:gd name="T80" fmla="*/ 274189 w 1109"/>
              <a:gd name="T81" fmla="*/ 84582 h 800"/>
              <a:gd name="T82" fmla="*/ 247324 w 1109"/>
              <a:gd name="T83" fmla="*/ 126873 h 800"/>
              <a:gd name="T84" fmla="*/ 219668 w 1109"/>
              <a:gd name="T85" fmla="*/ 126873 h 800"/>
              <a:gd name="T86" fmla="*/ 219668 w 1109"/>
              <a:gd name="T87" fmla="*/ 155067 h 800"/>
              <a:gd name="T88" fmla="*/ 192802 w 1109"/>
              <a:gd name="T89" fmla="*/ 155067 h 800"/>
              <a:gd name="T90" fmla="*/ 165146 w 1109"/>
              <a:gd name="T91" fmla="*/ 197358 h 800"/>
              <a:gd name="T92" fmla="*/ 28446 w 1109"/>
              <a:gd name="T93" fmla="*/ 266962 h 800"/>
              <a:gd name="T94" fmla="*/ 13433 w 1109"/>
              <a:gd name="T95" fmla="*/ 266962 h 800"/>
              <a:gd name="T96" fmla="*/ 0 w 1109"/>
              <a:gd name="T97" fmla="*/ 296037 h 800"/>
              <a:gd name="T98" fmla="*/ 13433 w 1109"/>
              <a:gd name="T99" fmla="*/ 338328 h 800"/>
              <a:gd name="T100" fmla="*/ 0 w 1109"/>
              <a:gd name="T101" fmla="*/ 351544 h 800"/>
              <a:gd name="T102" fmla="*/ 56102 w 1109"/>
              <a:gd name="T103" fmla="*/ 493395 h 800"/>
              <a:gd name="T104" fmla="*/ 42669 w 1109"/>
              <a:gd name="T105" fmla="*/ 548902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chemeClr val="bg1"/>
          </a:solidFill>
          <a:ln w="9525">
            <a:solidFill>
              <a:schemeClr val="bg2"/>
            </a:solidFill>
            <a:prstDash val="solid"/>
            <a:round/>
            <a:headEnd/>
            <a:tailEnd/>
          </a:ln>
        </p:spPr>
        <p:txBody>
          <a:bodyPr/>
          <a:lstStyle/>
          <a:p>
            <a:endParaRPr lang="en-US" dirty="0"/>
          </a:p>
        </p:txBody>
      </p:sp>
      <p:sp>
        <p:nvSpPr>
          <p:cNvPr id="18549" name="Freeform 116"/>
          <p:cNvSpPr>
            <a:spLocks noChangeAspect="1"/>
          </p:cNvSpPr>
          <p:nvPr>
            <p:custDataLst>
              <p:tags r:id="rId90"/>
            </p:custDataLst>
          </p:nvPr>
        </p:nvSpPr>
        <p:spPr bwMode="auto">
          <a:xfrm>
            <a:off x="7086600" y="4176713"/>
            <a:ext cx="28575" cy="14287"/>
          </a:xfrm>
          <a:custGeom>
            <a:avLst/>
            <a:gdLst>
              <a:gd name="T0" fmla="*/ 0 w 35"/>
              <a:gd name="T1" fmla="*/ 14287 h 17"/>
              <a:gd name="T2" fmla="*/ 0 w 35"/>
              <a:gd name="T3" fmla="*/ 14287 h 17"/>
              <a:gd name="T4" fmla="*/ 13879 w 35"/>
              <a:gd name="T5" fmla="*/ 14287 h 17"/>
              <a:gd name="T6" fmla="*/ 28575 w 35"/>
              <a:gd name="T7" fmla="*/ 0 h 17"/>
              <a:gd name="T8" fmla="*/ 0 w 35"/>
              <a:gd name="T9" fmla="*/ 0 h 17"/>
              <a:gd name="T10" fmla="*/ 0 w 35"/>
              <a:gd name="T11" fmla="*/ 1428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550" name="Freeform 117"/>
          <p:cNvSpPr>
            <a:spLocks noChangeAspect="1"/>
          </p:cNvSpPr>
          <p:nvPr>
            <p:custDataLst>
              <p:tags r:id="rId91"/>
            </p:custDataLst>
          </p:nvPr>
        </p:nvSpPr>
        <p:spPr bwMode="auto">
          <a:xfrm>
            <a:off x="7224713" y="4768850"/>
            <a:ext cx="25400" cy="15875"/>
          </a:xfrm>
          <a:custGeom>
            <a:avLst/>
            <a:gdLst>
              <a:gd name="T0" fmla="*/ 0 w 33"/>
              <a:gd name="T1" fmla="*/ 0 h 17"/>
              <a:gd name="T2" fmla="*/ 0 w 33"/>
              <a:gd name="T3" fmla="*/ 0 h 17"/>
              <a:gd name="T4" fmla="*/ 25400 w 33"/>
              <a:gd name="T5" fmla="*/ 15875 h 17"/>
              <a:gd name="T6" fmla="*/ 25400 w 33"/>
              <a:gd name="T7" fmla="*/ 0 h 17"/>
              <a:gd name="T8" fmla="*/ 13085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51" name="Freeform 118"/>
          <p:cNvSpPr>
            <a:spLocks noChangeAspect="1"/>
          </p:cNvSpPr>
          <p:nvPr>
            <p:custDataLst>
              <p:tags r:id="rId92"/>
            </p:custDataLst>
          </p:nvPr>
        </p:nvSpPr>
        <p:spPr bwMode="auto">
          <a:xfrm>
            <a:off x="7399338" y="4911725"/>
            <a:ext cx="84137" cy="84138"/>
          </a:xfrm>
          <a:custGeom>
            <a:avLst/>
            <a:gdLst>
              <a:gd name="T0" fmla="*/ 0 w 105"/>
              <a:gd name="T1" fmla="*/ 0 h 96"/>
              <a:gd name="T2" fmla="*/ 0 w 105"/>
              <a:gd name="T3" fmla="*/ 0 h 96"/>
              <a:gd name="T4" fmla="*/ 15225 w 105"/>
              <a:gd name="T5" fmla="*/ 69239 h 96"/>
              <a:gd name="T6" fmla="*/ 42469 w 105"/>
              <a:gd name="T7" fmla="*/ 84138 h 96"/>
              <a:gd name="T8" fmla="*/ 56893 w 105"/>
              <a:gd name="T9" fmla="*/ 55216 h 96"/>
              <a:gd name="T10" fmla="*/ 70515 w 105"/>
              <a:gd name="T11" fmla="*/ 69239 h 96"/>
              <a:gd name="T12" fmla="*/ 84137 w 105"/>
              <a:gd name="T13" fmla="*/ 0 h 96"/>
              <a:gd name="T14" fmla="*/ 70515 w 105"/>
              <a:gd name="T15" fmla="*/ 0 h 96"/>
              <a:gd name="T16" fmla="*/ 28847 w 105"/>
              <a:gd name="T17" fmla="*/ 13147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chemeClr val="bg1"/>
          </a:solidFill>
          <a:ln w="9525">
            <a:solidFill>
              <a:schemeClr val="bg2"/>
            </a:solidFill>
            <a:round/>
            <a:headEnd/>
            <a:tailEnd/>
          </a:ln>
        </p:spPr>
        <p:txBody>
          <a:bodyPr/>
          <a:lstStyle/>
          <a:p>
            <a:endParaRPr lang="en-US" dirty="0"/>
          </a:p>
        </p:txBody>
      </p:sp>
      <p:sp>
        <p:nvSpPr>
          <p:cNvPr id="18552" name="Freeform 119"/>
          <p:cNvSpPr>
            <a:spLocks noChangeAspect="1"/>
          </p:cNvSpPr>
          <p:nvPr>
            <p:custDataLst>
              <p:tags r:id="rId93"/>
            </p:custDataLst>
          </p:nvPr>
        </p:nvSpPr>
        <p:spPr bwMode="auto">
          <a:xfrm>
            <a:off x="7999413" y="4743450"/>
            <a:ext cx="125412" cy="195263"/>
          </a:xfrm>
          <a:custGeom>
            <a:avLst/>
            <a:gdLst>
              <a:gd name="T0" fmla="*/ 27159 w 157"/>
              <a:gd name="T1" fmla="*/ 126089 h 223"/>
              <a:gd name="T2" fmla="*/ 27159 w 157"/>
              <a:gd name="T3" fmla="*/ 126089 h 223"/>
              <a:gd name="T4" fmla="*/ 55117 w 157"/>
              <a:gd name="T5" fmla="*/ 139223 h 223"/>
              <a:gd name="T6" fmla="*/ 41538 w 157"/>
              <a:gd name="T7" fmla="*/ 181253 h 223"/>
              <a:gd name="T8" fmla="*/ 55117 w 157"/>
              <a:gd name="T9" fmla="*/ 195263 h 223"/>
              <a:gd name="T10" fmla="*/ 68697 w 157"/>
              <a:gd name="T11" fmla="*/ 181253 h 223"/>
              <a:gd name="T12" fmla="*/ 96655 w 157"/>
              <a:gd name="T13" fmla="*/ 126089 h 223"/>
              <a:gd name="T14" fmla="*/ 111832 w 157"/>
              <a:gd name="T15" fmla="*/ 126089 h 223"/>
              <a:gd name="T16" fmla="*/ 125412 w 157"/>
              <a:gd name="T17" fmla="*/ 111204 h 223"/>
              <a:gd name="T18" fmla="*/ 125412 w 157"/>
              <a:gd name="T19" fmla="*/ 84059 h 223"/>
              <a:gd name="T20" fmla="*/ 111832 w 157"/>
              <a:gd name="T21" fmla="*/ 69174 h 223"/>
              <a:gd name="T22" fmla="*/ 96655 w 157"/>
              <a:gd name="T23" fmla="*/ 84059 h 223"/>
              <a:gd name="T24" fmla="*/ 68697 w 157"/>
              <a:gd name="T25" fmla="*/ 84059 h 223"/>
              <a:gd name="T26" fmla="*/ 68697 w 157"/>
              <a:gd name="T27" fmla="*/ 55164 h 223"/>
              <a:gd name="T28" fmla="*/ 55117 w 157"/>
              <a:gd name="T29" fmla="*/ 55164 h 223"/>
              <a:gd name="T30" fmla="*/ 55117 w 157"/>
              <a:gd name="T31" fmla="*/ 69174 h 223"/>
              <a:gd name="T32" fmla="*/ 41538 w 157"/>
              <a:gd name="T33" fmla="*/ 55164 h 223"/>
              <a:gd name="T34" fmla="*/ 41538 w 157"/>
              <a:gd name="T35" fmla="*/ 13134 h 223"/>
              <a:gd name="T36" fmla="*/ 0 w 157"/>
              <a:gd name="T37" fmla="*/ 0 h 223"/>
              <a:gd name="T38" fmla="*/ 41538 w 157"/>
              <a:gd name="T39" fmla="*/ 55164 h 223"/>
              <a:gd name="T40" fmla="*/ 41538 w 157"/>
              <a:gd name="T41" fmla="*/ 111204 h 223"/>
              <a:gd name="T42" fmla="*/ 27159 w 157"/>
              <a:gd name="T43" fmla="*/ 126089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chemeClr val="bg1"/>
          </a:solidFill>
          <a:ln w="9525">
            <a:solidFill>
              <a:schemeClr val="bg2"/>
            </a:solidFill>
            <a:round/>
            <a:headEnd/>
            <a:tailEnd/>
          </a:ln>
        </p:spPr>
        <p:txBody>
          <a:bodyPr/>
          <a:lstStyle/>
          <a:p>
            <a:endParaRPr lang="en-US" dirty="0"/>
          </a:p>
        </p:txBody>
      </p:sp>
      <p:sp>
        <p:nvSpPr>
          <p:cNvPr id="18553" name="Freeform 120"/>
          <p:cNvSpPr>
            <a:spLocks noChangeAspect="1"/>
          </p:cNvSpPr>
          <p:nvPr>
            <p:custDataLst>
              <p:tags r:id="rId94"/>
            </p:custDataLst>
          </p:nvPr>
        </p:nvSpPr>
        <p:spPr bwMode="auto">
          <a:xfrm>
            <a:off x="7866063" y="4911725"/>
            <a:ext cx="176212" cy="184150"/>
          </a:xfrm>
          <a:custGeom>
            <a:avLst/>
            <a:gdLst>
              <a:gd name="T0" fmla="*/ 0 w 223"/>
              <a:gd name="T1" fmla="*/ 154793 h 207"/>
              <a:gd name="T2" fmla="*/ 0 w 223"/>
              <a:gd name="T3" fmla="*/ 154793 h 207"/>
              <a:gd name="T4" fmla="*/ 13433 w 223"/>
              <a:gd name="T5" fmla="*/ 170806 h 207"/>
              <a:gd name="T6" fmla="*/ 26866 w 223"/>
              <a:gd name="T7" fmla="*/ 170806 h 207"/>
              <a:gd name="T8" fmla="*/ 54523 w 223"/>
              <a:gd name="T9" fmla="*/ 184150 h 207"/>
              <a:gd name="T10" fmla="*/ 82180 w 223"/>
              <a:gd name="T11" fmla="*/ 170806 h 207"/>
              <a:gd name="T12" fmla="*/ 95613 w 223"/>
              <a:gd name="T13" fmla="*/ 141449 h 207"/>
              <a:gd name="T14" fmla="*/ 109046 w 223"/>
              <a:gd name="T15" fmla="*/ 112981 h 207"/>
              <a:gd name="T16" fmla="*/ 135122 w 223"/>
              <a:gd name="T17" fmla="*/ 85403 h 207"/>
              <a:gd name="T18" fmla="*/ 148555 w 223"/>
              <a:gd name="T19" fmla="*/ 85403 h 207"/>
              <a:gd name="T20" fmla="*/ 135122 w 223"/>
              <a:gd name="T21" fmla="*/ 70279 h 207"/>
              <a:gd name="T22" fmla="*/ 176212 w 223"/>
              <a:gd name="T23" fmla="*/ 27578 h 207"/>
              <a:gd name="T24" fmla="*/ 176212 w 223"/>
              <a:gd name="T25" fmla="*/ 13344 h 207"/>
              <a:gd name="T26" fmla="*/ 161989 w 223"/>
              <a:gd name="T27" fmla="*/ 13344 h 207"/>
              <a:gd name="T28" fmla="*/ 161989 w 223"/>
              <a:gd name="T29" fmla="*/ 0 h 207"/>
              <a:gd name="T30" fmla="*/ 148555 w 223"/>
              <a:gd name="T31" fmla="*/ 13344 h 207"/>
              <a:gd name="T32" fmla="*/ 148555 w 223"/>
              <a:gd name="T33" fmla="*/ 0 h 207"/>
              <a:gd name="T34" fmla="*/ 135122 w 223"/>
              <a:gd name="T35" fmla="*/ 0 h 207"/>
              <a:gd name="T36" fmla="*/ 120899 w 223"/>
              <a:gd name="T37" fmla="*/ 0 h 207"/>
              <a:gd name="T38" fmla="*/ 120899 w 223"/>
              <a:gd name="T39" fmla="*/ 27578 h 207"/>
              <a:gd name="T40" fmla="*/ 109046 w 223"/>
              <a:gd name="T41" fmla="*/ 27578 h 207"/>
              <a:gd name="T42" fmla="*/ 95613 w 223"/>
              <a:gd name="T43" fmla="*/ 56046 h 207"/>
              <a:gd name="T44" fmla="*/ 41090 w 223"/>
              <a:gd name="T45" fmla="*/ 98747 h 207"/>
              <a:gd name="T46" fmla="*/ 0 w 223"/>
              <a:gd name="T47" fmla="*/ 154793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chemeClr val="bg1"/>
          </a:solidFill>
          <a:ln w="9525">
            <a:solidFill>
              <a:schemeClr val="bg2"/>
            </a:solidFill>
            <a:round/>
            <a:headEnd/>
            <a:tailEnd/>
          </a:ln>
        </p:spPr>
        <p:txBody>
          <a:bodyPr/>
          <a:lstStyle/>
          <a:p>
            <a:endParaRPr lang="en-US" dirty="0"/>
          </a:p>
        </p:txBody>
      </p:sp>
      <p:sp>
        <p:nvSpPr>
          <p:cNvPr id="18554" name="Freeform 121"/>
          <p:cNvSpPr>
            <a:spLocks noChangeAspect="1"/>
          </p:cNvSpPr>
          <p:nvPr>
            <p:custDataLst>
              <p:tags r:id="rId95"/>
            </p:custDataLst>
          </p:nvPr>
        </p:nvSpPr>
        <p:spPr bwMode="auto">
          <a:xfrm>
            <a:off x="7891463" y="5095875"/>
            <a:ext cx="14287" cy="12700"/>
          </a:xfrm>
          <a:custGeom>
            <a:avLst/>
            <a:gdLst>
              <a:gd name="T0" fmla="*/ 0 w 19"/>
              <a:gd name="T1" fmla="*/ 12700 h 15"/>
              <a:gd name="T2" fmla="*/ 0 w 19"/>
              <a:gd name="T3" fmla="*/ 12700 h 15"/>
              <a:gd name="T4" fmla="*/ 14287 w 19"/>
              <a:gd name="T5" fmla="*/ 12700 h 15"/>
              <a:gd name="T6" fmla="*/ 14287 w 19"/>
              <a:gd name="T7" fmla="*/ 0 h 15"/>
              <a:gd name="T8" fmla="*/ 0 w 19"/>
              <a:gd name="T9" fmla="*/ 12700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55" name="Freeform 122"/>
          <p:cNvSpPr>
            <a:spLocks noChangeAspect="1"/>
          </p:cNvSpPr>
          <p:nvPr>
            <p:custDataLst>
              <p:tags r:id="rId96"/>
            </p:custDataLst>
          </p:nvPr>
        </p:nvSpPr>
        <p:spPr bwMode="auto">
          <a:xfrm>
            <a:off x="6784975" y="4106863"/>
            <a:ext cx="163513" cy="12700"/>
          </a:xfrm>
          <a:custGeom>
            <a:avLst/>
            <a:gdLst>
              <a:gd name="T0" fmla="*/ 0 w 208"/>
              <a:gd name="T1" fmla="*/ 12700 h 16"/>
              <a:gd name="T2" fmla="*/ 0 w 208"/>
              <a:gd name="T3" fmla="*/ 12700 h 16"/>
              <a:gd name="T4" fmla="*/ 13364 w 208"/>
              <a:gd name="T5" fmla="*/ 12700 h 16"/>
              <a:gd name="T6" fmla="*/ 68392 w 208"/>
              <a:gd name="T7" fmla="*/ 0 h 16"/>
              <a:gd name="T8" fmla="*/ 122635 w 208"/>
              <a:gd name="T9" fmla="*/ 12700 h 16"/>
              <a:gd name="T10" fmla="*/ 163513 w 208"/>
              <a:gd name="T11" fmla="*/ 0 h 16"/>
              <a:gd name="T12" fmla="*/ 135999 w 208"/>
              <a:gd name="T13" fmla="*/ 0 h 16"/>
              <a:gd name="T14" fmla="*/ 95121 w 208"/>
              <a:gd name="T15" fmla="*/ 0 h 16"/>
              <a:gd name="T16" fmla="*/ 68392 w 208"/>
              <a:gd name="T17" fmla="*/ 0 h 16"/>
              <a:gd name="T18" fmla="*/ 27514 w 208"/>
              <a:gd name="T19" fmla="*/ 0 h 16"/>
              <a:gd name="T20" fmla="*/ 40878 w 208"/>
              <a:gd name="T21" fmla="*/ 0 h 16"/>
              <a:gd name="T22" fmla="*/ 0 w 208"/>
              <a:gd name="T23" fmla="*/ 0 h 16"/>
              <a:gd name="T24" fmla="*/ 0 w 208"/>
              <a:gd name="T25" fmla="*/ 1270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8556" name="Freeform 123"/>
          <p:cNvSpPr>
            <a:spLocks noChangeAspect="1"/>
          </p:cNvSpPr>
          <p:nvPr>
            <p:custDataLst>
              <p:tags r:id="rId97"/>
            </p:custDataLst>
          </p:nvPr>
        </p:nvSpPr>
        <p:spPr bwMode="auto">
          <a:xfrm>
            <a:off x="6843713" y="4133850"/>
            <a:ext cx="38100" cy="15875"/>
          </a:xfrm>
          <a:custGeom>
            <a:avLst/>
            <a:gdLst>
              <a:gd name="T0" fmla="*/ 0 w 52"/>
              <a:gd name="T1" fmla="*/ 0 h 17"/>
              <a:gd name="T2" fmla="*/ 0 w 52"/>
              <a:gd name="T3" fmla="*/ 0 h 17"/>
              <a:gd name="T4" fmla="*/ 25644 w 52"/>
              <a:gd name="T5" fmla="*/ 15875 h 17"/>
              <a:gd name="T6" fmla="*/ 38100 w 52"/>
              <a:gd name="T7" fmla="*/ 15875 h 17"/>
              <a:gd name="T8" fmla="*/ 256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57" name="Freeform 124"/>
          <p:cNvSpPr>
            <a:spLocks noChangeAspect="1"/>
          </p:cNvSpPr>
          <p:nvPr>
            <p:custDataLst>
              <p:tags r:id="rId98"/>
            </p:custDataLst>
          </p:nvPr>
        </p:nvSpPr>
        <p:spPr bwMode="auto">
          <a:xfrm>
            <a:off x="6937375" y="4106863"/>
            <a:ext cx="80963" cy="42862"/>
          </a:xfrm>
          <a:custGeom>
            <a:avLst/>
            <a:gdLst>
              <a:gd name="T0" fmla="*/ 0 w 104"/>
              <a:gd name="T1" fmla="*/ 42862 h 48"/>
              <a:gd name="T2" fmla="*/ 0 w 104"/>
              <a:gd name="T3" fmla="*/ 42862 h 48"/>
              <a:gd name="T4" fmla="*/ 27247 w 104"/>
              <a:gd name="T5" fmla="*/ 42862 h 48"/>
              <a:gd name="T6" fmla="*/ 80963 w 104"/>
              <a:gd name="T7" fmla="*/ 0 h 48"/>
              <a:gd name="T8" fmla="*/ 40482 w 104"/>
              <a:gd name="T9" fmla="*/ 0 h 48"/>
              <a:gd name="T10" fmla="*/ 13234 w 104"/>
              <a:gd name="T11" fmla="*/ 27682 h 48"/>
              <a:gd name="T12" fmla="*/ 0 w 104"/>
              <a:gd name="T13" fmla="*/ 42862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58" name="Freeform 125"/>
          <p:cNvSpPr>
            <a:spLocks noChangeAspect="1"/>
          </p:cNvSpPr>
          <p:nvPr>
            <p:custDataLst>
              <p:tags r:id="rId99"/>
            </p:custDataLst>
          </p:nvPr>
        </p:nvSpPr>
        <p:spPr bwMode="auto">
          <a:xfrm>
            <a:off x="7169150" y="4035425"/>
            <a:ext cx="15875" cy="42863"/>
          </a:xfrm>
          <a:custGeom>
            <a:avLst/>
            <a:gdLst>
              <a:gd name="T0" fmla="*/ 0 w 19"/>
              <a:gd name="T1" fmla="*/ 42863 h 48"/>
              <a:gd name="T2" fmla="*/ 0 w 19"/>
              <a:gd name="T3" fmla="*/ 42863 h 48"/>
              <a:gd name="T4" fmla="*/ 15875 w 19"/>
              <a:gd name="T5" fmla="*/ 13395 h 48"/>
              <a:gd name="T6" fmla="*/ 15875 w 19"/>
              <a:gd name="T7" fmla="*/ 0 h 48"/>
              <a:gd name="T8" fmla="*/ 0 w 19"/>
              <a:gd name="T9" fmla="*/ 42863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59" name="Freeform 126"/>
          <p:cNvSpPr>
            <a:spLocks noChangeAspect="1"/>
          </p:cNvSpPr>
          <p:nvPr>
            <p:custDataLst>
              <p:tags r:id="rId100"/>
            </p:custDataLst>
          </p:nvPr>
        </p:nvSpPr>
        <p:spPr bwMode="auto">
          <a:xfrm>
            <a:off x="6843713" y="3879850"/>
            <a:ext cx="136525" cy="169863"/>
          </a:xfrm>
          <a:custGeom>
            <a:avLst/>
            <a:gdLst>
              <a:gd name="T0" fmla="*/ 0 w 173"/>
              <a:gd name="T1" fmla="*/ 99971 h 192"/>
              <a:gd name="T2" fmla="*/ 0 w 173"/>
              <a:gd name="T3" fmla="*/ 99971 h 192"/>
              <a:gd name="T4" fmla="*/ 0 w 173"/>
              <a:gd name="T5" fmla="*/ 114127 h 192"/>
              <a:gd name="T6" fmla="*/ 13416 w 173"/>
              <a:gd name="T7" fmla="*/ 114127 h 192"/>
              <a:gd name="T8" fmla="*/ 13416 w 173"/>
              <a:gd name="T9" fmla="*/ 127397 h 192"/>
              <a:gd name="T10" fmla="*/ 13416 w 173"/>
              <a:gd name="T11" fmla="*/ 169863 h 192"/>
              <a:gd name="T12" fmla="*/ 27621 w 173"/>
              <a:gd name="T13" fmla="*/ 156592 h 192"/>
              <a:gd name="T14" fmla="*/ 27621 w 173"/>
              <a:gd name="T15" fmla="*/ 114127 h 192"/>
              <a:gd name="T16" fmla="*/ 41036 w 173"/>
              <a:gd name="T17" fmla="*/ 99971 h 192"/>
              <a:gd name="T18" fmla="*/ 54452 w 173"/>
              <a:gd name="T19" fmla="*/ 99971 h 192"/>
              <a:gd name="T20" fmla="*/ 41036 w 173"/>
              <a:gd name="T21" fmla="*/ 114127 h 192"/>
              <a:gd name="T22" fmla="*/ 54452 w 173"/>
              <a:gd name="T23" fmla="*/ 127397 h 192"/>
              <a:gd name="T24" fmla="*/ 54452 w 173"/>
              <a:gd name="T25" fmla="*/ 142437 h 192"/>
              <a:gd name="T26" fmla="*/ 82073 w 173"/>
              <a:gd name="T27" fmla="*/ 142437 h 192"/>
              <a:gd name="T28" fmla="*/ 82073 w 173"/>
              <a:gd name="T29" fmla="*/ 169863 h 192"/>
              <a:gd name="T30" fmla="*/ 95489 w 173"/>
              <a:gd name="T31" fmla="*/ 156592 h 192"/>
              <a:gd name="T32" fmla="*/ 95489 w 173"/>
              <a:gd name="T33" fmla="*/ 142437 h 192"/>
              <a:gd name="T34" fmla="*/ 68657 w 173"/>
              <a:gd name="T35" fmla="*/ 114127 h 192"/>
              <a:gd name="T36" fmla="*/ 82073 w 173"/>
              <a:gd name="T37" fmla="*/ 114127 h 192"/>
              <a:gd name="T38" fmla="*/ 54452 w 173"/>
              <a:gd name="T39" fmla="*/ 84932 h 192"/>
              <a:gd name="T40" fmla="*/ 82073 w 173"/>
              <a:gd name="T41" fmla="*/ 58390 h 192"/>
              <a:gd name="T42" fmla="*/ 95489 w 173"/>
              <a:gd name="T43" fmla="*/ 58390 h 192"/>
              <a:gd name="T44" fmla="*/ 41036 w 173"/>
              <a:gd name="T45" fmla="*/ 71661 h 192"/>
              <a:gd name="T46" fmla="*/ 27621 w 173"/>
              <a:gd name="T47" fmla="*/ 58390 h 192"/>
              <a:gd name="T48" fmla="*/ 27621 w 173"/>
              <a:gd name="T49" fmla="*/ 42466 h 192"/>
              <a:gd name="T50" fmla="*/ 41036 w 173"/>
              <a:gd name="T51" fmla="*/ 29195 h 192"/>
              <a:gd name="T52" fmla="*/ 123109 w 173"/>
              <a:gd name="T53" fmla="*/ 29195 h 192"/>
              <a:gd name="T54" fmla="*/ 136525 w 173"/>
              <a:gd name="T55" fmla="*/ 0 h 192"/>
              <a:gd name="T56" fmla="*/ 108904 w 173"/>
              <a:gd name="T57" fmla="*/ 15925 h 192"/>
              <a:gd name="T58" fmla="*/ 82073 w 173"/>
              <a:gd name="T59" fmla="*/ 29195 h 192"/>
              <a:gd name="T60" fmla="*/ 41036 w 173"/>
              <a:gd name="T61" fmla="*/ 15925 h 192"/>
              <a:gd name="T62" fmla="*/ 41036 w 173"/>
              <a:gd name="T63" fmla="*/ 29195 h 192"/>
              <a:gd name="T64" fmla="*/ 27621 w 173"/>
              <a:gd name="T65" fmla="*/ 29195 h 192"/>
              <a:gd name="T66" fmla="*/ 27621 w 173"/>
              <a:gd name="T67" fmla="*/ 58390 h 192"/>
              <a:gd name="T68" fmla="*/ 0 w 173"/>
              <a:gd name="T69" fmla="*/ 99971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chemeClr val="bg1"/>
          </a:solidFill>
          <a:ln w="9525">
            <a:solidFill>
              <a:schemeClr val="bg2"/>
            </a:solidFill>
            <a:prstDash val="solid"/>
            <a:round/>
            <a:headEnd/>
            <a:tailEnd/>
          </a:ln>
        </p:spPr>
        <p:txBody>
          <a:bodyPr/>
          <a:lstStyle/>
          <a:p>
            <a:endParaRPr lang="en-US" dirty="0"/>
          </a:p>
        </p:txBody>
      </p:sp>
      <p:sp>
        <p:nvSpPr>
          <p:cNvPr id="18560" name="Freeform 127"/>
          <p:cNvSpPr>
            <a:spLocks noChangeAspect="1"/>
          </p:cNvSpPr>
          <p:nvPr>
            <p:custDataLst>
              <p:tags r:id="rId101"/>
            </p:custDataLst>
          </p:nvPr>
        </p:nvSpPr>
        <p:spPr bwMode="auto">
          <a:xfrm>
            <a:off x="7018338" y="3867150"/>
            <a:ext cx="28575" cy="69850"/>
          </a:xfrm>
          <a:custGeom>
            <a:avLst/>
            <a:gdLst>
              <a:gd name="T0" fmla="*/ 0 w 34"/>
              <a:gd name="T1" fmla="*/ 28457 h 81"/>
              <a:gd name="T2" fmla="*/ 0 w 34"/>
              <a:gd name="T3" fmla="*/ 28457 h 81"/>
              <a:gd name="T4" fmla="*/ 14288 w 34"/>
              <a:gd name="T5" fmla="*/ 54328 h 81"/>
              <a:gd name="T6" fmla="*/ 28575 w 34"/>
              <a:gd name="T7" fmla="*/ 69850 h 81"/>
              <a:gd name="T8" fmla="*/ 14288 w 34"/>
              <a:gd name="T9" fmla="*/ 54328 h 81"/>
              <a:gd name="T10" fmla="*/ 14288 w 34"/>
              <a:gd name="T11" fmla="*/ 41393 h 81"/>
              <a:gd name="T12" fmla="*/ 28575 w 34"/>
              <a:gd name="T13" fmla="*/ 41393 h 81"/>
              <a:gd name="T14" fmla="*/ 28575 w 34"/>
              <a:gd name="T15" fmla="*/ 28457 h 81"/>
              <a:gd name="T16" fmla="*/ 28575 w 34"/>
              <a:gd name="T17" fmla="*/ 12935 h 81"/>
              <a:gd name="T18" fmla="*/ 28575 w 34"/>
              <a:gd name="T19" fmla="*/ 28457 h 81"/>
              <a:gd name="T20" fmla="*/ 14288 w 34"/>
              <a:gd name="T21" fmla="*/ 0 h 81"/>
              <a:gd name="T22" fmla="*/ 0 w 34"/>
              <a:gd name="T23" fmla="*/ 2845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8561" name="Freeform 128"/>
          <p:cNvSpPr>
            <a:spLocks noChangeAspect="1"/>
          </p:cNvSpPr>
          <p:nvPr>
            <p:custDataLst>
              <p:tags r:id="rId102"/>
            </p:custDataLst>
          </p:nvPr>
        </p:nvSpPr>
        <p:spPr bwMode="auto">
          <a:xfrm>
            <a:off x="6992938" y="3992563"/>
            <a:ext cx="25400" cy="15875"/>
          </a:xfrm>
          <a:custGeom>
            <a:avLst/>
            <a:gdLst>
              <a:gd name="T0" fmla="*/ 0 w 35"/>
              <a:gd name="T1" fmla="*/ 0 h 15"/>
              <a:gd name="T2" fmla="*/ 0 w 35"/>
              <a:gd name="T3" fmla="*/ 0 h 15"/>
              <a:gd name="T4" fmla="*/ 25400 w 35"/>
              <a:gd name="T5" fmla="*/ 15875 h 15"/>
              <a:gd name="T6" fmla="*/ 25400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2" name="Freeform 129"/>
          <p:cNvSpPr>
            <a:spLocks noChangeAspect="1"/>
          </p:cNvSpPr>
          <p:nvPr>
            <p:custDataLst>
              <p:tags r:id="rId103"/>
            </p:custDataLst>
          </p:nvPr>
        </p:nvSpPr>
        <p:spPr bwMode="auto">
          <a:xfrm>
            <a:off x="7032625" y="3978275"/>
            <a:ext cx="68263" cy="30163"/>
          </a:xfrm>
          <a:custGeom>
            <a:avLst/>
            <a:gdLst>
              <a:gd name="T0" fmla="*/ 0 w 86"/>
              <a:gd name="T1" fmla="*/ 15568 h 31"/>
              <a:gd name="T2" fmla="*/ 0 w 86"/>
              <a:gd name="T3" fmla="*/ 15568 h 31"/>
              <a:gd name="T4" fmla="*/ 68263 w 86"/>
              <a:gd name="T5" fmla="*/ 30163 h 31"/>
              <a:gd name="T6" fmla="*/ 54769 w 86"/>
              <a:gd name="T7" fmla="*/ 15568 h 31"/>
              <a:gd name="T8" fmla="*/ 41275 w 86"/>
              <a:gd name="T9" fmla="*/ 0 h 31"/>
              <a:gd name="T10" fmla="*/ 13494 w 86"/>
              <a:gd name="T11" fmla="*/ 0 h 31"/>
              <a:gd name="T12" fmla="*/ 0 w 86"/>
              <a:gd name="T13" fmla="*/ 15568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8563" name="Freeform 130"/>
          <p:cNvSpPr>
            <a:spLocks noChangeAspect="1"/>
          </p:cNvSpPr>
          <p:nvPr>
            <p:custDataLst>
              <p:tags r:id="rId104"/>
            </p:custDataLst>
          </p:nvPr>
        </p:nvSpPr>
        <p:spPr bwMode="auto">
          <a:xfrm>
            <a:off x="7018338" y="3951288"/>
            <a:ext cx="28575" cy="1587"/>
          </a:xfrm>
          <a:custGeom>
            <a:avLst/>
            <a:gdLst>
              <a:gd name="T0" fmla="*/ 0 w 34"/>
              <a:gd name="T1" fmla="*/ 0 h 1587"/>
              <a:gd name="T2" fmla="*/ 0 w 34"/>
              <a:gd name="T3" fmla="*/ 0 h 1587"/>
              <a:gd name="T4" fmla="*/ 28575 w 34"/>
              <a:gd name="T5" fmla="*/ 0 h 1587"/>
              <a:gd name="T6" fmla="*/ 14288 w 34"/>
              <a:gd name="T7" fmla="*/ 0 h 1587"/>
              <a:gd name="T8" fmla="*/ 0 w 34"/>
              <a:gd name="T9" fmla="*/ 0 h 1587"/>
              <a:gd name="T10" fmla="*/ 0 60000 65536"/>
              <a:gd name="T11" fmla="*/ 0 60000 65536"/>
              <a:gd name="T12" fmla="*/ 0 60000 65536"/>
              <a:gd name="T13" fmla="*/ 0 60000 65536"/>
              <a:gd name="T14" fmla="*/ 0 60000 65536"/>
              <a:gd name="T15" fmla="*/ 0 w 34"/>
              <a:gd name="T16" fmla="*/ 0 h 1587"/>
              <a:gd name="T17" fmla="*/ 34 w 34"/>
              <a:gd name="T18" fmla="*/ 1587 h 1587"/>
            </a:gdLst>
            <a:ahLst/>
            <a:cxnLst>
              <a:cxn ang="T10">
                <a:pos x="T0" y="T1"/>
              </a:cxn>
              <a:cxn ang="T11">
                <a:pos x="T2" y="T3"/>
              </a:cxn>
              <a:cxn ang="T12">
                <a:pos x="T4" y="T5"/>
              </a:cxn>
              <a:cxn ang="T13">
                <a:pos x="T6" y="T7"/>
              </a:cxn>
              <a:cxn ang="T14">
                <a:pos x="T8" y="T9"/>
              </a:cxn>
            </a:cxnLst>
            <a:rect l="T15" t="T16" r="T17" b="T18"/>
            <a:pathLst>
              <a:path w="34" h="1587">
                <a:moveTo>
                  <a:pt x="0" y="0"/>
                </a:moveTo>
                <a:lnTo>
                  <a:pt x="0" y="0"/>
                </a:lnTo>
                <a:lnTo>
                  <a:pt x="34"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4" name="Freeform 131"/>
          <p:cNvSpPr>
            <a:spLocks noChangeAspect="1"/>
          </p:cNvSpPr>
          <p:nvPr>
            <p:custDataLst>
              <p:tags r:id="rId105"/>
            </p:custDataLst>
          </p:nvPr>
        </p:nvSpPr>
        <p:spPr bwMode="auto">
          <a:xfrm>
            <a:off x="7196138" y="3937000"/>
            <a:ext cx="14287" cy="14288"/>
          </a:xfrm>
          <a:custGeom>
            <a:avLst/>
            <a:gdLst>
              <a:gd name="T0" fmla="*/ 0 w 18"/>
              <a:gd name="T1" fmla="*/ 0 h 15"/>
              <a:gd name="T2" fmla="*/ 0 w 18"/>
              <a:gd name="T3" fmla="*/ 0 h 15"/>
              <a:gd name="T4" fmla="*/ 14287 w 18"/>
              <a:gd name="T5" fmla="*/ 14288 h 15"/>
              <a:gd name="T6" fmla="*/ 14287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5" name="Freeform 132"/>
          <p:cNvSpPr>
            <a:spLocks noChangeAspect="1"/>
          </p:cNvSpPr>
          <p:nvPr>
            <p:custDataLst>
              <p:tags r:id="rId106"/>
            </p:custDataLst>
          </p:nvPr>
        </p:nvSpPr>
        <p:spPr bwMode="auto">
          <a:xfrm>
            <a:off x="7469188" y="4008438"/>
            <a:ext cx="96837" cy="53975"/>
          </a:xfrm>
          <a:custGeom>
            <a:avLst/>
            <a:gdLst>
              <a:gd name="T0" fmla="*/ 0 w 123"/>
              <a:gd name="T1" fmla="*/ 27403 h 65"/>
              <a:gd name="T2" fmla="*/ 0 w 123"/>
              <a:gd name="T3" fmla="*/ 27403 h 65"/>
              <a:gd name="T4" fmla="*/ 27555 w 123"/>
              <a:gd name="T5" fmla="*/ 53975 h 65"/>
              <a:gd name="T6" fmla="*/ 55898 w 123"/>
              <a:gd name="T7" fmla="*/ 53975 h 65"/>
              <a:gd name="T8" fmla="*/ 83453 w 123"/>
              <a:gd name="T9" fmla="*/ 39858 h 65"/>
              <a:gd name="T10" fmla="*/ 96837 w 123"/>
              <a:gd name="T11" fmla="*/ 14117 h 65"/>
              <a:gd name="T12" fmla="*/ 96837 w 123"/>
              <a:gd name="T13" fmla="*/ 0 h 65"/>
              <a:gd name="T14" fmla="*/ 83453 w 123"/>
              <a:gd name="T15" fmla="*/ 0 h 65"/>
              <a:gd name="T16" fmla="*/ 83453 w 123"/>
              <a:gd name="T17" fmla="*/ 27403 h 65"/>
              <a:gd name="T18" fmla="*/ 69282 w 123"/>
              <a:gd name="T19" fmla="*/ 27403 h 65"/>
              <a:gd name="T20" fmla="*/ 55898 w 123"/>
              <a:gd name="T21" fmla="*/ 27403 h 65"/>
              <a:gd name="T22" fmla="*/ 0 w 123"/>
              <a:gd name="T23" fmla="*/ 27403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8566" name="Freeform 133"/>
          <p:cNvSpPr>
            <a:spLocks noChangeAspect="1"/>
          </p:cNvSpPr>
          <p:nvPr>
            <p:custDataLst>
              <p:tags r:id="rId107"/>
            </p:custDataLst>
          </p:nvPr>
        </p:nvSpPr>
        <p:spPr bwMode="auto">
          <a:xfrm>
            <a:off x="7537450" y="3992563"/>
            <a:ext cx="41275" cy="28575"/>
          </a:xfrm>
          <a:custGeom>
            <a:avLst/>
            <a:gdLst>
              <a:gd name="T0" fmla="*/ 0 w 52"/>
              <a:gd name="T1" fmla="*/ 0 h 32"/>
              <a:gd name="T2" fmla="*/ 0 w 52"/>
              <a:gd name="T3" fmla="*/ 0 h 32"/>
              <a:gd name="T4" fmla="*/ 27781 w 52"/>
              <a:gd name="T5" fmla="*/ 13395 h 32"/>
              <a:gd name="T6" fmla="*/ 41275 w 52"/>
              <a:gd name="T7" fmla="*/ 28575 h 32"/>
              <a:gd name="T8" fmla="*/ 41275 w 52"/>
              <a:gd name="T9" fmla="*/ 13395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7" name="Freeform 134"/>
          <p:cNvSpPr>
            <a:spLocks noChangeAspect="1"/>
          </p:cNvSpPr>
          <p:nvPr>
            <p:custDataLst>
              <p:tags r:id="rId108"/>
            </p:custDataLst>
          </p:nvPr>
        </p:nvSpPr>
        <p:spPr bwMode="auto">
          <a:xfrm>
            <a:off x="7621588" y="4035425"/>
            <a:ext cx="25400" cy="42863"/>
          </a:xfrm>
          <a:custGeom>
            <a:avLst/>
            <a:gdLst>
              <a:gd name="T0" fmla="*/ 0 w 35"/>
              <a:gd name="T1" fmla="*/ 0 h 48"/>
              <a:gd name="T2" fmla="*/ 0 w 35"/>
              <a:gd name="T3" fmla="*/ 0 h 48"/>
              <a:gd name="T4" fmla="*/ 12337 w 35"/>
              <a:gd name="T5" fmla="*/ 42863 h 48"/>
              <a:gd name="T6" fmla="*/ 25400 w 35"/>
              <a:gd name="T7" fmla="*/ 28575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8" name="Freeform 135"/>
          <p:cNvSpPr>
            <a:spLocks noChangeAspect="1"/>
          </p:cNvSpPr>
          <p:nvPr>
            <p:custDataLst>
              <p:tags r:id="rId109"/>
            </p:custDataLst>
          </p:nvPr>
        </p:nvSpPr>
        <p:spPr bwMode="auto">
          <a:xfrm>
            <a:off x="7715250" y="4119563"/>
            <a:ext cx="28575" cy="14287"/>
          </a:xfrm>
          <a:custGeom>
            <a:avLst/>
            <a:gdLst>
              <a:gd name="T0" fmla="*/ 0 w 34"/>
              <a:gd name="T1" fmla="*/ 0 h 15"/>
              <a:gd name="T2" fmla="*/ 0 w 34"/>
              <a:gd name="T3" fmla="*/ 0 h 15"/>
              <a:gd name="T4" fmla="*/ 0 w 34"/>
              <a:gd name="T5" fmla="*/ 14287 h 15"/>
              <a:gd name="T6" fmla="*/ 28575 w 34"/>
              <a:gd name="T7" fmla="*/ 142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69" name="Freeform 136"/>
          <p:cNvSpPr>
            <a:spLocks noChangeAspect="1"/>
          </p:cNvSpPr>
          <p:nvPr>
            <p:custDataLst>
              <p:tags r:id="rId110"/>
            </p:custDataLst>
          </p:nvPr>
        </p:nvSpPr>
        <p:spPr bwMode="auto">
          <a:xfrm>
            <a:off x="7878763" y="4248150"/>
            <a:ext cx="14287" cy="26988"/>
          </a:xfrm>
          <a:custGeom>
            <a:avLst/>
            <a:gdLst>
              <a:gd name="T0" fmla="*/ 0 w 18"/>
              <a:gd name="T1" fmla="*/ 0 h 32"/>
              <a:gd name="T2" fmla="*/ 0 w 18"/>
              <a:gd name="T3" fmla="*/ 0 h 32"/>
              <a:gd name="T4" fmla="*/ 0 w 18"/>
              <a:gd name="T5" fmla="*/ 26988 h 32"/>
              <a:gd name="T6" fmla="*/ 14287 w 18"/>
              <a:gd name="T7" fmla="*/ 1265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70" name="Freeform 137"/>
          <p:cNvSpPr>
            <a:spLocks noChangeAspect="1"/>
          </p:cNvSpPr>
          <p:nvPr>
            <p:custDataLst>
              <p:tags r:id="rId111"/>
            </p:custDataLst>
          </p:nvPr>
        </p:nvSpPr>
        <p:spPr bwMode="auto">
          <a:xfrm>
            <a:off x="7826375" y="4375150"/>
            <a:ext cx="52388" cy="55563"/>
          </a:xfrm>
          <a:custGeom>
            <a:avLst/>
            <a:gdLst>
              <a:gd name="T0" fmla="*/ 0 w 67"/>
              <a:gd name="T1" fmla="*/ 0 h 63"/>
              <a:gd name="T2" fmla="*/ 0 w 67"/>
              <a:gd name="T3" fmla="*/ 0 h 63"/>
              <a:gd name="T4" fmla="*/ 13292 w 67"/>
              <a:gd name="T5" fmla="*/ 28222 h 63"/>
              <a:gd name="T6" fmla="*/ 39096 w 67"/>
              <a:gd name="T7" fmla="*/ 55563 h 63"/>
              <a:gd name="T8" fmla="*/ 52388 w 67"/>
              <a:gd name="T9" fmla="*/ 55563 h 63"/>
              <a:gd name="T10" fmla="*/ 13292 w 67"/>
              <a:gd name="T11" fmla="*/ 13229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71" name="Freeform 138"/>
          <p:cNvSpPr>
            <a:spLocks noChangeAspect="1"/>
          </p:cNvSpPr>
          <p:nvPr>
            <p:custDataLst>
              <p:tags r:id="rId112"/>
            </p:custDataLst>
          </p:nvPr>
        </p:nvSpPr>
        <p:spPr bwMode="auto">
          <a:xfrm>
            <a:off x="8097838" y="4305300"/>
            <a:ext cx="30162" cy="26988"/>
          </a:xfrm>
          <a:custGeom>
            <a:avLst/>
            <a:gdLst>
              <a:gd name="T0" fmla="*/ 0 w 34"/>
              <a:gd name="T1" fmla="*/ 26988 h 33"/>
              <a:gd name="T2" fmla="*/ 0 w 34"/>
              <a:gd name="T3" fmla="*/ 26988 h 33"/>
              <a:gd name="T4" fmla="*/ 30162 w 34"/>
              <a:gd name="T5" fmla="*/ 26988 h 33"/>
              <a:gd name="T6" fmla="*/ 30162 w 34"/>
              <a:gd name="T7" fmla="*/ 13903 h 33"/>
              <a:gd name="T8" fmla="*/ 15081 w 34"/>
              <a:gd name="T9" fmla="*/ 0 h 33"/>
              <a:gd name="T10" fmla="*/ 0 w 34"/>
              <a:gd name="T11" fmla="*/ 2698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8572" name="Freeform 139"/>
          <p:cNvSpPr>
            <a:spLocks noChangeAspect="1"/>
          </p:cNvSpPr>
          <p:nvPr>
            <p:custDataLst>
              <p:tags r:id="rId113"/>
            </p:custDataLst>
          </p:nvPr>
        </p:nvSpPr>
        <p:spPr bwMode="auto">
          <a:xfrm>
            <a:off x="8128000" y="4291013"/>
            <a:ext cx="25400" cy="14287"/>
          </a:xfrm>
          <a:custGeom>
            <a:avLst/>
            <a:gdLst>
              <a:gd name="T0" fmla="*/ 0 w 35"/>
              <a:gd name="T1" fmla="*/ 0 h 15"/>
              <a:gd name="T2" fmla="*/ 0 w 35"/>
              <a:gd name="T3" fmla="*/ 0 h 15"/>
              <a:gd name="T4" fmla="*/ 12337 w 35"/>
              <a:gd name="T5" fmla="*/ 14287 h 15"/>
              <a:gd name="T6" fmla="*/ 25400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73" name="Line 140"/>
          <p:cNvSpPr>
            <a:spLocks noChangeAspect="1" noChangeShapeType="1"/>
          </p:cNvSpPr>
          <p:nvPr>
            <p:custDataLst>
              <p:tags r:id="rId114"/>
            </p:custDataLst>
          </p:nvPr>
        </p:nvSpPr>
        <p:spPr bwMode="auto">
          <a:xfrm flipV="1">
            <a:off x="7107238" y="4084638"/>
            <a:ext cx="14287" cy="55562"/>
          </a:xfrm>
          <a:prstGeom prst="line">
            <a:avLst/>
          </a:prstGeom>
          <a:noFill/>
          <a:ln w="9525">
            <a:solidFill>
              <a:schemeClr val="bg2"/>
            </a:solidFill>
            <a:round/>
            <a:headEnd/>
            <a:tailEnd/>
          </a:ln>
        </p:spPr>
        <p:txBody>
          <a:bodyPr/>
          <a:lstStyle/>
          <a:p>
            <a:endParaRPr lang="en-US" dirty="0"/>
          </a:p>
        </p:txBody>
      </p:sp>
      <p:sp>
        <p:nvSpPr>
          <p:cNvPr id="18574" name="Line 141"/>
          <p:cNvSpPr>
            <a:spLocks noChangeAspect="1" noChangeShapeType="1"/>
          </p:cNvSpPr>
          <p:nvPr>
            <p:custDataLst>
              <p:tags r:id="rId115"/>
            </p:custDataLst>
          </p:nvPr>
        </p:nvSpPr>
        <p:spPr bwMode="auto">
          <a:xfrm>
            <a:off x="7653338" y="4084638"/>
            <a:ext cx="28575" cy="14287"/>
          </a:xfrm>
          <a:prstGeom prst="line">
            <a:avLst/>
          </a:prstGeom>
          <a:noFill/>
          <a:ln w="9525">
            <a:solidFill>
              <a:schemeClr val="bg2"/>
            </a:solidFill>
            <a:round/>
            <a:headEnd/>
            <a:tailEnd/>
          </a:ln>
        </p:spPr>
        <p:txBody>
          <a:bodyPr/>
          <a:lstStyle/>
          <a:p>
            <a:endParaRPr lang="en-US" dirty="0"/>
          </a:p>
        </p:txBody>
      </p:sp>
      <p:sp>
        <p:nvSpPr>
          <p:cNvPr id="18575" name="Line 142"/>
          <p:cNvSpPr>
            <a:spLocks noChangeAspect="1" noChangeShapeType="1"/>
          </p:cNvSpPr>
          <p:nvPr>
            <p:custDataLst>
              <p:tags r:id="rId116"/>
            </p:custDataLst>
          </p:nvPr>
        </p:nvSpPr>
        <p:spPr bwMode="auto">
          <a:xfrm>
            <a:off x="7681913" y="4114800"/>
            <a:ext cx="12700" cy="12700"/>
          </a:xfrm>
          <a:prstGeom prst="line">
            <a:avLst/>
          </a:prstGeom>
          <a:noFill/>
          <a:ln w="9525">
            <a:solidFill>
              <a:schemeClr val="bg2"/>
            </a:solidFill>
            <a:round/>
            <a:headEnd/>
            <a:tailEnd/>
          </a:ln>
        </p:spPr>
        <p:txBody>
          <a:bodyPr/>
          <a:lstStyle/>
          <a:p>
            <a:endParaRPr lang="en-US" dirty="0"/>
          </a:p>
        </p:txBody>
      </p:sp>
      <p:sp>
        <p:nvSpPr>
          <p:cNvPr id="18576" name="Line 143"/>
          <p:cNvSpPr>
            <a:spLocks noChangeAspect="1" noChangeShapeType="1"/>
          </p:cNvSpPr>
          <p:nvPr>
            <p:custDataLst>
              <p:tags r:id="rId117"/>
            </p:custDataLst>
          </p:nvPr>
        </p:nvSpPr>
        <p:spPr bwMode="auto">
          <a:xfrm>
            <a:off x="7751763" y="4127500"/>
            <a:ext cx="12700" cy="28575"/>
          </a:xfrm>
          <a:prstGeom prst="line">
            <a:avLst/>
          </a:prstGeom>
          <a:noFill/>
          <a:ln w="9525">
            <a:solidFill>
              <a:schemeClr val="bg2"/>
            </a:solidFill>
            <a:round/>
            <a:headEnd/>
            <a:tailEnd/>
          </a:ln>
        </p:spPr>
        <p:txBody>
          <a:bodyPr/>
          <a:lstStyle/>
          <a:p>
            <a:endParaRPr lang="en-US" dirty="0"/>
          </a:p>
        </p:txBody>
      </p:sp>
      <p:sp>
        <p:nvSpPr>
          <p:cNvPr id="18577" name="Line 144"/>
          <p:cNvSpPr>
            <a:spLocks noChangeAspect="1" noChangeShapeType="1"/>
          </p:cNvSpPr>
          <p:nvPr>
            <p:custDataLst>
              <p:tags r:id="rId118"/>
            </p:custDataLst>
          </p:nvPr>
        </p:nvSpPr>
        <p:spPr bwMode="auto">
          <a:xfrm>
            <a:off x="7764463" y="4168775"/>
            <a:ext cx="25400" cy="15875"/>
          </a:xfrm>
          <a:prstGeom prst="line">
            <a:avLst/>
          </a:prstGeom>
          <a:noFill/>
          <a:ln w="9525">
            <a:solidFill>
              <a:schemeClr val="bg2"/>
            </a:solidFill>
            <a:round/>
            <a:headEnd/>
            <a:tailEnd/>
          </a:ln>
        </p:spPr>
        <p:txBody>
          <a:bodyPr/>
          <a:lstStyle/>
          <a:p>
            <a:endParaRPr lang="en-US" dirty="0"/>
          </a:p>
        </p:txBody>
      </p:sp>
      <p:sp>
        <p:nvSpPr>
          <p:cNvPr id="18578" name="Freeform 145"/>
          <p:cNvSpPr>
            <a:spLocks noChangeAspect="1"/>
          </p:cNvSpPr>
          <p:nvPr>
            <p:custDataLst>
              <p:tags r:id="rId119"/>
            </p:custDataLst>
          </p:nvPr>
        </p:nvSpPr>
        <p:spPr bwMode="auto">
          <a:xfrm>
            <a:off x="6635750" y="3767138"/>
            <a:ext cx="219075" cy="127000"/>
          </a:xfrm>
          <a:custGeom>
            <a:avLst/>
            <a:gdLst>
              <a:gd name="T0" fmla="*/ 124510 w 278"/>
              <a:gd name="T1" fmla="*/ 42333 h 144"/>
              <a:gd name="T2" fmla="*/ 124510 w 278"/>
              <a:gd name="T3" fmla="*/ 42333 h 144"/>
              <a:gd name="T4" fmla="*/ 137907 w 278"/>
              <a:gd name="T5" fmla="*/ 42333 h 144"/>
              <a:gd name="T6" fmla="*/ 124510 w 278"/>
              <a:gd name="T7" fmla="*/ 55562 h 144"/>
              <a:gd name="T8" fmla="*/ 110326 w 278"/>
              <a:gd name="T9" fmla="*/ 55562 h 144"/>
              <a:gd name="T10" fmla="*/ 96929 w 278"/>
              <a:gd name="T11" fmla="*/ 55562 h 144"/>
              <a:gd name="T12" fmla="*/ 69347 w 278"/>
              <a:gd name="T13" fmla="*/ 84667 h 144"/>
              <a:gd name="T14" fmla="*/ 40978 w 278"/>
              <a:gd name="T15" fmla="*/ 84667 h 144"/>
              <a:gd name="T16" fmla="*/ 40978 w 278"/>
              <a:gd name="T17" fmla="*/ 111125 h 144"/>
              <a:gd name="T18" fmla="*/ 0 w 278"/>
              <a:gd name="T19" fmla="*/ 111125 h 144"/>
              <a:gd name="T20" fmla="*/ 27581 w 278"/>
              <a:gd name="T21" fmla="*/ 127000 h 144"/>
              <a:gd name="T22" fmla="*/ 54375 w 278"/>
              <a:gd name="T23" fmla="*/ 127000 h 144"/>
              <a:gd name="T24" fmla="*/ 69347 w 278"/>
              <a:gd name="T25" fmla="*/ 111125 h 144"/>
              <a:gd name="T26" fmla="*/ 96929 w 278"/>
              <a:gd name="T27" fmla="*/ 127000 h 144"/>
              <a:gd name="T28" fmla="*/ 110326 w 278"/>
              <a:gd name="T29" fmla="*/ 111125 h 144"/>
              <a:gd name="T30" fmla="*/ 151304 w 278"/>
              <a:gd name="T31" fmla="*/ 55562 h 144"/>
              <a:gd name="T32" fmla="*/ 192282 w 278"/>
              <a:gd name="T33" fmla="*/ 55562 h 144"/>
              <a:gd name="T34" fmla="*/ 205678 w 278"/>
              <a:gd name="T35" fmla="*/ 55562 h 144"/>
              <a:gd name="T36" fmla="*/ 192282 w 278"/>
              <a:gd name="T37" fmla="*/ 42333 h 144"/>
              <a:gd name="T38" fmla="*/ 219075 w 278"/>
              <a:gd name="T39" fmla="*/ 42333 h 144"/>
              <a:gd name="T40" fmla="*/ 178885 w 278"/>
              <a:gd name="T41" fmla="*/ 26458 h 144"/>
              <a:gd name="T42" fmla="*/ 178885 w 278"/>
              <a:gd name="T43" fmla="*/ 13229 h 144"/>
              <a:gd name="T44" fmla="*/ 164700 w 278"/>
              <a:gd name="T45" fmla="*/ 0 h 144"/>
              <a:gd name="T46" fmla="*/ 137907 w 278"/>
              <a:gd name="T47" fmla="*/ 26458 h 144"/>
              <a:gd name="T48" fmla="*/ 124510 w 278"/>
              <a:gd name="T49" fmla="*/ 42333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chemeClr val="bg1"/>
          </a:solidFill>
          <a:ln w="9525">
            <a:solidFill>
              <a:schemeClr val="bg2"/>
            </a:solidFill>
            <a:prstDash val="solid"/>
            <a:round/>
            <a:headEnd/>
            <a:tailEnd/>
          </a:ln>
        </p:spPr>
        <p:txBody>
          <a:bodyPr/>
          <a:lstStyle/>
          <a:p>
            <a:endParaRPr lang="en-US" dirty="0"/>
          </a:p>
        </p:txBody>
      </p:sp>
      <p:sp>
        <p:nvSpPr>
          <p:cNvPr id="18579" name="Freeform 146"/>
          <p:cNvSpPr>
            <a:spLocks noChangeAspect="1"/>
          </p:cNvSpPr>
          <p:nvPr>
            <p:custDataLst>
              <p:tags r:id="rId120"/>
            </p:custDataLst>
          </p:nvPr>
        </p:nvSpPr>
        <p:spPr bwMode="auto">
          <a:xfrm>
            <a:off x="6732588" y="3810000"/>
            <a:ext cx="41275" cy="12700"/>
          </a:xfrm>
          <a:custGeom>
            <a:avLst/>
            <a:gdLst>
              <a:gd name="T0" fmla="*/ 0 w 52"/>
              <a:gd name="T1" fmla="*/ 12700 h 15"/>
              <a:gd name="T2" fmla="*/ 0 w 52"/>
              <a:gd name="T3" fmla="*/ 12700 h 15"/>
              <a:gd name="T4" fmla="*/ 13494 w 52"/>
              <a:gd name="T5" fmla="*/ 12700 h 15"/>
              <a:gd name="T6" fmla="*/ 27781 w 52"/>
              <a:gd name="T7" fmla="*/ 12700 h 15"/>
              <a:gd name="T8" fmla="*/ 41275 w 52"/>
              <a:gd name="T9" fmla="*/ 0 h 15"/>
              <a:gd name="T10" fmla="*/ 27781 w 52"/>
              <a:gd name="T11" fmla="*/ 0 h 15"/>
              <a:gd name="T12" fmla="*/ 0 w 52"/>
              <a:gd name="T13" fmla="*/ 12700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80" name="Freeform 147"/>
          <p:cNvSpPr>
            <a:spLocks noChangeAspect="1"/>
          </p:cNvSpPr>
          <p:nvPr>
            <p:custDataLst>
              <p:tags r:id="rId121"/>
            </p:custDataLst>
          </p:nvPr>
        </p:nvSpPr>
        <p:spPr bwMode="auto">
          <a:xfrm>
            <a:off x="6621463" y="3822700"/>
            <a:ext cx="222250" cy="185738"/>
          </a:xfrm>
          <a:custGeom>
            <a:avLst/>
            <a:gdLst>
              <a:gd name="T0" fmla="*/ 13591 w 278"/>
              <a:gd name="T1" fmla="*/ 56529 h 207"/>
              <a:gd name="T2" fmla="*/ 13591 w 278"/>
              <a:gd name="T3" fmla="*/ 56529 h 207"/>
              <a:gd name="T4" fmla="*/ 41572 w 278"/>
              <a:gd name="T5" fmla="*/ 72680 h 207"/>
              <a:gd name="T6" fmla="*/ 68754 w 278"/>
              <a:gd name="T7" fmla="*/ 72680 h 207"/>
              <a:gd name="T8" fmla="*/ 83144 w 278"/>
              <a:gd name="T9" fmla="*/ 56529 h 207"/>
              <a:gd name="T10" fmla="*/ 110326 w 278"/>
              <a:gd name="T11" fmla="*/ 72680 h 207"/>
              <a:gd name="T12" fmla="*/ 123916 w 278"/>
              <a:gd name="T13" fmla="*/ 56529 h 207"/>
              <a:gd name="T14" fmla="*/ 165488 w 278"/>
              <a:gd name="T15" fmla="*/ 0 h 207"/>
              <a:gd name="T16" fmla="*/ 208659 w 278"/>
              <a:gd name="T17" fmla="*/ 0 h 207"/>
              <a:gd name="T18" fmla="*/ 195068 w 278"/>
              <a:gd name="T19" fmla="*/ 29610 h 207"/>
              <a:gd name="T20" fmla="*/ 208659 w 278"/>
              <a:gd name="T21" fmla="*/ 43070 h 207"/>
              <a:gd name="T22" fmla="*/ 195068 w 278"/>
              <a:gd name="T23" fmla="*/ 56529 h 207"/>
              <a:gd name="T24" fmla="*/ 222250 w 278"/>
              <a:gd name="T25" fmla="*/ 72680 h 207"/>
              <a:gd name="T26" fmla="*/ 208659 w 278"/>
              <a:gd name="T27" fmla="*/ 86139 h 207"/>
              <a:gd name="T28" fmla="*/ 179079 w 278"/>
              <a:gd name="T29" fmla="*/ 115750 h 207"/>
              <a:gd name="T30" fmla="*/ 165488 w 278"/>
              <a:gd name="T31" fmla="*/ 142668 h 207"/>
              <a:gd name="T32" fmla="*/ 179079 w 278"/>
              <a:gd name="T33" fmla="*/ 142668 h 207"/>
              <a:gd name="T34" fmla="*/ 165488 w 278"/>
              <a:gd name="T35" fmla="*/ 172279 h 207"/>
              <a:gd name="T36" fmla="*/ 138307 w 278"/>
              <a:gd name="T37" fmla="*/ 185738 h 207"/>
              <a:gd name="T38" fmla="*/ 123916 w 278"/>
              <a:gd name="T39" fmla="*/ 172279 h 207"/>
              <a:gd name="T40" fmla="*/ 96735 w 278"/>
              <a:gd name="T41" fmla="*/ 172279 h 207"/>
              <a:gd name="T42" fmla="*/ 68754 w 278"/>
              <a:gd name="T43" fmla="*/ 172279 h 207"/>
              <a:gd name="T44" fmla="*/ 68754 w 278"/>
              <a:gd name="T45" fmla="*/ 157922 h 207"/>
              <a:gd name="T46" fmla="*/ 41572 w 278"/>
              <a:gd name="T47" fmla="*/ 157922 h 207"/>
              <a:gd name="T48" fmla="*/ 27182 w 278"/>
              <a:gd name="T49" fmla="*/ 129209 h 207"/>
              <a:gd name="T50" fmla="*/ 13591 w 278"/>
              <a:gd name="T51" fmla="*/ 99599 h 207"/>
              <a:gd name="T52" fmla="*/ 0 w 278"/>
              <a:gd name="T53" fmla="*/ 72680 h 207"/>
              <a:gd name="T54" fmla="*/ 13591 w 278"/>
              <a:gd name="T55" fmla="*/ 56529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chemeClr val="bg1"/>
          </a:solidFill>
          <a:ln w="9525">
            <a:solidFill>
              <a:schemeClr val="bg2"/>
            </a:solidFill>
            <a:prstDash val="solid"/>
            <a:round/>
            <a:headEnd/>
            <a:tailEnd/>
          </a:ln>
        </p:spPr>
        <p:txBody>
          <a:bodyPr/>
          <a:lstStyle/>
          <a:p>
            <a:endParaRPr lang="en-US" dirty="0"/>
          </a:p>
        </p:txBody>
      </p:sp>
      <p:sp>
        <p:nvSpPr>
          <p:cNvPr id="18581" name="Freeform 148"/>
          <p:cNvSpPr>
            <a:spLocks noChangeAspect="1"/>
          </p:cNvSpPr>
          <p:nvPr>
            <p:custDataLst>
              <p:tags r:id="rId122"/>
            </p:custDataLst>
          </p:nvPr>
        </p:nvSpPr>
        <p:spPr bwMode="auto">
          <a:xfrm>
            <a:off x="6375400" y="3879850"/>
            <a:ext cx="15875" cy="28575"/>
          </a:xfrm>
          <a:custGeom>
            <a:avLst/>
            <a:gdLst>
              <a:gd name="T0" fmla="*/ 0 w 19"/>
              <a:gd name="T1" fmla="*/ 15586 h 33"/>
              <a:gd name="T2" fmla="*/ 0 w 19"/>
              <a:gd name="T3" fmla="*/ 15586 h 33"/>
              <a:gd name="T4" fmla="*/ 15875 w 19"/>
              <a:gd name="T5" fmla="*/ 28575 h 33"/>
              <a:gd name="T6" fmla="*/ 0 w 19"/>
              <a:gd name="T7" fmla="*/ 0 h 33"/>
              <a:gd name="T8" fmla="*/ 0 w 19"/>
              <a:gd name="T9" fmla="*/ 15586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chemeClr val="bg1"/>
          </a:solidFill>
          <a:ln w="9525">
            <a:solidFill>
              <a:schemeClr val="bg2"/>
            </a:solidFill>
            <a:prstDash val="solid"/>
            <a:round/>
            <a:headEnd/>
            <a:tailEnd/>
          </a:ln>
        </p:spPr>
        <p:txBody>
          <a:bodyPr/>
          <a:lstStyle/>
          <a:p>
            <a:endParaRPr lang="en-US" dirty="0"/>
          </a:p>
        </p:txBody>
      </p:sp>
      <p:sp>
        <p:nvSpPr>
          <p:cNvPr id="18582" name="Freeform 149"/>
          <p:cNvSpPr>
            <a:spLocks noChangeAspect="1"/>
          </p:cNvSpPr>
          <p:nvPr>
            <p:custDataLst>
              <p:tags r:id="rId123"/>
            </p:custDataLst>
          </p:nvPr>
        </p:nvSpPr>
        <p:spPr bwMode="auto">
          <a:xfrm>
            <a:off x="6405563" y="3937000"/>
            <a:ext cx="12700" cy="28575"/>
          </a:xfrm>
          <a:custGeom>
            <a:avLst/>
            <a:gdLst>
              <a:gd name="T0" fmla="*/ 0 w 16"/>
              <a:gd name="T1" fmla="*/ 0 h 30"/>
              <a:gd name="T2" fmla="*/ 0 w 16"/>
              <a:gd name="T3" fmla="*/ 0 h 30"/>
              <a:gd name="T4" fmla="*/ 12700 w 16"/>
              <a:gd name="T5" fmla="*/ 28575 h 30"/>
              <a:gd name="T6" fmla="*/ 12700 w 16"/>
              <a:gd name="T7" fmla="*/ 14288 h 30"/>
              <a:gd name="T8" fmla="*/ 12700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83" name="Freeform 150"/>
          <p:cNvSpPr>
            <a:spLocks noChangeAspect="1"/>
          </p:cNvSpPr>
          <p:nvPr>
            <p:custDataLst>
              <p:tags r:id="rId124"/>
            </p:custDataLst>
          </p:nvPr>
        </p:nvSpPr>
        <p:spPr bwMode="auto">
          <a:xfrm>
            <a:off x="5994400" y="3695700"/>
            <a:ext cx="57150" cy="87313"/>
          </a:xfrm>
          <a:custGeom>
            <a:avLst/>
            <a:gdLst>
              <a:gd name="T0" fmla="*/ 0 w 71"/>
              <a:gd name="T1" fmla="*/ 43657 h 96"/>
              <a:gd name="T2" fmla="*/ 0 w 71"/>
              <a:gd name="T3" fmla="*/ 43657 h 96"/>
              <a:gd name="T4" fmla="*/ 13684 w 71"/>
              <a:gd name="T5" fmla="*/ 87313 h 96"/>
              <a:gd name="T6" fmla="*/ 43466 w 71"/>
              <a:gd name="T7" fmla="*/ 87313 h 96"/>
              <a:gd name="T8" fmla="*/ 57150 w 71"/>
              <a:gd name="T9" fmla="*/ 57299 h 96"/>
              <a:gd name="T10" fmla="*/ 29782 w 71"/>
              <a:gd name="T11" fmla="*/ 13643 h 96"/>
              <a:gd name="T12" fmla="*/ 13684 w 71"/>
              <a:gd name="T13" fmla="*/ 0 h 96"/>
              <a:gd name="T14" fmla="*/ 0 w 71"/>
              <a:gd name="T15" fmla="*/ 43657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84" name="Freeform 151"/>
          <p:cNvSpPr>
            <a:spLocks noChangeAspect="1"/>
          </p:cNvSpPr>
          <p:nvPr>
            <p:custDataLst>
              <p:tags r:id="rId125"/>
            </p:custDataLst>
          </p:nvPr>
        </p:nvSpPr>
        <p:spPr bwMode="auto">
          <a:xfrm>
            <a:off x="6621463" y="3470275"/>
            <a:ext cx="57150" cy="42863"/>
          </a:xfrm>
          <a:custGeom>
            <a:avLst/>
            <a:gdLst>
              <a:gd name="T0" fmla="*/ 0 w 69"/>
              <a:gd name="T1" fmla="*/ 13395 h 48"/>
              <a:gd name="T2" fmla="*/ 0 w 69"/>
              <a:gd name="T3" fmla="*/ 13395 h 48"/>
              <a:gd name="T4" fmla="*/ 0 w 69"/>
              <a:gd name="T5" fmla="*/ 27682 h 48"/>
              <a:gd name="T6" fmla="*/ 28161 w 69"/>
              <a:gd name="T7" fmla="*/ 42863 h 48"/>
              <a:gd name="T8" fmla="*/ 43070 w 69"/>
              <a:gd name="T9" fmla="*/ 27682 h 48"/>
              <a:gd name="T10" fmla="*/ 57150 w 69"/>
              <a:gd name="T11" fmla="*/ 0 h 48"/>
              <a:gd name="T12" fmla="*/ 14080 w 69"/>
              <a:gd name="T13" fmla="*/ 0 h 48"/>
              <a:gd name="T14" fmla="*/ 0 w 69"/>
              <a:gd name="T15" fmla="*/ 1339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85" name="Freeform 152"/>
          <p:cNvSpPr>
            <a:spLocks noChangeAspect="1"/>
          </p:cNvSpPr>
          <p:nvPr>
            <p:custDataLst>
              <p:tags r:id="rId126"/>
            </p:custDataLst>
          </p:nvPr>
        </p:nvSpPr>
        <p:spPr bwMode="auto">
          <a:xfrm>
            <a:off x="6867525" y="3344863"/>
            <a:ext cx="42863" cy="69850"/>
          </a:xfrm>
          <a:custGeom>
            <a:avLst/>
            <a:gdLst>
              <a:gd name="T0" fmla="*/ 0 w 52"/>
              <a:gd name="T1" fmla="*/ 42441 h 79"/>
              <a:gd name="T2" fmla="*/ 0 w 52"/>
              <a:gd name="T3" fmla="*/ 42441 h 79"/>
              <a:gd name="T4" fmla="*/ 0 w 52"/>
              <a:gd name="T5" fmla="*/ 55703 h 79"/>
              <a:gd name="T6" fmla="*/ 14013 w 52"/>
              <a:gd name="T7" fmla="*/ 69850 h 79"/>
              <a:gd name="T8" fmla="*/ 42863 w 52"/>
              <a:gd name="T9" fmla="*/ 0 h 79"/>
              <a:gd name="T10" fmla="*/ 28026 w 52"/>
              <a:gd name="T11" fmla="*/ 0 h 79"/>
              <a:gd name="T12" fmla="*/ 0 w 52"/>
              <a:gd name="T13" fmla="*/ 42441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586" name="Freeform 153"/>
          <p:cNvSpPr>
            <a:spLocks noChangeAspect="1"/>
          </p:cNvSpPr>
          <p:nvPr>
            <p:custDataLst>
              <p:tags r:id="rId127"/>
            </p:custDataLst>
          </p:nvPr>
        </p:nvSpPr>
        <p:spPr bwMode="auto">
          <a:xfrm>
            <a:off x="6335713" y="3795713"/>
            <a:ext cx="233362" cy="254000"/>
          </a:xfrm>
          <a:custGeom>
            <a:avLst/>
            <a:gdLst>
              <a:gd name="T0" fmla="*/ 0 w 296"/>
              <a:gd name="T1" fmla="*/ 0 h 288"/>
              <a:gd name="T2" fmla="*/ 0 w 296"/>
              <a:gd name="T3" fmla="*/ 0 h 288"/>
              <a:gd name="T4" fmla="*/ 0 w 296"/>
              <a:gd name="T5" fmla="*/ 15875 h 288"/>
              <a:gd name="T6" fmla="*/ 27593 w 296"/>
              <a:gd name="T7" fmla="*/ 42333 h 288"/>
              <a:gd name="T8" fmla="*/ 55975 w 296"/>
              <a:gd name="T9" fmla="*/ 71437 h 288"/>
              <a:gd name="T10" fmla="*/ 69378 w 296"/>
              <a:gd name="T11" fmla="*/ 84667 h 288"/>
              <a:gd name="T12" fmla="*/ 83569 w 296"/>
              <a:gd name="T13" fmla="*/ 113771 h 288"/>
              <a:gd name="T14" fmla="*/ 110374 w 296"/>
              <a:gd name="T15" fmla="*/ 142875 h 288"/>
              <a:gd name="T16" fmla="*/ 137967 w 296"/>
              <a:gd name="T17" fmla="*/ 198437 h 288"/>
              <a:gd name="T18" fmla="*/ 192366 w 296"/>
              <a:gd name="T19" fmla="*/ 254000 h 288"/>
              <a:gd name="T20" fmla="*/ 219171 w 296"/>
              <a:gd name="T21" fmla="*/ 254000 h 288"/>
              <a:gd name="T22" fmla="*/ 233362 w 296"/>
              <a:gd name="T23" fmla="*/ 198437 h 288"/>
              <a:gd name="T24" fmla="*/ 219171 w 296"/>
              <a:gd name="T25" fmla="*/ 169333 h 288"/>
              <a:gd name="T26" fmla="*/ 205769 w 296"/>
              <a:gd name="T27" fmla="*/ 169333 h 288"/>
              <a:gd name="T28" fmla="*/ 192366 w 296"/>
              <a:gd name="T29" fmla="*/ 142875 h 288"/>
              <a:gd name="T30" fmla="*/ 178963 w 296"/>
              <a:gd name="T31" fmla="*/ 142875 h 288"/>
              <a:gd name="T32" fmla="*/ 178963 w 296"/>
              <a:gd name="T33" fmla="*/ 127000 h 288"/>
              <a:gd name="T34" fmla="*/ 164772 w 296"/>
              <a:gd name="T35" fmla="*/ 113771 h 288"/>
              <a:gd name="T36" fmla="*/ 164772 w 296"/>
              <a:gd name="T37" fmla="*/ 100542 h 288"/>
              <a:gd name="T38" fmla="*/ 124565 w 296"/>
              <a:gd name="T39" fmla="*/ 71437 h 288"/>
              <a:gd name="T40" fmla="*/ 110374 w 296"/>
              <a:gd name="T41" fmla="*/ 71437 h 288"/>
              <a:gd name="T42" fmla="*/ 42573 w 296"/>
              <a:gd name="T43" fmla="*/ 15875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87" name="Freeform 154"/>
          <p:cNvSpPr>
            <a:spLocks noChangeAspect="1"/>
          </p:cNvSpPr>
          <p:nvPr>
            <p:custDataLst>
              <p:tags r:id="rId128"/>
            </p:custDataLst>
          </p:nvPr>
        </p:nvSpPr>
        <p:spPr bwMode="auto">
          <a:xfrm>
            <a:off x="6553200" y="4049713"/>
            <a:ext cx="193675" cy="57150"/>
          </a:xfrm>
          <a:custGeom>
            <a:avLst/>
            <a:gdLst>
              <a:gd name="T0" fmla="*/ 0 w 242"/>
              <a:gd name="T1" fmla="*/ 14947 h 65"/>
              <a:gd name="T2" fmla="*/ 0 w 242"/>
              <a:gd name="T3" fmla="*/ 14947 h 65"/>
              <a:gd name="T4" fmla="*/ 56022 w 242"/>
              <a:gd name="T5" fmla="*/ 42203 h 65"/>
              <a:gd name="T6" fmla="*/ 193675 w 242"/>
              <a:gd name="T7" fmla="*/ 57150 h 65"/>
              <a:gd name="T8" fmla="*/ 193675 w 242"/>
              <a:gd name="T9" fmla="*/ 42203 h 65"/>
              <a:gd name="T10" fmla="*/ 166464 w 242"/>
              <a:gd name="T11" fmla="*/ 42203 h 65"/>
              <a:gd name="T12" fmla="*/ 152859 w 242"/>
              <a:gd name="T13" fmla="*/ 29015 h 65"/>
              <a:gd name="T14" fmla="*/ 111243 w 242"/>
              <a:gd name="T15" fmla="*/ 14947 h 65"/>
              <a:gd name="T16" fmla="*/ 111243 w 242"/>
              <a:gd name="T17" fmla="*/ 29015 h 65"/>
              <a:gd name="T18" fmla="*/ 83232 w 242"/>
              <a:gd name="T19" fmla="*/ 14947 h 65"/>
              <a:gd name="T20" fmla="*/ 41616 w 242"/>
              <a:gd name="T21" fmla="*/ 0 h 65"/>
              <a:gd name="T22" fmla="*/ 14406 w 242"/>
              <a:gd name="T23" fmla="*/ 0 h 65"/>
              <a:gd name="T24" fmla="*/ 0 w 242"/>
              <a:gd name="T25" fmla="*/ 149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chemeClr val="bg1"/>
          </a:solidFill>
          <a:ln w="9525">
            <a:solidFill>
              <a:schemeClr val="bg2"/>
            </a:solidFill>
            <a:round/>
            <a:headEnd/>
            <a:tailEnd/>
          </a:ln>
        </p:spPr>
        <p:txBody>
          <a:bodyPr/>
          <a:lstStyle/>
          <a:p>
            <a:endParaRPr lang="en-US" dirty="0"/>
          </a:p>
        </p:txBody>
      </p:sp>
      <p:sp>
        <p:nvSpPr>
          <p:cNvPr id="18588" name="Freeform 155"/>
          <p:cNvSpPr>
            <a:spLocks noChangeAspect="1"/>
          </p:cNvSpPr>
          <p:nvPr>
            <p:custDataLst>
              <p:tags r:id="rId129"/>
            </p:custDataLst>
          </p:nvPr>
        </p:nvSpPr>
        <p:spPr bwMode="auto">
          <a:xfrm>
            <a:off x="6746875" y="4106863"/>
            <a:ext cx="26988" cy="1587"/>
          </a:xfrm>
          <a:custGeom>
            <a:avLst/>
            <a:gdLst>
              <a:gd name="T0" fmla="*/ 0 w 37"/>
              <a:gd name="T1" fmla="*/ 0 h 1587"/>
              <a:gd name="T2" fmla="*/ 0 w 37"/>
              <a:gd name="T3" fmla="*/ 0 h 1587"/>
              <a:gd name="T4" fmla="*/ 13129 w 37"/>
              <a:gd name="T5" fmla="*/ 0 h 1587"/>
              <a:gd name="T6" fmla="*/ 26988 w 37"/>
              <a:gd name="T7" fmla="*/ 0 h 1587"/>
              <a:gd name="T8" fmla="*/ 0 w 37"/>
              <a:gd name="T9" fmla="*/ 0 h 1587"/>
              <a:gd name="T10" fmla="*/ 0 60000 65536"/>
              <a:gd name="T11" fmla="*/ 0 60000 65536"/>
              <a:gd name="T12" fmla="*/ 0 60000 65536"/>
              <a:gd name="T13" fmla="*/ 0 60000 65536"/>
              <a:gd name="T14" fmla="*/ 0 60000 65536"/>
              <a:gd name="T15" fmla="*/ 0 w 37"/>
              <a:gd name="T16" fmla="*/ 0 h 1587"/>
              <a:gd name="T17" fmla="*/ 37 w 37"/>
              <a:gd name="T18" fmla="*/ 1587 h 1587"/>
            </a:gdLst>
            <a:ahLst/>
            <a:cxnLst>
              <a:cxn ang="T10">
                <a:pos x="T0" y="T1"/>
              </a:cxn>
              <a:cxn ang="T11">
                <a:pos x="T2" y="T3"/>
              </a:cxn>
              <a:cxn ang="T12">
                <a:pos x="T4" y="T5"/>
              </a:cxn>
              <a:cxn ang="T13">
                <a:pos x="T6" y="T7"/>
              </a:cxn>
              <a:cxn ang="T14">
                <a:pos x="T8" y="T9"/>
              </a:cxn>
            </a:cxnLst>
            <a:rect l="T15" t="T16" r="T17" b="T18"/>
            <a:pathLst>
              <a:path w="37" h="1587">
                <a:moveTo>
                  <a:pt x="0" y="0"/>
                </a:moveTo>
                <a:lnTo>
                  <a:pt x="0" y="0"/>
                </a:lnTo>
                <a:lnTo>
                  <a:pt x="18" y="0"/>
                </a:lnTo>
                <a:lnTo>
                  <a:pt x="3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89" name="Freeform 156"/>
          <p:cNvSpPr>
            <a:spLocks noChangeAspect="1"/>
          </p:cNvSpPr>
          <p:nvPr>
            <p:custDataLst>
              <p:tags r:id="rId130"/>
            </p:custDataLst>
          </p:nvPr>
        </p:nvSpPr>
        <p:spPr bwMode="auto">
          <a:xfrm>
            <a:off x="6553200" y="3951288"/>
            <a:ext cx="30163" cy="41275"/>
          </a:xfrm>
          <a:custGeom>
            <a:avLst/>
            <a:gdLst>
              <a:gd name="T0" fmla="*/ 0 w 35"/>
              <a:gd name="T1" fmla="*/ 12898 h 48"/>
              <a:gd name="T2" fmla="*/ 0 w 35"/>
              <a:gd name="T3" fmla="*/ 12898 h 48"/>
              <a:gd name="T4" fmla="*/ 15512 w 35"/>
              <a:gd name="T5" fmla="*/ 27517 h 48"/>
              <a:gd name="T6" fmla="*/ 30163 w 35"/>
              <a:gd name="T7" fmla="*/ 41275 h 48"/>
              <a:gd name="T8" fmla="*/ 30163 w 35"/>
              <a:gd name="T9" fmla="*/ 27517 h 48"/>
              <a:gd name="T10" fmla="*/ 15512 w 35"/>
              <a:gd name="T11" fmla="*/ 0 h 48"/>
              <a:gd name="T12" fmla="*/ 0 w 35"/>
              <a:gd name="T13" fmla="*/ 12898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590" name="Freeform 157"/>
          <p:cNvSpPr>
            <a:spLocks noChangeAspect="1"/>
          </p:cNvSpPr>
          <p:nvPr>
            <p:custDataLst>
              <p:tags r:id="rId131"/>
            </p:custDataLst>
          </p:nvPr>
        </p:nvSpPr>
        <p:spPr bwMode="auto">
          <a:xfrm>
            <a:off x="6594475" y="3978275"/>
            <a:ext cx="15875" cy="14288"/>
          </a:xfrm>
          <a:custGeom>
            <a:avLst/>
            <a:gdLst>
              <a:gd name="T0" fmla="*/ 0 w 18"/>
              <a:gd name="T1" fmla="*/ 14288 h 16"/>
              <a:gd name="T2" fmla="*/ 0 w 18"/>
              <a:gd name="T3" fmla="*/ 14288 h 16"/>
              <a:gd name="T4" fmla="*/ 15875 w 18"/>
              <a:gd name="T5" fmla="*/ 14288 h 16"/>
              <a:gd name="T6" fmla="*/ 15875 w 18"/>
              <a:gd name="T7" fmla="*/ 0 h 16"/>
              <a:gd name="T8" fmla="*/ 0 w 18"/>
              <a:gd name="T9" fmla="*/ 0 h 16"/>
              <a:gd name="T10" fmla="*/ 0 w 18"/>
              <a:gd name="T11" fmla="*/ 14288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8591" name="Freeform 158"/>
          <p:cNvSpPr>
            <a:spLocks noChangeAspect="1"/>
          </p:cNvSpPr>
          <p:nvPr>
            <p:custDataLst>
              <p:tags r:id="rId132"/>
            </p:custDataLst>
          </p:nvPr>
        </p:nvSpPr>
        <p:spPr bwMode="auto">
          <a:xfrm>
            <a:off x="6867525" y="3498850"/>
            <a:ext cx="80963" cy="127000"/>
          </a:xfrm>
          <a:custGeom>
            <a:avLst/>
            <a:gdLst>
              <a:gd name="T0" fmla="*/ 0 w 104"/>
              <a:gd name="T1" fmla="*/ 57727 h 143"/>
              <a:gd name="T2" fmla="*/ 0 w 104"/>
              <a:gd name="T3" fmla="*/ 57727 h 143"/>
              <a:gd name="T4" fmla="*/ 0 w 104"/>
              <a:gd name="T5" fmla="*/ 84371 h 143"/>
              <a:gd name="T6" fmla="*/ 13234 w 104"/>
              <a:gd name="T7" fmla="*/ 100357 h 143"/>
              <a:gd name="T8" fmla="*/ 13234 w 104"/>
              <a:gd name="T9" fmla="*/ 113678 h 143"/>
              <a:gd name="T10" fmla="*/ 26469 w 104"/>
              <a:gd name="T11" fmla="*/ 113678 h 143"/>
              <a:gd name="T12" fmla="*/ 40482 w 104"/>
              <a:gd name="T13" fmla="*/ 113678 h 143"/>
              <a:gd name="T14" fmla="*/ 53716 w 104"/>
              <a:gd name="T15" fmla="*/ 127000 h 143"/>
              <a:gd name="T16" fmla="*/ 53716 w 104"/>
              <a:gd name="T17" fmla="*/ 113678 h 143"/>
              <a:gd name="T18" fmla="*/ 66950 w 104"/>
              <a:gd name="T19" fmla="*/ 127000 h 143"/>
              <a:gd name="T20" fmla="*/ 80963 w 104"/>
              <a:gd name="T21" fmla="*/ 127000 h 143"/>
              <a:gd name="T22" fmla="*/ 66950 w 104"/>
              <a:gd name="T23" fmla="*/ 113678 h 143"/>
              <a:gd name="T24" fmla="*/ 80963 w 104"/>
              <a:gd name="T25" fmla="*/ 113678 h 143"/>
              <a:gd name="T26" fmla="*/ 53716 w 104"/>
              <a:gd name="T27" fmla="*/ 100357 h 143"/>
              <a:gd name="T28" fmla="*/ 40482 w 104"/>
              <a:gd name="T29" fmla="*/ 113678 h 143"/>
              <a:gd name="T30" fmla="*/ 26469 w 104"/>
              <a:gd name="T31" fmla="*/ 84371 h 143"/>
              <a:gd name="T32" fmla="*/ 53716 w 104"/>
              <a:gd name="T33" fmla="*/ 42629 h 143"/>
              <a:gd name="T34" fmla="*/ 40482 w 104"/>
              <a:gd name="T35" fmla="*/ 28420 h 143"/>
              <a:gd name="T36" fmla="*/ 53716 w 104"/>
              <a:gd name="T37" fmla="*/ 0 h 143"/>
              <a:gd name="T38" fmla="*/ 40482 w 104"/>
              <a:gd name="T39" fmla="*/ 15098 h 143"/>
              <a:gd name="T40" fmla="*/ 13234 w 104"/>
              <a:gd name="T41" fmla="*/ 0 h 143"/>
              <a:gd name="T42" fmla="*/ 0 w 104"/>
              <a:gd name="T43" fmla="*/ 5772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chemeClr val="bg1"/>
          </a:solidFill>
          <a:ln w="9525">
            <a:solidFill>
              <a:schemeClr val="bg2"/>
            </a:solidFill>
            <a:prstDash val="solid"/>
            <a:round/>
            <a:headEnd/>
            <a:tailEnd/>
          </a:ln>
        </p:spPr>
        <p:txBody>
          <a:bodyPr/>
          <a:lstStyle/>
          <a:p>
            <a:endParaRPr lang="en-US" dirty="0"/>
          </a:p>
        </p:txBody>
      </p:sp>
      <p:sp>
        <p:nvSpPr>
          <p:cNvPr id="18592" name="Freeform 159"/>
          <p:cNvSpPr>
            <a:spLocks noChangeAspect="1"/>
          </p:cNvSpPr>
          <p:nvPr>
            <p:custDataLst>
              <p:tags r:id="rId133"/>
            </p:custDataLst>
          </p:nvPr>
        </p:nvSpPr>
        <p:spPr bwMode="auto">
          <a:xfrm>
            <a:off x="6800850" y="3668713"/>
            <a:ext cx="53975" cy="69850"/>
          </a:xfrm>
          <a:custGeom>
            <a:avLst/>
            <a:gdLst>
              <a:gd name="T0" fmla="*/ 0 w 69"/>
              <a:gd name="T1" fmla="*/ 69850 h 81"/>
              <a:gd name="T2" fmla="*/ 0 w 69"/>
              <a:gd name="T3" fmla="*/ 69850 h 81"/>
              <a:gd name="T4" fmla="*/ 53975 w 69"/>
              <a:gd name="T5" fmla="*/ 15522 h 81"/>
              <a:gd name="T6" fmla="*/ 53975 w 69"/>
              <a:gd name="T7" fmla="*/ 0 h 81"/>
              <a:gd name="T8" fmla="*/ 0 w 69"/>
              <a:gd name="T9" fmla="*/ 69850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chemeClr val="bg1"/>
          </a:solidFill>
          <a:ln w="9525">
            <a:solidFill>
              <a:schemeClr val="bg2"/>
            </a:solidFill>
            <a:prstDash val="solid"/>
            <a:round/>
            <a:headEnd/>
            <a:tailEnd/>
          </a:ln>
        </p:spPr>
        <p:txBody>
          <a:bodyPr/>
          <a:lstStyle/>
          <a:p>
            <a:endParaRPr lang="en-US" dirty="0"/>
          </a:p>
        </p:txBody>
      </p:sp>
      <p:sp>
        <p:nvSpPr>
          <p:cNvPr id="18593" name="Freeform 160"/>
          <p:cNvSpPr>
            <a:spLocks noChangeAspect="1"/>
          </p:cNvSpPr>
          <p:nvPr>
            <p:custDataLst>
              <p:tags r:id="rId134"/>
            </p:custDataLst>
          </p:nvPr>
        </p:nvSpPr>
        <p:spPr bwMode="auto">
          <a:xfrm>
            <a:off x="6867525" y="3625850"/>
            <a:ext cx="30163" cy="28575"/>
          </a:xfrm>
          <a:custGeom>
            <a:avLst/>
            <a:gdLst>
              <a:gd name="T0" fmla="*/ 0 w 36"/>
              <a:gd name="T1" fmla="*/ 0 h 33"/>
              <a:gd name="T2" fmla="*/ 0 w 36"/>
              <a:gd name="T3" fmla="*/ 0 h 33"/>
              <a:gd name="T4" fmla="*/ 30163 w 36"/>
              <a:gd name="T5" fmla="*/ 28575 h 33"/>
              <a:gd name="T6" fmla="*/ 30163 w 36"/>
              <a:gd name="T7" fmla="*/ 15586 h 33"/>
              <a:gd name="T8" fmla="*/ 30163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594" name="Freeform 161"/>
          <p:cNvSpPr>
            <a:spLocks noChangeAspect="1"/>
          </p:cNvSpPr>
          <p:nvPr>
            <p:custDataLst>
              <p:tags r:id="rId135"/>
            </p:custDataLst>
          </p:nvPr>
        </p:nvSpPr>
        <p:spPr bwMode="auto">
          <a:xfrm>
            <a:off x="6910388" y="3654425"/>
            <a:ext cx="52387" cy="71438"/>
          </a:xfrm>
          <a:custGeom>
            <a:avLst/>
            <a:gdLst>
              <a:gd name="T0" fmla="*/ 0 w 71"/>
              <a:gd name="T1" fmla="*/ 29104 h 81"/>
              <a:gd name="T2" fmla="*/ 0 w 71"/>
              <a:gd name="T3" fmla="*/ 29104 h 81"/>
              <a:gd name="T4" fmla="*/ 14019 w 71"/>
              <a:gd name="T5" fmla="*/ 29104 h 81"/>
              <a:gd name="T6" fmla="*/ 14019 w 71"/>
              <a:gd name="T7" fmla="*/ 42334 h 81"/>
              <a:gd name="T8" fmla="*/ 26562 w 71"/>
              <a:gd name="T9" fmla="*/ 71438 h 81"/>
              <a:gd name="T10" fmla="*/ 26562 w 71"/>
              <a:gd name="T11" fmla="*/ 55563 h 81"/>
              <a:gd name="T12" fmla="*/ 26562 w 71"/>
              <a:gd name="T13" fmla="*/ 42334 h 81"/>
              <a:gd name="T14" fmla="*/ 52387 w 71"/>
              <a:gd name="T15" fmla="*/ 55563 h 81"/>
              <a:gd name="T16" fmla="*/ 52387 w 71"/>
              <a:gd name="T17" fmla="*/ 42334 h 81"/>
              <a:gd name="T18" fmla="*/ 39106 w 71"/>
              <a:gd name="T19" fmla="*/ 42334 h 81"/>
              <a:gd name="T20" fmla="*/ 39106 w 71"/>
              <a:gd name="T21" fmla="*/ 13229 h 81"/>
              <a:gd name="T22" fmla="*/ 26562 w 71"/>
              <a:gd name="T23" fmla="*/ 29104 h 81"/>
              <a:gd name="T24" fmla="*/ 26562 w 71"/>
              <a:gd name="T25" fmla="*/ 13229 h 81"/>
              <a:gd name="T26" fmla="*/ 14019 w 71"/>
              <a:gd name="T27" fmla="*/ 0 h 81"/>
              <a:gd name="T28" fmla="*/ 0 w 71"/>
              <a:gd name="T29" fmla="*/ 0 h 81"/>
              <a:gd name="T30" fmla="*/ 0 w 71"/>
              <a:gd name="T31" fmla="*/ 29104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chemeClr val="bg1"/>
          </a:solidFill>
          <a:ln w="9525">
            <a:solidFill>
              <a:schemeClr val="bg2"/>
            </a:solidFill>
            <a:prstDash val="solid"/>
            <a:round/>
            <a:headEnd/>
            <a:tailEnd/>
          </a:ln>
        </p:spPr>
        <p:txBody>
          <a:bodyPr/>
          <a:lstStyle/>
          <a:p>
            <a:endParaRPr lang="en-US" dirty="0"/>
          </a:p>
        </p:txBody>
      </p:sp>
      <p:sp>
        <p:nvSpPr>
          <p:cNvPr id="18595" name="Freeform 162"/>
          <p:cNvSpPr>
            <a:spLocks noChangeAspect="1"/>
          </p:cNvSpPr>
          <p:nvPr>
            <p:custDataLst>
              <p:tags r:id="rId136"/>
            </p:custDataLst>
          </p:nvPr>
        </p:nvSpPr>
        <p:spPr bwMode="auto">
          <a:xfrm>
            <a:off x="6910388" y="3695700"/>
            <a:ext cx="95250" cy="100013"/>
          </a:xfrm>
          <a:custGeom>
            <a:avLst/>
            <a:gdLst>
              <a:gd name="T0" fmla="*/ 0 w 123"/>
              <a:gd name="T1" fmla="*/ 72982 h 111"/>
              <a:gd name="T2" fmla="*/ 0 w 123"/>
              <a:gd name="T3" fmla="*/ 72982 h 111"/>
              <a:gd name="T4" fmla="*/ 14713 w 123"/>
              <a:gd name="T5" fmla="*/ 56764 h 111"/>
              <a:gd name="T6" fmla="*/ 27878 w 123"/>
              <a:gd name="T7" fmla="*/ 56764 h 111"/>
              <a:gd name="T8" fmla="*/ 41043 w 123"/>
              <a:gd name="T9" fmla="*/ 56764 h 111"/>
              <a:gd name="T10" fmla="*/ 54982 w 123"/>
              <a:gd name="T11" fmla="*/ 56764 h 111"/>
              <a:gd name="T12" fmla="*/ 41043 w 123"/>
              <a:gd name="T13" fmla="*/ 86498 h 111"/>
              <a:gd name="T14" fmla="*/ 68146 w 123"/>
              <a:gd name="T15" fmla="*/ 100013 h 111"/>
              <a:gd name="T16" fmla="*/ 81311 w 123"/>
              <a:gd name="T17" fmla="*/ 86498 h 111"/>
              <a:gd name="T18" fmla="*/ 68146 w 123"/>
              <a:gd name="T19" fmla="*/ 72982 h 111"/>
              <a:gd name="T20" fmla="*/ 81311 w 123"/>
              <a:gd name="T21" fmla="*/ 56764 h 111"/>
              <a:gd name="T22" fmla="*/ 95250 w 123"/>
              <a:gd name="T23" fmla="*/ 86498 h 111"/>
              <a:gd name="T24" fmla="*/ 95250 w 123"/>
              <a:gd name="T25" fmla="*/ 56764 h 111"/>
              <a:gd name="T26" fmla="*/ 95250 w 123"/>
              <a:gd name="T27" fmla="*/ 29734 h 111"/>
              <a:gd name="T28" fmla="*/ 68146 w 123"/>
              <a:gd name="T29" fmla="*/ 0 h 111"/>
              <a:gd name="T30" fmla="*/ 68146 w 123"/>
              <a:gd name="T31" fmla="*/ 29734 h 111"/>
              <a:gd name="T32" fmla="*/ 54982 w 123"/>
              <a:gd name="T33" fmla="*/ 29734 h 111"/>
              <a:gd name="T34" fmla="*/ 41043 w 123"/>
              <a:gd name="T35" fmla="*/ 43249 h 111"/>
              <a:gd name="T36" fmla="*/ 27878 w 123"/>
              <a:gd name="T37" fmla="*/ 29734 h 111"/>
              <a:gd name="T38" fmla="*/ 0 w 123"/>
              <a:gd name="T39" fmla="*/ 56764 h 111"/>
              <a:gd name="T40" fmla="*/ 0 w 123"/>
              <a:gd name="T41" fmla="*/ 72982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chemeClr val="bg1"/>
          </a:solidFill>
          <a:ln w="9525">
            <a:solidFill>
              <a:schemeClr val="bg2"/>
            </a:solidFill>
            <a:prstDash val="solid"/>
            <a:round/>
            <a:headEnd/>
            <a:tailEnd/>
          </a:ln>
        </p:spPr>
        <p:txBody>
          <a:bodyPr/>
          <a:lstStyle/>
          <a:p>
            <a:endParaRPr lang="en-US" dirty="0"/>
          </a:p>
        </p:txBody>
      </p:sp>
      <p:sp>
        <p:nvSpPr>
          <p:cNvPr id="18596" name="Line 163"/>
          <p:cNvSpPr>
            <a:spLocks noChangeAspect="1" noChangeShapeType="1"/>
          </p:cNvSpPr>
          <p:nvPr>
            <p:custDataLst>
              <p:tags r:id="rId137"/>
            </p:custDataLst>
          </p:nvPr>
        </p:nvSpPr>
        <p:spPr bwMode="auto">
          <a:xfrm>
            <a:off x="6288088" y="3646488"/>
            <a:ext cx="1587" cy="14287"/>
          </a:xfrm>
          <a:prstGeom prst="line">
            <a:avLst/>
          </a:prstGeom>
          <a:noFill/>
          <a:ln w="9525">
            <a:solidFill>
              <a:schemeClr val="bg2"/>
            </a:solidFill>
            <a:round/>
            <a:headEnd/>
            <a:tailEnd/>
          </a:ln>
        </p:spPr>
        <p:txBody>
          <a:bodyPr/>
          <a:lstStyle/>
          <a:p>
            <a:endParaRPr lang="en-US" dirty="0"/>
          </a:p>
        </p:txBody>
      </p:sp>
      <p:sp>
        <p:nvSpPr>
          <p:cNvPr id="18597" name="Line 164"/>
          <p:cNvSpPr>
            <a:spLocks noChangeAspect="1" noChangeShapeType="1"/>
          </p:cNvSpPr>
          <p:nvPr>
            <p:custDataLst>
              <p:tags r:id="rId138"/>
            </p:custDataLst>
          </p:nvPr>
        </p:nvSpPr>
        <p:spPr bwMode="auto">
          <a:xfrm flipV="1">
            <a:off x="7040563" y="3308350"/>
            <a:ext cx="11112" cy="41275"/>
          </a:xfrm>
          <a:prstGeom prst="line">
            <a:avLst/>
          </a:prstGeom>
          <a:noFill/>
          <a:ln w="9525">
            <a:solidFill>
              <a:schemeClr val="bg2"/>
            </a:solidFill>
            <a:round/>
            <a:headEnd/>
            <a:tailEnd/>
          </a:ln>
        </p:spPr>
        <p:txBody>
          <a:bodyPr/>
          <a:lstStyle/>
          <a:p>
            <a:endParaRPr lang="en-US" dirty="0"/>
          </a:p>
        </p:txBody>
      </p:sp>
      <p:sp>
        <p:nvSpPr>
          <p:cNvPr id="18598" name="Line 165"/>
          <p:cNvSpPr>
            <a:spLocks noChangeAspect="1" noChangeShapeType="1"/>
          </p:cNvSpPr>
          <p:nvPr>
            <p:custDataLst>
              <p:tags r:id="rId139"/>
            </p:custDataLst>
          </p:nvPr>
        </p:nvSpPr>
        <p:spPr bwMode="auto">
          <a:xfrm flipV="1">
            <a:off x="7073900" y="3273425"/>
            <a:ext cx="1588" cy="26988"/>
          </a:xfrm>
          <a:prstGeom prst="line">
            <a:avLst/>
          </a:prstGeom>
          <a:noFill/>
          <a:ln w="9525">
            <a:solidFill>
              <a:schemeClr val="bg2"/>
            </a:solidFill>
            <a:round/>
            <a:headEnd/>
            <a:tailEnd/>
          </a:ln>
        </p:spPr>
        <p:txBody>
          <a:bodyPr/>
          <a:lstStyle/>
          <a:p>
            <a:endParaRPr lang="en-US" dirty="0"/>
          </a:p>
        </p:txBody>
      </p:sp>
      <p:sp>
        <p:nvSpPr>
          <p:cNvPr id="18599" name="Freeform 166"/>
          <p:cNvSpPr>
            <a:spLocks noChangeAspect="1"/>
          </p:cNvSpPr>
          <p:nvPr>
            <p:custDataLst>
              <p:tags r:id="rId140"/>
            </p:custDataLst>
          </p:nvPr>
        </p:nvSpPr>
        <p:spPr bwMode="auto">
          <a:xfrm>
            <a:off x="6962775" y="3640138"/>
            <a:ext cx="30163" cy="55562"/>
          </a:xfrm>
          <a:custGeom>
            <a:avLst/>
            <a:gdLst>
              <a:gd name="T0" fmla="*/ 0 w 34"/>
              <a:gd name="T1" fmla="*/ 0 h 63"/>
              <a:gd name="T2" fmla="*/ 0 w 34"/>
              <a:gd name="T3" fmla="*/ 0 h 63"/>
              <a:gd name="T4" fmla="*/ 15082 w 34"/>
              <a:gd name="T5" fmla="*/ 13229 h 63"/>
              <a:gd name="T6" fmla="*/ 0 w 34"/>
              <a:gd name="T7" fmla="*/ 26458 h 63"/>
              <a:gd name="T8" fmla="*/ 0 w 34"/>
              <a:gd name="T9" fmla="*/ 42333 h 63"/>
              <a:gd name="T10" fmla="*/ 0 w 34"/>
              <a:gd name="T11" fmla="*/ 55562 h 63"/>
              <a:gd name="T12" fmla="*/ 15082 w 34"/>
              <a:gd name="T13" fmla="*/ 55562 h 63"/>
              <a:gd name="T14" fmla="*/ 15082 w 34"/>
              <a:gd name="T15" fmla="*/ 26458 h 63"/>
              <a:gd name="T16" fmla="*/ 30163 w 34"/>
              <a:gd name="T17" fmla="*/ 26458 h 63"/>
              <a:gd name="T18" fmla="*/ 15082 w 34"/>
              <a:gd name="T19" fmla="*/ 13229 h 63"/>
              <a:gd name="T20" fmla="*/ 1508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600" name="Freeform 167"/>
          <p:cNvSpPr>
            <a:spLocks noChangeAspect="1"/>
          </p:cNvSpPr>
          <p:nvPr>
            <p:custDataLst>
              <p:tags r:id="rId141"/>
            </p:custDataLst>
          </p:nvPr>
        </p:nvSpPr>
        <p:spPr bwMode="auto">
          <a:xfrm>
            <a:off x="6488113" y="3597275"/>
            <a:ext cx="104775" cy="82550"/>
          </a:xfrm>
          <a:custGeom>
            <a:avLst/>
            <a:gdLst>
              <a:gd name="T0" fmla="*/ 39238 w 251"/>
              <a:gd name="T1" fmla="*/ 82550 h 175"/>
              <a:gd name="T2" fmla="*/ 39238 w 251"/>
              <a:gd name="T3" fmla="*/ 82550 h 175"/>
              <a:gd name="T4" fmla="*/ 65537 w 251"/>
              <a:gd name="T5" fmla="*/ 68870 h 175"/>
              <a:gd name="T6" fmla="*/ 78477 w 251"/>
              <a:gd name="T7" fmla="*/ 55191 h 175"/>
              <a:gd name="T8" fmla="*/ 104775 w 251"/>
              <a:gd name="T9" fmla="*/ 41983 h 175"/>
              <a:gd name="T10" fmla="*/ 104775 w 251"/>
              <a:gd name="T11" fmla="*/ 0 h 175"/>
              <a:gd name="T12" fmla="*/ 78477 w 251"/>
              <a:gd name="T13" fmla="*/ 0 h 175"/>
              <a:gd name="T14" fmla="*/ 78477 w 251"/>
              <a:gd name="T15" fmla="*/ 14623 h 175"/>
              <a:gd name="T16" fmla="*/ 65537 w 251"/>
              <a:gd name="T17" fmla="*/ 0 h 175"/>
              <a:gd name="T18" fmla="*/ 12523 w 251"/>
              <a:gd name="T19" fmla="*/ 0 h 175"/>
              <a:gd name="T20" fmla="*/ 0 w 251"/>
              <a:gd name="T21" fmla="*/ 28303 h 175"/>
              <a:gd name="T22" fmla="*/ 12523 w 251"/>
              <a:gd name="T23" fmla="*/ 55191 h 175"/>
              <a:gd name="T24" fmla="*/ 12523 w 251"/>
              <a:gd name="T25" fmla="*/ 68870 h 175"/>
              <a:gd name="T26" fmla="*/ 12523 w 251"/>
              <a:gd name="T27" fmla="*/ 82550 h 175"/>
              <a:gd name="T28" fmla="*/ 39238 w 251"/>
              <a:gd name="T29" fmla="*/ 82550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chemeClr val="bg1"/>
          </a:solidFill>
          <a:ln w="9525">
            <a:solidFill>
              <a:schemeClr val="bg2"/>
            </a:solidFill>
            <a:round/>
            <a:headEnd/>
            <a:tailEnd/>
          </a:ln>
        </p:spPr>
        <p:txBody>
          <a:bodyPr/>
          <a:lstStyle/>
          <a:p>
            <a:endParaRPr lang="en-US" dirty="0"/>
          </a:p>
        </p:txBody>
      </p:sp>
      <p:sp>
        <p:nvSpPr>
          <p:cNvPr id="18601" name="Freeform 168"/>
          <p:cNvSpPr>
            <a:spLocks noChangeAspect="1"/>
          </p:cNvSpPr>
          <p:nvPr>
            <p:custDataLst>
              <p:tags r:id="rId142"/>
            </p:custDataLst>
          </p:nvPr>
        </p:nvSpPr>
        <p:spPr bwMode="auto">
          <a:xfrm>
            <a:off x="6172200" y="3314700"/>
            <a:ext cx="109538" cy="127000"/>
          </a:xfrm>
          <a:custGeom>
            <a:avLst/>
            <a:gdLst>
              <a:gd name="T0" fmla="*/ 109538 w 140"/>
              <a:gd name="T1" fmla="*/ 113771 h 144"/>
              <a:gd name="T2" fmla="*/ 109538 w 140"/>
              <a:gd name="T3" fmla="*/ 113771 h 144"/>
              <a:gd name="T4" fmla="*/ 96237 w 140"/>
              <a:gd name="T5" fmla="*/ 71437 h 144"/>
              <a:gd name="T6" fmla="*/ 96237 w 140"/>
              <a:gd name="T7" fmla="*/ 56444 h 144"/>
              <a:gd name="T8" fmla="*/ 82153 w 140"/>
              <a:gd name="T9" fmla="*/ 71437 h 144"/>
              <a:gd name="T10" fmla="*/ 68852 w 140"/>
              <a:gd name="T11" fmla="*/ 71437 h 144"/>
              <a:gd name="T12" fmla="*/ 68852 w 140"/>
              <a:gd name="T13" fmla="*/ 56444 h 144"/>
              <a:gd name="T14" fmla="*/ 96237 w 140"/>
              <a:gd name="T15" fmla="*/ 29104 h 144"/>
              <a:gd name="T16" fmla="*/ 40686 w 140"/>
              <a:gd name="T17" fmla="*/ 29104 h 144"/>
              <a:gd name="T18" fmla="*/ 40686 w 140"/>
              <a:gd name="T19" fmla="*/ 0 h 144"/>
              <a:gd name="T20" fmla="*/ 26602 w 140"/>
              <a:gd name="T21" fmla="*/ 0 h 144"/>
              <a:gd name="T22" fmla="*/ 13301 w 140"/>
              <a:gd name="T23" fmla="*/ 0 h 144"/>
              <a:gd name="T24" fmla="*/ 13301 w 140"/>
              <a:gd name="T25" fmla="*/ 14111 h 144"/>
              <a:gd name="T26" fmla="*/ 0 w 140"/>
              <a:gd name="T27" fmla="*/ 42333 h 144"/>
              <a:gd name="T28" fmla="*/ 13301 w 140"/>
              <a:gd name="T29" fmla="*/ 42333 h 144"/>
              <a:gd name="T30" fmla="*/ 26602 w 140"/>
              <a:gd name="T31" fmla="*/ 113771 h 144"/>
              <a:gd name="T32" fmla="*/ 53987 w 140"/>
              <a:gd name="T33" fmla="*/ 113771 h 144"/>
              <a:gd name="T34" fmla="*/ 82153 w 140"/>
              <a:gd name="T35" fmla="*/ 84667 h 144"/>
              <a:gd name="T36" fmla="*/ 96237 w 140"/>
              <a:gd name="T37" fmla="*/ 127000 h 144"/>
              <a:gd name="T38" fmla="*/ 109538 w 140"/>
              <a:gd name="T39" fmla="*/ 113771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chemeClr val="bg1"/>
          </a:solidFill>
          <a:ln w="9525">
            <a:solidFill>
              <a:schemeClr val="bg2"/>
            </a:solidFill>
            <a:round/>
            <a:headEnd/>
            <a:tailEnd/>
          </a:ln>
        </p:spPr>
        <p:txBody>
          <a:bodyPr/>
          <a:lstStyle/>
          <a:p>
            <a:endParaRPr lang="en-US" dirty="0"/>
          </a:p>
        </p:txBody>
      </p:sp>
      <p:sp>
        <p:nvSpPr>
          <p:cNvPr id="18602" name="Freeform 169"/>
          <p:cNvSpPr>
            <a:spLocks noChangeAspect="1"/>
          </p:cNvSpPr>
          <p:nvPr>
            <p:custDataLst>
              <p:tags r:id="rId143"/>
            </p:custDataLst>
          </p:nvPr>
        </p:nvSpPr>
        <p:spPr bwMode="auto">
          <a:xfrm>
            <a:off x="6269038" y="3273425"/>
            <a:ext cx="187325" cy="438150"/>
          </a:xfrm>
          <a:custGeom>
            <a:avLst/>
            <a:gdLst>
              <a:gd name="T0" fmla="*/ 134250 w 240"/>
              <a:gd name="T1" fmla="*/ 438150 h 495"/>
              <a:gd name="T2" fmla="*/ 134250 w 240"/>
              <a:gd name="T3" fmla="*/ 438150 h 495"/>
              <a:gd name="T4" fmla="*/ 160007 w 240"/>
              <a:gd name="T5" fmla="*/ 382385 h 495"/>
              <a:gd name="T6" fmla="*/ 148299 w 240"/>
              <a:gd name="T7" fmla="*/ 339898 h 495"/>
              <a:gd name="T8" fmla="*/ 134250 w 240"/>
              <a:gd name="T9" fmla="*/ 310688 h 495"/>
              <a:gd name="T10" fmla="*/ 134250 w 240"/>
              <a:gd name="T11" fmla="*/ 284134 h 495"/>
              <a:gd name="T12" fmla="*/ 120981 w 240"/>
              <a:gd name="T13" fmla="*/ 241646 h 495"/>
              <a:gd name="T14" fmla="*/ 120981 w 240"/>
              <a:gd name="T15" fmla="*/ 212436 h 495"/>
              <a:gd name="T16" fmla="*/ 173276 w 240"/>
              <a:gd name="T17" fmla="*/ 184112 h 495"/>
              <a:gd name="T18" fmla="*/ 187325 w 240"/>
              <a:gd name="T19" fmla="*/ 156672 h 495"/>
              <a:gd name="T20" fmla="*/ 173276 w 240"/>
              <a:gd name="T21" fmla="*/ 156672 h 495"/>
              <a:gd name="T22" fmla="*/ 148299 w 240"/>
              <a:gd name="T23" fmla="*/ 141624 h 495"/>
              <a:gd name="T24" fmla="*/ 148299 w 240"/>
              <a:gd name="T25" fmla="*/ 127462 h 495"/>
              <a:gd name="T26" fmla="*/ 148299 w 240"/>
              <a:gd name="T27" fmla="*/ 114185 h 495"/>
              <a:gd name="T28" fmla="*/ 134250 w 240"/>
              <a:gd name="T29" fmla="*/ 99137 h 495"/>
              <a:gd name="T30" fmla="*/ 120981 w 240"/>
              <a:gd name="T31" fmla="*/ 99137 h 495"/>
              <a:gd name="T32" fmla="*/ 134250 w 240"/>
              <a:gd name="T33" fmla="*/ 29210 h 495"/>
              <a:gd name="T34" fmla="*/ 120981 w 240"/>
              <a:gd name="T35" fmla="*/ 0 h 495"/>
              <a:gd name="T36" fmla="*/ 107712 w 240"/>
              <a:gd name="T37" fmla="*/ 0 h 495"/>
              <a:gd name="T38" fmla="*/ 107712 w 240"/>
              <a:gd name="T39" fmla="*/ 29210 h 495"/>
              <a:gd name="T40" fmla="*/ 80394 w 240"/>
              <a:gd name="T41" fmla="*/ 29210 h 495"/>
              <a:gd name="T42" fmla="*/ 67125 w 240"/>
              <a:gd name="T43" fmla="*/ 42487 h 495"/>
              <a:gd name="T44" fmla="*/ 39807 w 240"/>
              <a:gd name="T45" fmla="*/ 99137 h 495"/>
              <a:gd name="T46" fmla="*/ 26538 w 240"/>
              <a:gd name="T47" fmla="*/ 114185 h 495"/>
              <a:gd name="T48" fmla="*/ 13269 w 240"/>
              <a:gd name="T49" fmla="*/ 141624 h 495"/>
              <a:gd name="T50" fmla="*/ 13269 w 240"/>
              <a:gd name="T51" fmla="*/ 156672 h 495"/>
              <a:gd name="T52" fmla="*/ 0 w 240"/>
              <a:gd name="T53" fmla="*/ 169949 h 495"/>
              <a:gd name="T54" fmla="*/ 26538 w 240"/>
              <a:gd name="T55" fmla="*/ 199159 h 495"/>
              <a:gd name="T56" fmla="*/ 39807 w 240"/>
              <a:gd name="T57" fmla="*/ 226599 h 495"/>
              <a:gd name="T58" fmla="*/ 53856 w 240"/>
              <a:gd name="T59" fmla="*/ 269086 h 495"/>
              <a:gd name="T60" fmla="*/ 39807 w 240"/>
              <a:gd name="T61" fmla="*/ 284134 h 495"/>
              <a:gd name="T62" fmla="*/ 67125 w 240"/>
              <a:gd name="T63" fmla="*/ 297411 h 495"/>
              <a:gd name="T64" fmla="*/ 94443 w 240"/>
              <a:gd name="T65" fmla="*/ 269086 h 495"/>
              <a:gd name="T66" fmla="*/ 107712 w 240"/>
              <a:gd name="T67" fmla="*/ 284134 h 495"/>
              <a:gd name="T68" fmla="*/ 134250 w 240"/>
              <a:gd name="T69" fmla="*/ 369108 h 495"/>
              <a:gd name="T70" fmla="*/ 134250 w 240"/>
              <a:gd name="T71" fmla="*/ 438150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chemeClr val="bg1"/>
          </a:solidFill>
          <a:ln w="9525">
            <a:solidFill>
              <a:schemeClr val="bg2"/>
            </a:solidFill>
            <a:round/>
            <a:headEnd/>
            <a:tailEnd/>
          </a:ln>
        </p:spPr>
        <p:txBody>
          <a:bodyPr/>
          <a:lstStyle/>
          <a:p>
            <a:endParaRPr lang="en-US" dirty="0"/>
          </a:p>
        </p:txBody>
      </p:sp>
      <p:sp>
        <p:nvSpPr>
          <p:cNvPr id="18603" name="Freeform 170"/>
          <p:cNvSpPr>
            <a:spLocks noChangeAspect="1"/>
          </p:cNvSpPr>
          <p:nvPr>
            <p:custDataLst>
              <p:tags r:id="rId144"/>
            </p:custDataLst>
          </p:nvPr>
        </p:nvSpPr>
        <p:spPr bwMode="auto">
          <a:xfrm>
            <a:off x="6445250" y="3414713"/>
            <a:ext cx="149225" cy="196850"/>
          </a:xfrm>
          <a:custGeom>
            <a:avLst/>
            <a:gdLst>
              <a:gd name="T0" fmla="*/ 149225 w 190"/>
              <a:gd name="T1" fmla="*/ 183668 h 224"/>
              <a:gd name="T2" fmla="*/ 149225 w 190"/>
              <a:gd name="T3" fmla="*/ 183668 h 224"/>
              <a:gd name="T4" fmla="*/ 149225 w 190"/>
              <a:gd name="T5" fmla="*/ 154668 h 224"/>
              <a:gd name="T6" fmla="*/ 122522 w 190"/>
              <a:gd name="T7" fmla="*/ 126546 h 224"/>
              <a:gd name="T8" fmla="*/ 122522 w 190"/>
              <a:gd name="T9" fmla="*/ 112486 h 224"/>
              <a:gd name="T10" fmla="*/ 68329 w 190"/>
              <a:gd name="T11" fmla="*/ 70304 h 224"/>
              <a:gd name="T12" fmla="*/ 95033 w 190"/>
              <a:gd name="T13" fmla="*/ 57122 h 224"/>
              <a:gd name="T14" fmla="*/ 81681 w 190"/>
              <a:gd name="T15" fmla="*/ 42182 h 224"/>
              <a:gd name="T16" fmla="*/ 54192 w 190"/>
              <a:gd name="T17" fmla="*/ 28121 h 224"/>
              <a:gd name="T18" fmla="*/ 40841 w 190"/>
              <a:gd name="T19" fmla="*/ 0 h 224"/>
              <a:gd name="T20" fmla="*/ 27489 w 190"/>
              <a:gd name="T21" fmla="*/ 0 h 224"/>
              <a:gd name="T22" fmla="*/ 27489 w 190"/>
              <a:gd name="T23" fmla="*/ 28121 h 224"/>
              <a:gd name="T24" fmla="*/ 14137 w 190"/>
              <a:gd name="T25" fmla="*/ 28121 h 224"/>
              <a:gd name="T26" fmla="*/ 14137 w 190"/>
              <a:gd name="T27" fmla="*/ 14940 h 224"/>
              <a:gd name="T28" fmla="*/ 0 w 190"/>
              <a:gd name="T29" fmla="*/ 42182 h 224"/>
              <a:gd name="T30" fmla="*/ 0 w 190"/>
              <a:gd name="T31" fmla="*/ 57122 h 224"/>
              <a:gd name="T32" fmla="*/ 14137 w 190"/>
              <a:gd name="T33" fmla="*/ 70304 h 224"/>
              <a:gd name="T34" fmla="*/ 14137 w 190"/>
              <a:gd name="T35" fmla="*/ 112486 h 224"/>
              <a:gd name="T36" fmla="*/ 40841 w 190"/>
              <a:gd name="T37" fmla="*/ 99304 h 224"/>
              <a:gd name="T38" fmla="*/ 68329 w 190"/>
              <a:gd name="T39" fmla="*/ 84364 h 224"/>
              <a:gd name="T40" fmla="*/ 81681 w 190"/>
              <a:gd name="T41" fmla="*/ 112486 h 224"/>
              <a:gd name="T42" fmla="*/ 95033 w 190"/>
              <a:gd name="T43" fmla="*/ 141486 h 224"/>
              <a:gd name="T44" fmla="*/ 108384 w 190"/>
              <a:gd name="T45" fmla="*/ 154668 h 224"/>
              <a:gd name="T46" fmla="*/ 108384 w 190"/>
              <a:gd name="T47" fmla="*/ 183668 h 224"/>
              <a:gd name="T48" fmla="*/ 122522 w 190"/>
              <a:gd name="T49" fmla="*/ 196850 h 224"/>
              <a:gd name="T50" fmla="*/ 122522 w 190"/>
              <a:gd name="T51" fmla="*/ 183668 h 224"/>
              <a:gd name="T52" fmla="*/ 149225 w 190"/>
              <a:gd name="T53" fmla="*/ 183668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chemeClr val="bg1"/>
          </a:solidFill>
          <a:ln w="9525">
            <a:solidFill>
              <a:schemeClr val="bg2"/>
            </a:solidFill>
            <a:round/>
            <a:headEnd/>
            <a:tailEnd/>
          </a:ln>
        </p:spPr>
        <p:txBody>
          <a:bodyPr/>
          <a:lstStyle/>
          <a:p>
            <a:endParaRPr lang="en-US" dirty="0"/>
          </a:p>
        </p:txBody>
      </p:sp>
      <p:sp>
        <p:nvSpPr>
          <p:cNvPr id="18604" name="Freeform 171"/>
          <p:cNvSpPr>
            <a:spLocks noChangeAspect="1"/>
          </p:cNvSpPr>
          <p:nvPr>
            <p:custDataLst>
              <p:tags r:id="rId145"/>
            </p:custDataLst>
          </p:nvPr>
        </p:nvSpPr>
        <p:spPr bwMode="auto">
          <a:xfrm>
            <a:off x="6486525" y="3398838"/>
            <a:ext cx="149225" cy="327025"/>
          </a:xfrm>
          <a:custGeom>
            <a:avLst/>
            <a:gdLst>
              <a:gd name="T0" fmla="*/ 0 w 190"/>
              <a:gd name="T1" fmla="*/ 14180 h 369"/>
              <a:gd name="T2" fmla="*/ 0 w 190"/>
              <a:gd name="T3" fmla="*/ 14180 h 369"/>
              <a:gd name="T4" fmla="*/ 0 w 190"/>
              <a:gd name="T5" fmla="*/ 0 h 369"/>
              <a:gd name="T6" fmla="*/ 13352 w 190"/>
              <a:gd name="T7" fmla="*/ 14180 h 369"/>
              <a:gd name="T8" fmla="*/ 67544 w 190"/>
              <a:gd name="T9" fmla="*/ 0 h 369"/>
              <a:gd name="T10" fmla="*/ 95033 w 190"/>
              <a:gd name="T11" fmla="*/ 0 h 369"/>
              <a:gd name="T12" fmla="*/ 95033 w 190"/>
              <a:gd name="T13" fmla="*/ 29246 h 369"/>
              <a:gd name="T14" fmla="*/ 122522 w 190"/>
              <a:gd name="T15" fmla="*/ 29246 h 369"/>
              <a:gd name="T16" fmla="*/ 95033 w 190"/>
              <a:gd name="T17" fmla="*/ 42540 h 369"/>
              <a:gd name="T18" fmla="*/ 81681 w 190"/>
              <a:gd name="T19" fmla="*/ 71786 h 369"/>
              <a:gd name="T20" fmla="*/ 67544 w 190"/>
              <a:gd name="T21" fmla="*/ 85080 h 369"/>
              <a:gd name="T22" fmla="*/ 135873 w 190"/>
              <a:gd name="T23" fmla="*/ 183453 h 369"/>
              <a:gd name="T24" fmla="*/ 149225 w 190"/>
              <a:gd name="T25" fmla="*/ 212699 h 369"/>
              <a:gd name="T26" fmla="*/ 135873 w 190"/>
              <a:gd name="T27" fmla="*/ 268533 h 369"/>
              <a:gd name="T28" fmla="*/ 108384 w 190"/>
              <a:gd name="T29" fmla="*/ 284485 h 369"/>
              <a:gd name="T30" fmla="*/ 95033 w 190"/>
              <a:gd name="T31" fmla="*/ 284485 h 369"/>
              <a:gd name="T32" fmla="*/ 81681 w 190"/>
              <a:gd name="T33" fmla="*/ 311073 h 369"/>
              <a:gd name="T34" fmla="*/ 54192 w 190"/>
              <a:gd name="T35" fmla="*/ 327025 h 369"/>
              <a:gd name="T36" fmla="*/ 54192 w 190"/>
              <a:gd name="T37" fmla="*/ 297779 h 369"/>
              <a:gd name="T38" fmla="*/ 40841 w 190"/>
              <a:gd name="T39" fmla="*/ 284485 h 369"/>
              <a:gd name="T40" fmla="*/ 67544 w 190"/>
              <a:gd name="T41" fmla="*/ 268533 h 369"/>
              <a:gd name="T42" fmla="*/ 81681 w 190"/>
              <a:gd name="T43" fmla="*/ 255239 h 369"/>
              <a:gd name="T44" fmla="*/ 108384 w 190"/>
              <a:gd name="T45" fmla="*/ 241945 h 369"/>
              <a:gd name="T46" fmla="*/ 108384 w 190"/>
              <a:gd name="T47" fmla="*/ 199405 h 369"/>
              <a:gd name="T48" fmla="*/ 108384 w 190"/>
              <a:gd name="T49" fmla="*/ 170159 h 369"/>
              <a:gd name="T50" fmla="*/ 81681 w 190"/>
              <a:gd name="T51" fmla="*/ 141799 h 369"/>
              <a:gd name="T52" fmla="*/ 81681 w 190"/>
              <a:gd name="T53" fmla="*/ 127620 h 369"/>
              <a:gd name="T54" fmla="*/ 27489 w 190"/>
              <a:gd name="T55" fmla="*/ 85080 h 369"/>
              <a:gd name="T56" fmla="*/ 54192 w 190"/>
              <a:gd name="T57" fmla="*/ 71786 h 369"/>
              <a:gd name="T58" fmla="*/ 40841 w 190"/>
              <a:gd name="T59" fmla="*/ 56720 h 369"/>
              <a:gd name="T60" fmla="*/ 13352 w 190"/>
              <a:gd name="T61" fmla="*/ 42540 h 369"/>
              <a:gd name="T62" fmla="*/ 0 w 190"/>
              <a:gd name="T63" fmla="*/ 14180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chemeClr val="bg1"/>
          </a:solidFill>
          <a:ln w="9525">
            <a:solidFill>
              <a:schemeClr val="bg2"/>
            </a:solidFill>
            <a:round/>
            <a:headEnd/>
            <a:tailEnd/>
          </a:ln>
        </p:spPr>
        <p:txBody>
          <a:bodyPr/>
          <a:lstStyle/>
          <a:p>
            <a:endParaRPr lang="en-US" dirty="0"/>
          </a:p>
        </p:txBody>
      </p:sp>
      <p:sp>
        <p:nvSpPr>
          <p:cNvPr id="18605" name="Freeform 172"/>
          <p:cNvSpPr>
            <a:spLocks noChangeAspect="1"/>
          </p:cNvSpPr>
          <p:nvPr>
            <p:custDataLst>
              <p:tags r:id="rId146"/>
            </p:custDataLst>
          </p:nvPr>
        </p:nvSpPr>
        <p:spPr bwMode="auto">
          <a:xfrm>
            <a:off x="5749925" y="3060700"/>
            <a:ext cx="625475" cy="677863"/>
          </a:xfrm>
          <a:custGeom>
            <a:avLst/>
            <a:gdLst>
              <a:gd name="T0" fmla="*/ 571189 w 795"/>
              <a:gd name="T1" fmla="*/ 183588 h 768"/>
              <a:gd name="T2" fmla="*/ 625475 w 795"/>
              <a:gd name="T3" fmla="*/ 211832 h 768"/>
              <a:gd name="T4" fmla="*/ 597938 w 795"/>
              <a:gd name="T5" fmla="*/ 240959 h 768"/>
              <a:gd name="T6" fmla="*/ 557814 w 795"/>
              <a:gd name="T7" fmla="*/ 310687 h 768"/>
              <a:gd name="T8" fmla="*/ 530277 w 795"/>
              <a:gd name="T9" fmla="*/ 353054 h 768"/>
              <a:gd name="T10" fmla="*/ 516902 w 795"/>
              <a:gd name="T11" fmla="*/ 325692 h 768"/>
              <a:gd name="T12" fmla="*/ 502740 w 795"/>
              <a:gd name="T13" fmla="*/ 325692 h 768"/>
              <a:gd name="T14" fmla="*/ 489365 w 795"/>
              <a:gd name="T15" fmla="*/ 310687 h 768"/>
              <a:gd name="T16" fmla="*/ 462616 w 795"/>
              <a:gd name="T17" fmla="*/ 283326 h 768"/>
              <a:gd name="T18" fmla="*/ 448454 w 795"/>
              <a:gd name="T19" fmla="*/ 254199 h 768"/>
              <a:gd name="T20" fmla="*/ 435079 w 795"/>
              <a:gd name="T21" fmla="*/ 268321 h 768"/>
              <a:gd name="T22" fmla="*/ 435079 w 795"/>
              <a:gd name="T23" fmla="*/ 296565 h 768"/>
              <a:gd name="T24" fmla="*/ 435079 w 795"/>
              <a:gd name="T25" fmla="*/ 368058 h 768"/>
              <a:gd name="T26" fmla="*/ 407542 w 795"/>
              <a:gd name="T27" fmla="*/ 368058 h 768"/>
              <a:gd name="T28" fmla="*/ 367417 w 795"/>
              <a:gd name="T29" fmla="*/ 423664 h 768"/>
              <a:gd name="T30" fmla="*/ 298969 w 795"/>
              <a:gd name="T31" fmla="*/ 495158 h 768"/>
              <a:gd name="T32" fmla="*/ 272219 w 795"/>
              <a:gd name="T33" fmla="*/ 508397 h 768"/>
              <a:gd name="T34" fmla="*/ 258058 w 795"/>
              <a:gd name="T35" fmla="*/ 521637 h 768"/>
              <a:gd name="T36" fmla="*/ 244683 w 795"/>
              <a:gd name="T37" fmla="*/ 593130 h 768"/>
              <a:gd name="T38" fmla="*/ 231308 w 795"/>
              <a:gd name="T39" fmla="*/ 648736 h 768"/>
              <a:gd name="T40" fmla="*/ 203771 w 795"/>
              <a:gd name="T41" fmla="*/ 677863 h 768"/>
              <a:gd name="T42" fmla="*/ 136110 w 795"/>
              <a:gd name="T43" fmla="*/ 537524 h 768"/>
              <a:gd name="T44" fmla="*/ 95198 w 795"/>
              <a:gd name="T45" fmla="*/ 410425 h 768"/>
              <a:gd name="T46" fmla="*/ 81823 w 795"/>
              <a:gd name="T47" fmla="*/ 381298 h 768"/>
              <a:gd name="T48" fmla="*/ 13375 w 795"/>
              <a:gd name="T49" fmla="*/ 353054 h 768"/>
              <a:gd name="T50" fmla="*/ 40912 w 795"/>
              <a:gd name="T51" fmla="*/ 338932 h 768"/>
              <a:gd name="T52" fmla="*/ 0 w 795"/>
              <a:gd name="T53" fmla="*/ 325692 h 768"/>
              <a:gd name="T54" fmla="*/ 54287 w 795"/>
              <a:gd name="T55" fmla="*/ 310687 h 768"/>
              <a:gd name="T56" fmla="*/ 54287 w 795"/>
              <a:gd name="T57" fmla="*/ 268321 h 768"/>
              <a:gd name="T58" fmla="*/ 40912 w 795"/>
              <a:gd name="T59" fmla="*/ 254199 h 768"/>
              <a:gd name="T60" fmla="*/ 27537 w 795"/>
              <a:gd name="T61" fmla="*/ 225954 h 768"/>
              <a:gd name="T62" fmla="*/ 54287 w 795"/>
              <a:gd name="T63" fmla="*/ 225954 h 768"/>
              <a:gd name="T64" fmla="*/ 149485 w 795"/>
              <a:gd name="T65" fmla="*/ 127099 h 768"/>
              <a:gd name="T66" fmla="*/ 149485 w 795"/>
              <a:gd name="T67" fmla="*/ 113860 h 768"/>
              <a:gd name="T68" fmla="*/ 122735 w 795"/>
              <a:gd name="T69" fmla="*/ 84733 h 768"/>
              <a:gd name="T70" fmla="*/ 122735 w 795"/>
              <a:gd name="T71" fmla="*/ 42366 h 768"/>
              <a:gd name="T72" fmla="*/ 162860 w 795"/>
              <a:gd name="T73" fmla="*/ 42366 h 768"/>
              <a:gd name="T74" fmla="*/ 203771 w 795"/>
              <a:gd name="T75" fmla="*/ 14122 h 768"/>
              <a:gd name="T76" fmla="*/ 258058 w 795"/>
              <a:gd name="T77" fmla="*/ 14122 h 768"/>
              <a:gd name="T78" fmla="*/ 231308 w 795"/>
              <a:gd name="T79" fmla="*/ 71493 h 768"/>
              <a:gd name="T80" fmla="*/ 217933 w 795"/>
              <a:gd name="T81" fmla="*/ 98855 h 768"/>
              <a:gd name="T82" fmla="*/ 272219 w 795"/>
              <a:gd name="T83" fmla="*/ 156226 h 768"/>
              <a:gd name="T84" fmla="*/ 285594 w 795"/>
              <a:gd name="T85" fmla="*/ 211832 h 768"/>
              <a:gd name="T86" fmla="*/ 421704 w 795"/>
              <a:gd name="T87" fmla="*/ 254199 h 768"/>
              <a:gd name="T88" fmla="*/ 421704 w 795"/>
              <a:gd name="T89" fmla="*/ 211832 h 768"/>
              <a:gd name="T90" fmla="*/ 448454 w 795"/>
              <a:gd name="T91" fmla="*/ 225954 h 768"/>
              <a:gd name="T92" fmla="*/ 502740 w 795"/>
              <a:gd name="T93" fmla="*/ 240959 h 768"/>
              <a:gd name="T94" fmla="*/ 502740 w 795"/>
              <a:gd name="T95" fmla="*/ 211832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5" h="768">
                <a:moveTo>
                  <a:pt x="726" y="208"/>
                </a:moveTo>
                <a:lnTo>
                  <a:pt x="726" y="208"/>
                </a:lnTo>
                <a:lnTo>
                  <a:pt x="760" y="208"/>
                </a:lnTo>
                <a:lnTo>
                  <a:pt x="795" y="240"/>
                </a:lnTo>
                <a:lnTo>
                  <a:pt x="795" y="273"/>
                </a:lnTo>
                <a:lnTo>
                  <a:pt x="760" y="273"/>
                </a:lnTo>
                <a:lnTo>
                  <a:pt x="743" y="288"/>
                </a:lnTo>
                <a:lnTo>
                  <a:pt x="709" y="352"/>
                </a:lnTo>
                <a:lnTo>
                  <a:pt x="691" y="369"/>
                </a:lnTo>
                <a:lnTo>
                  <a:pt x="674" y="400"/>
                </a:lnTo>
                <a:lnTo>
                  <a:pt x="674" y="417"/>
                </a:lnTo>
                <a:lnTo>
                  <a:pt x="657" y="369"/>
                </a:lnTo>
                <a:lnTo>
                  <a:pt x="657" y="352"/>
                </a:lnTo>
                <a:lnTo>
                  <a:pt x="639" y="369"/>
                </a:lnTo>
                <a:lnTo>
                  <a:pt x="622" y="369"/>
                </a:lnTo>
                <a:lnTo>
                  <a:pt x="622" y="352"/>
                </a:lnTo>
                <a:lnTo>
                  <a:pt x="657" y="321"/>
                </a:lnTo>
                <a:lnTo>
                  <a:pt x="588" y="321"/>
                </a:lnTo>
                <a:lnTo>
                  <a:pt x="588" y="288"/>
                </a:lnTo>
                <a:lnTo>
                  <a:pt x="570" y="288"/>
                </a:lnTo>
                <a:lnTo>
                  <a:pt x="553" y="288"/>
                </a:lnTo>
                <a:lnTo>
                  <a:pt x="553" y="304"/>
                </a:lnTo>
                <a:lnTo>
                  <a:pt x="536" y="336"/>
                </a:lnTo>
                <a:lnTo>
                  <a:pt x="553" y="336"/>
                </a:lnTo>
                <a:lnTo>
                  <a:pt x="570" y="417"/>
                </a:lnTo>
                <a:lnTo>
                  <a:pt x="553" y="417"/>
                </a:lnTo>
                <a:lnTo>
                  <a:pt x="553" y="400"/>
                </a:lnTo>
                <a:lnTo>
                  <a:pt x="518" y="417"/>
                </a:lnTo>
                <a:lnTo>
                  <a:pt x="501" y="465"/>
                </a:lnTo>
                <a:lnTo>
                  <a:pt x="467" y="480"/>
                </a:lnTo>
                <a:lnTo>
                  <a:pt x="380" y="544"/>
                </a:lnTo>
                <a:lnTo>
                  <a:pt x="380" y="561"/>
                </a:lnTo>
                <a:lnTo>
                  <a:pt x="363" y="561"/>
                </a:lnTo>
                <a:lnTo>
                  <a:pt x="346" y="576"/>
                </a:lnTo>
                <a:lnTo>
                  <a:pt x="328" y="576"/>
                </a:lnTo>
                <a:lnTo>
                  <a:pt x="328" y="591"/>
                </a:lnTo>
                <a:lnTo>
                  <a:pt x="328" y="639"/>
                </a:lnTo>
                <a:lnTo>
                  <a:pt x="311" y="672"/>
                </a:lnTo>
                <a:lnTo>
                  <a:pt x="311" y="720"/>
                </a:lnTo>
                <a:lnTo>
                  <a:pt x="294" y="735"/>
                </a:lnTo>
                <a:lnTo>
                  <a:pt x="277" y="753"/>
                </a:lnTo>
                <a:lnTo>
                  <a:pt x="259" y="768"/>
                </a:lnTo>
                <a:lnTo>
                  <a:pt x="225" y="753"/>
                </a:lnTo>
                <a:lnTo>
                  <a:pt x="173" y="609"/>
                </a:lnTo>
                <a:lnTo>
                  <a:pt x="138" y="561"/>
                </a:lnTo>
                <a:lnTo>
                  <a:pt x="121" y="465"/>
                </a:lnTo>
                <a:lnTo>
                  <a:pt x="121" y="400"/>
                </a:lnTo>
                <a:lnTo>
                  <a:pt x="104" y="432"/>
                </a:lnTo>
                <a:lnTo>
                  <a:pt x="69" y="448"/>
                </a:lnTo>
                <a:lnTo>
                  <a:pt x="17" y="400"/>
                </a:lnTo>
                <a:lnTo>
                  <a:pt x="52" y="400"/>
                </a:lnTo>
                <a:lnTo>
                  <a:pt x="52" y="384"/>
                </a:lnTo>
                <a:lnTo>
                  <a:pt x="35" y="384"/>
                </a:lnTo>
                <a:lnTo>
                  <a:pt x="0" y="369"/>
                </a:lnTo>
                <a:lnTo>
                  <a:pt x="17" y="352"/>
                </a:lnTo>
                <a:lnTo>
                  <a:pt x="69" y="352"/>
                </a:lnTo>
                <a:lnTo>
                  <a:pt x="69" y="336"/>
                </a:lnTo>
                <a:lnTo>
                  <a:pt x="69" y="304"/>
                </a:lnTo>
                <a:lnTo>
                  <a:pt x="52" y="304"/>
                </a:lnTo>
                <a:lnTo>
                  <a:pt x="52" y="288"/>
                </a:lnTo>
                <a:lnTo>
                  <a:pt x="35" y="288"/>
                </a:lnTo>
                <a:lnTo>
                  <a:pt x="35" y="256"/>
                </a:lnTo>
                <a:lnTo>
                  <a:pt x="52" y="240"/>
                </a:lnTo>
                <a:lnTo>
                  <a:pt x="69" y="256"/>
                </a:lnTo>
                <a:lnTo>
                  <a:pt x="104" y="240"/>
                </a:lnTo>
                <a:lnTo>
                  <a:pt x="190" y="144"/>
                </a:lnTo>
                <a:lnTo>
                  <a:pt x="173" y="129"/>
                </a:lnTo>
                <a:lnTo>
                  <a:pt x="190" y="129"/>
                </a:lnTo>
                <a:lnTo>
                  <a:pt x="190" y="112"/>
                </a:lnTo>
                <a:lnTo>
                  <a:pt x="156" y="96"/>
                </a:lnTo>
                <a:lnTo>
                  <a:pt x="173" y="64"/>
                </a:lnTo>
                <a:lnTo>
                  <a:pt x="156" y="48"/>
                </a:lnTo>
                <a:lnTo>
                  <a:pt x="173" y="33"/>
                </a:lnTo>
                <a:lnTo>
                  <a:pt x="207" y="48"/>
                </a:lnTo>
                <a:lnTo>
                  <a:pt x="242" y="33"/>
                </a:lnTo>
                <a:lnTo>
                  <a:pt x="259" y="16"/>
                </a:lnTo>
                <a:lnTo>
                  <a:pt x="311" y="0"/>
                </a:lnTo>
                <a:lnTo>
                  <a:pt x="328" y="16"/>
                </a:lnTo>
                <a:lnTo>
                  <a:pt x="328" y="48"/>
                </a:lnTo>
                <a:lnTo>
                  <a:pt x="294" y="81"/>
                </a:lnTo>
                <a:lnTo>
                  <a:pt x="311" y="112"/>
                </a:lnTo>
                <a:lnTo>
                  <a:pt x="277" y="112"/>
                </a:lnTo>
                <a:lnTo>
                  <a:pt x="294" y="160"/>
                </a:lnTo>
                <a:lnTo>
                  <a:pt x="346" y="177"/>
                </a:lnTo>
                <a:lnTo>
                  <a:pt x="328" y="225"/>
                </a:lnTo>
                <a:lnTo>
                  <a:pt x="363" y="240"/>
                </a:lnTo>
                <a:lnTo>
                  <a:pt x="518" y="288"/>
                </a:lnTo>
                <a:lnTo>
                  <a:pt x="536" y="288"/>
                </a:lnTo>
                <a:lnTo>
                  <a:pt x="536" y="273"/>
                </a:lnTo>
                <a:lnTo>
                  <a:pt x="536" y="240"/>
                </a:lnTo>
                <a:lnTo>
                  <a:pt x="553" y="240"/>
                </a:lnTo>
                <a:lnTo>
                  <a:pt x="570" y="256"/>
                </a:lnTo>
                <a:lnTo>
                  <a:pt x="570" y="273"/>
                </a:lnTo>
                <a:lnTo>
                  <a:pt x="639" y="273"/>
                </a:lnTo>
                <a:lnTo>
                  <a:pt x="657" y="273"/>
                </a:lnTo>
                <a:lnTo>
                  <a:pt x="639" y="240"/>
                </a:lnTo>
                <a:lnTo>
                  <a:pt x="726" y="208"/>
                </a:lnTo>
                <a:close/>
              </a:path>
            </a:pathLst>
          </a:custGeom>
          <a:solidFill>
            <a:srgbClr val="000080"/>
          </a:solidFill>
          <a:ln w="9525">
            <a:solidFill>
              <a:schemeClr val="bg2"/>
            </a:solidFill>
            <a:round/>
            <a:headEnd/>
            <a:tailEnd/>
          </a:ln>
        </p:spPr>
        <p:txBody>
          <a:bodyPr/>
          <a:lstStyle/>
          <a:p>
            <a:endParaRPr lang="en-US" dirty="0"/>
          </a:p>
        </p:txBody>
      </p:sp>
      <p:sp>
        <p:nvSpPr>
          <p:cNvPr id="18606" name="Freeform 173"/>
          <p:cNvSpPr>
            <a:spLocks noChangeAspect="1"/>
          </p:cNvSpPr>
          <p:nvPr>
            <p:custDataLst>
              <p:tags r:id="rId147"/>
            </p:custDataLst>
          </p:nvPr>
        </p:nvSpPr>
        <p:spPr bwMode="auto">
          <a:xfrm>
            <a:off x="6445250" y="3767138"/>
            <a:ext cx="80963" cy="127000"/>
          </a:xfrm>
          <a:custGeom>
            <a:avLst/>
            <a:gdLst>
              <a:gd name="T0" fmla="*/ 40482 w 104"/>
              <a:gd name="T1" fmla="*/ 13229 h 144"/>
              <a:gd name="T2" fmla="*/ 40482 w 104"/>
              <a:gd name="T3" fmla="*/ 13229 h 144"/>
              <a:gd name="T4" fmla="*/ 27247 w 104"/>
              <a:gd name="T5" fmla="*/ 26458 h 144"/>
              <a:gd name="T6" fmla="*/ 14013 w 104"/>
              <a:gd name="T7" fmla="*/ 13229 h 144"/>
              <a:gd name="T8" fmla="*/ 0 w 104"/>
              <a:gd name="T9" fmla="*/ 0 h 144"/>
              <a:gd name="T10" fmla="*/ 0 w 104"/>
              <a:gd name="T11" fmla="*/ 13229 h 144"/>
              <a:gd name="T12" fmla="*/ 0 w 104"/>
              <a:gd name="T13" fmla="*/ 55562 h 144"/>
              <a:gd name="T14" fmla="*/ 27247 w 104"/>
              <a:gd name="T15" fmla="*/ 84667 h 144"/>
              <a:gd name="T16" fmla="*/ 67729 w 104"/>
              <a:gd name="T17" fmla="*/ 127000 h 144"/>
              <a:gd name="T18" fmla="*/ 80963 w 104"/>
              <a:gd name="T19" fmla="*/ 127000 h 144"/>
              <a:gd name="T20" fmla="*/ 67729 w 104"/>
              <a:gd name="T21" fmla="*/ 84667 h 144"/>
              <a:gd name="T22" fmla="*/ 67729 w 104"/>
              <a:gd name="T23" fmla="*/ 42333 h 144"/>
              <a:gd name="T24" fmla="*/ 40482 w 104"/>
              <a:gd name="T25" fmla="*/ 13229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chemeClr val="bg1"/>
          </a:solidFill>
          <a:ln w="9525">
            <a:solidFill>
              <a:schemeClr val="bg2"/>
            </a:solidFill>
            <a:round/>
            <a:headEnd/>
            <a:tailEnd/>
          </a:ln>
        </p:spPr>
        <p:txBody>
          <a:bodyPr/>
          <a:lstStyle/>
          <a:p>
            <a:endParaRPr lang="en-US" dirty="0"/>
          </a:p>
        </p:txBody>
      </p:sp>
      <p:sp>
        <p:nvSpPr>
          <p:cNvPr id="18607" name="Freeform 174"/>
          <p:cNvSpPr>
            <a:spLocks noChangeAspect="1"/>
          </p:cNvSpPr>
          <p:nvPr>
            <p:custDataLst>
              <p:tags r:id="rId148"/>
            </p:custDataLst>
          </p:nvPr>
        </p:nvSpPr>
        <p:spPr bwMode="auto">
          <a:xfrm>
            <a:off x="6391275" y="3455988"/>
            <a:ext cx="161925" cy="339725"/>
          </a:xfrm>
          <a:custGeom>
            <a:avLst/>
            <a:gdLst>
              <a:gd name="T0" fmla="*/ 53975 w 207"/>
              <a:gd name="T1" fmla="*/ 0 h 383"/>
              <a:gd name="T2" fmla="*/ 53975 w 207"/>
              <a:gd name="T3" fmla="*/ 0 h 383"/>
              <a:gd name="T4" fmla="*/ 0 w 207"/>
              <a:gd name="T5" fmla="*/ 28384 h 383"/>
              <a:gd name="T6" fmla="*/ 0 w 207"/>
              <a:gd name="T7" fmla="*/ 57656 h 383"/>
              <a:gd name="T8" fmla="*/ 13298 w 207"/>
              <a:gd name="T9" fmla="*/ 100232 h 383"/>
              <a:gd name="T10" fmla="*/ 13298 w 207"/>
              <a:gd name="T11" fmla="*/ 126843 h 383"/>
              <a:gd name="T12" fmla="*/ 27379 w 207"/>
              <a:gd name="T13" fmla="*/ 156114 h 383"/>
              <a:gd name="T14" fmla="*/ 40677 w 207"/>
              <a:gd name="T15" fmla="*/ 198690 h 383"/>
              <a:gd name="T16" fmla="*/ 13298 w 207"/>
              <a:gd name="T17" fmla="*/ 254572 h 383"/>
              <a:gd name="T18" fmla="*/ 13298 w 207"/>
              <a:gd name="T19" fmla="*/ 270538 h 383"/>
              <a:gd name="T20" fmla="*/ 13298 w 207"/>
              <a:gd name="T21" fmla="*/ 283843 h 383"/>
              <a:gd name="T22" fmla="*/ 53975 w 207"/>
              <a:gd name="T23" fmla="*/ 326420 h 383"/>
              <a:gd name="T24" fmla="*/ 53975 w 207"/>
              <a:gd name="T25" fmla="*/ 313115 h 383"/>
              <a:gd name="T26" fmla="*/ 68055 w 207"/>
              <a:gd name="T27" fmla="*/ 326420 h 383"/>
              <a:gd name="T28" fmla="*/ 81354 w 207"/>
              <a:gd name="T29" fmla="*/ 339725 h 383"/>
              <a:gd name="T30" fmla="*/ 94652 w 207"/>
              <a:gd name="T31" fmla="*/ 326420 h 383"/>
              <a:gd name="T32" fmla="*/ 81354 w 207"/>
              <a:gd name="T33" fmla="*/ 313115 h 383"/>
              <a:gd name="T34" fmla="*/ 53975 w 207"/>
              <a:gd name="T35" fmla="*/ 313115 h 383"/>
              <a:gd name="T36" fmla="*/ 40677 w 207"/>
              <a:gd name="T37" fmla="*/ 254572 h 383"/>
              <a:gd name="T38" fmla="*/ 27379 w 207"/>
              <a:gd name="T39" fmla="*/ 254572 h 383"/>
              <a:gd name="T40" fmla="*/ 27379 w 207"/>
              <a:gd name="T41" fmla="*/ 241267 h 383"/>
              <a:gd name="T42" fmla="*/ 40677 w 207"/>
              <a:gd name="T43" fmla="*/ 198690 h 383"/>
              <a:gd name="T44" fmla="*/ 40677 w 207"/>
              <a:gd name="T45" fmla="*/ 169419 h 383"/>
              <a:gd name="T46" fmla="*/ 68055 w 207"/>
              <a:gd name="T47" fmla="*/ 169419 h 383"/>
              <a:gd name="T48" fmla="*/ 68055 w 207"/>
              <a:gd name="T49" fmla="*/ 185385 h 383"/>
              <a:gd name="T50" fmla="*/ 81354 w 207"/>
              <a:gd name="T51" fmla="*/ 185385 h 383"/>
              <a:gd name="T52" fmla="*/ 107950 w 207"/>
              <a:gd name="T53" fmla="*/ 211995 h 383"/>
              <a:gd name="T54" fmla="*/ 107950 w 207"/>
              <a:gd name="T55" fmla="*/ 198690 h 383"/>
              <a:gd name="T56" fmla="*/ 94652 w 207"/>
              <a:gd name="T57" fmla="*/ 169419 h 383"/>
              <a:gd name="T58" fmla="*/ 107950 w 207"/>
              <a:gd name="T59" fmla="*/ 142809 h 383"/>
              <a:gd name="T60" fmla="*/ 161925 w 207"/>
              <a:gd name="T61" fmla="*/ 142809 h 383"/>
              <a:gd name="T62" fmla="*/ 161925 w 207"/>
              <a:gd name="T63" fmla="*/ 113537 h 383"/>
              <a:gd name="T64" fmla="*/ 148627 w 207"/>
              <a:gd name="T65" fmla="*/ 100232 h 383"/>
              <a:gd name="T66" fmla="*/ 135329 w 207"/>
              <a:gd name="T67" fmla="*/ 70961 h 383"/>
              <a:gd name="T68" fmla="*/ 122030 w 207"/>
              <a:gd name="T69" fmla="*/ 42577 h 383"/>
              <a:gd name="T70" fmla="*/ 94652 w 207"/>
              <a:gd name="T71" fmla="*/ 57656 h 383"/>
              <a:gd name="T72" fmla="*/ 68055 w 207"/>
              <a:gd name="T73" fmla="*/ 70961 h 383"/>
              <a:gd name="T74" fmla="*/ 68055 w 207"/>
              <a:gd name="T75" fmla="*/ 28384 h 383"/>
              <a:gd name="T76" fmla="*/ 53975 w 207"/>
              <a:gd name="T77" fmla="*/ 15079 h 383"/>
              <a:gd name="T78" fmla="*/ 53975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chemeClr val="bg1"/>
          </a:solidFill>
          <a:ln w="9525">
            <a:solidFill>
              <a:schemeClr val="bg2"/>
            </a:solidFill>
            <a:round/>
            <a:headEnd/>
            <a:tailEnd/>
          </a:ln>
        </p:spPr>
        <p:txBody>
          <a:bodyPr/>
          <a:lstStyle/>
          <a:p>
            <a:endParaRPr lang="en-US" dirty="0"/>
          </a:p>
        </p:txBody>
      </p:sp>
      <p:sp>
        <p:nvSpPr>
          <p:cNvPr id="18608" name="Freeform 175"/>
          <p:cNvSpPr>
            <a:spLocks noChangeAspect="1"/>
          </p:cNvSpPr>
          <p:nvPr/>
        </p:nvSpPr>
        <p:spPr bwMode="auto">
          <a:xfrm>
            <a:off x="6200775" y="3273425"/>
            <a:ext cx="66675" cy="26988"/>
          </a:xfrm>
          <a:custGeom>
            <a:avLst/>
            <a:gdLst>
              <a:gd name="T0" fmla="*/ 54124 w 85"/>
              <a:gd name="T1" fmla="*/ 0 h 33"/>
              <a:gd name="T2" fmla="*/ 54124 w 85"/>
              <a:gd name="T3" fmla="*/ 0 h 33"/>
              <a:gd name="T4" fmla="*/ 14119 w 85"/>
              <a:gd name="T5" fmla="*/ 0 h 33"/>
              <a:gd name="T6" fmla="*/ 0 w 85"/>
              <a:gd name="T7" fmla="*/ 13085 h 33"/>
              <a:gd name="T8" fmla="*/ 0 w 85"/>
              <a:gd name="T9" fmla="*/ 26988 h 33"/>
              <a:gd name="T10" fmla="*/ 54124 w 85"/>
              <a:gd name="T11" fmla="*/ 26988 h 33"/>
              <a:gd name="T12" fmla="*/ 66675 w 85"/>
              <a:gd name="T13" fmla="*/ 26988 h 33"/>
              <a:gd name="T14" fmla="*/ 54124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chemeClr val="bg1"/>
          </a:solidFill>
          <a:ln w="9525">
            <a:solidFill>
              <a:schemeClr val="bg2"/>
            </a:solidFill>
            <a:round/>
            <a:headEnd/>
            <a:tailEnd/>
          </a:ln>
        </p:spPr>
        <p:txBody>
          <a:bodyPr/>
          <a:lstStyle/>
          <a:p>
            <a:endParaRPr lang="en-US" dirty="0"/>
          </a:p>
        </p:txBody>
      </p:sp>
      <p:sp>
        <p:nvSpPr>
          <p:cNvPr id="18609" name="Freeform 176"/>
          <p:cNvSpPr>
            <a:spLocks noChangeAspect="1"/>
          </p:cNvSpPr>
          <p:nvPr/>
        </p:nvSpPr>
        <p:spPr bwMode="auto">
          <a:xfrm>
            <a:off x="6010275" y="3217863"/>
            <a:ext cx="163513" cy="96837"/>
          </a:xfrm>
          <a:custGeom>
            <a:avLst/>
            <a:gdLst>
              <a:gd name="T0" fmla="*/ 14015 w 210"/>
              <a:gd name="T1" fmla="*/ 0 h 111"/>
              <a:gd name="T2" fmla="*/ 14015 w 210"/>
              <a:gd name="T3" fmla="*/ 0 h 111"/>
              <a:gd name="T4" fmla="*/ 0 w 210"/>
              <a:gd name="T5" fmla="*/ 41875 h 111"/>
              <a:gd name="T6" fmla="*/ 27252 w 210"/>
              <a:gd name="T7" fmla="*/ 54962 h 111"/>
              <a:gd name="T8" fmla="*/ 149498 w 210"/>
              <a:gd name="T9" fmla="*/ 96837 h 111"/>
              <a:gd name="T10" fmla="*/ 163513 w 210"/>
              <a:gd name="T11" fmla="*/ 96837 h 111"/>
              <a:gd name="T12" fmla="*/ 163513 w 210"/>
              <a:gd name="T13" fmla="*/ 83751 h 111"/>
              <a:gd name="T14" fmla="*/ 163513 w 210"/>
              <a:gd name="T15" fmla="*/ 54962 h 111"/>
              <a:gd name="T16" fmla="*/ 123024 w 210"/>
              <a:gd name="T17" fmla="*/ 54962 h 111"/>
              <a:gd name="T18" fmla="*/ 94215 w 210"/>
              <a:gd name="T19" fmla="*/ 41875 h 111"/>
              <a:gd name="T20" fmla="*/ 80978 w 210"/>
              <a:gd name="T21" fmla="*/ 27045 h 111"/>
              <a:gd name="T22" fmla="*/ 67741 w 210"/>
              <a:gd name="T23" fmla="*/ 27045 h 111"/>
              <a:gd name="T24" fmla="*/ 40489 w 210"/>
              <a:gd name="T25" fmla="*/ 0 h 111"/>
              <a:gd name="T26" fmla="*/ 1401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chemeClr val="bg1"/>
          </a:solidFill>
          <a:ln w="9525">
            <a:solidFill>
              <a:schemeClr val="bg2"/>
            </a:solidFill>
            <a:round/>
            <a:headEnd/>
            <a:tailEnd/>
          </a:ln>
        </p:spPr>
        <p:txBody>
          <a:bodyPr/>
          <a:lstStyle/>
          <a:p>
            <a:endParaRPr lang="en-US" dirty="0"/>
          </a:p>
        </p:txBody>
      </p:sp>
      <p:sp>
        <p:nvSpPr>
          <p:cNvPr id="18610" name="Freeform 177"/>
          <p:cNvSpPr>
            <a:spLocks noChangeAspect="1"/>
          </p:cNvSpPr>
          <p:nvPr/>
        </p:nvSpPr>
        <p:spPr bwMode="auto">
          <a:xfrm>
            <a:off x="7005638" y="2990850"/>
            <a:ext cx="68262" cy="111125"/>
          </a:xfrm>
          <a:custGeom>
            <a:avLst/>
            <a:gdLst>
              <a:gd name="T0" fmla="*/ 0 w 86"/>
              <a:gd name="T1" fmla="*/ 27781 h 128"/>
              <a:gd name="T2" fmla="*/ 0 w 86"/>
              <a:gd name="T3" fmla="*/ 27781 h 128"/>
              <a:gd name="T4" fmla="*/ 40481 w 86"/>
              <a:gd name="T5" fmla="*/ 0 h 128"/>
              <a:gd name="T6" fmla="*/ 54768 w 86"/>
              <a:gd name="T7" fmla="*/ 27781 h 128"/>
              <a:gd name="T8" fmla="*/ 68262 w 86"/>
              <a:gd name="T9" fmla="*/ 69453 h 128"/>
              <a:gd name="T10" fmla="*/ 54768 w 86"/>
              <a:gd name="T11" fmla="*/ 98103 h 128"/>
              <a:gd name="T12" fmla="*/ 0 w 86"/>
              <a:gd name="T13" fmla="*/ 111125 h 128"/>
              <a:gd name="T14" fmla="*/ 0 w 86"/>
              <a:gd name="T15" fmla="*/ 98103 h 128"/>
              <a:gd name="T16" fmla="*/ 0 w 86"/>
              <a:gd name="T17" fmla="*/ 83344 h 128"/>
              <a:gd name="T18" fmla="*/ 0 w 86"/>
              <a:gd name="T19" fmla="*/ 41672 h 128"/>
              <a:gd name="T20" fmla="*/ 0 w 86"/>
              <a:gd name="T21" fmla="*/ 27781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chemeClr val="bg1"/>
          </a:solidFill>
          <a:ln w="9525">
            <a:solidFill>
              <a:schemeClr val="bg2"/>
            </a:solidFill>
            <a:round/>
            <a:headEnd/>
            <a:tailEnd/>
          </a:ln>
        </p:spPr>
        <p:txBody>
          <a:bodyPr/>
          <a:lstStyle/>
          <a:p>
            <a:endParaRPr lang="en-US" dirty="0"/>
          </a:p>
        </p:txBody>
      </p:sp>
      <p:sp>
        <p:nvSpPr>
          <p:cNvPr id="18611" name="Freeform 178"/>
          <p:cNvSpPr>
            <a:spLocks noChangeAspect="1"/>
          </p:cNvSpPr>
          <p:nvPr/>
        </p:nvSpPr>
        <p:spPr bwMode="auto">
          <a:xfrm>
            <a:off x="6962775" y="2878138"/>
            <a:ext cx="138113" cy="139700"/>
          </a:xfrm>
          <a:custGeom>
            <a:avLst/>
            <a:gdLst>
              <a:gd name="T0" fmla="*/ 138113 w 172"/>
              <a:gd name="T1" fmla="*/ 0 h 159"/>
              <a:gd name="T2" fmla="*/ 138113 w 172"/>
              <a:gd name="T3" fmla="*/ 0 h 159"/>
              <a:gd name="T4" fmla="*/ 124462 w 172"/>
              <a:gd name="T5" fmla="*/ 0 h 159"/>
              <a:gd name="T6" fmla="*/ 97161 w 172"/>
              <a:gd name="T7" fmla="*/ 14058 h 159"/>
              <a:gd name="T8" fmla="*/ 82707 w 172"/>
              <a:gd name="T9" fmla="*/ 14058 h 159"/>
              <a:gd name="T10" fmla="*/ 69057 w 172"/>
              <a:gd name="T11" fmla="*/ 27237 h 159"/>
              <a:gd name="T12" fmla="*/ 55406 w 172"/>
              <a:gd name="T13" fmla="*/ 27237 h 159"/>
              <a:gd name="T14" fmla="*/ 0 w 172"/>
              <a:gd name="T15" fmla="*/ 69411 h 159"/>
              <a:gd name="T16" fmla="*/ 0 w 172"/>
              <a:gd name="T17" fmla="*/ 84347 h 159"/>
              <a:gd name="T18" fmla="*/ 13651 w 172"/>
              <a:gd name="T19" fmla="*/ 84347 h 159"/>
              <a:gd name="T20" fmla="*/ 0 w 172"/>
              <a:gd name="T21" fmla="*/ 126521 h 159"/>
              <a:gd name="T22" fmla="*/ 13651 w 172"/>
              <a:gd name="T23" fmla="*/ 139700 h 159"/>
              <a:gd name="T24" fmla="*/ 27301 w 172"/>
              <a:gd name="T25" fmla="*/ 139700 h 159"/>
              <a:gd name="T26" fmla="*/ 41755 w 172"/>
              <a:gd name="T27" fmla="*/ 139700 h 159"/>
              <a:gd name="T28" fmla="*/ 82707 w 172"/>
              <a:gd name="T29" fmla="*/ 111584 h 159"/>
              <a:gd name="T30" fmla="*/ 55406 w 172"/>
              <a:gd name="T31" fmla="*/ 98405 h 159"/>
              <a:gd name="T32" fmla="*/ 55406 w 172"/>
              <a:gd name="T33" fmla="*/ 84347 h 159"/>
              <a:gd name="T34" fmla="*/ 110812 w 172"/>
              <a:gd name="T35" fmla="*/ 56231 h 159"/>
              <a:gd name="T36" fmla="*/ 110812 w 172"/>
              <a:gd name="T37" fmla="*/ 27237 h 159"/>
              <a:gd name="T38" fmla="*/ 138113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chemeClr val="bg1"/>
          </a:solidFill>
          <a:ln w="9525">
            <a:solidFill>
              <a:schemeClr val="bg2"/>
            </a:solidFill>
            <a:prstDash val="solid"/>
            <a:round/>
            <a:headEnd/>
            <a:tailEnd/>
          </a:ln>
        </p:spPr>
        <p:txBody>
          <a:bodyPr/>
          <a:lstStyle/>
          <a:p>
            <a:endParaRPr lang="en-US" dirty="0"/>
          </a:p>
        </p:txBody>
      </p:sp>
      <p:sp>
        <p:nvSpPr>
          <p:cNvPr id="18612" name="Freeform 179"/>
          <p:cNvSpPr>
            <a:spLocks noChangeAspect="1"/>
          </p:cNvSpPr>
          <p:nvPr/>
        </p:nvSpPr>
        <p:spPr bwMode="auto">
          <a:xfrm>
            <a:off x="7073900" y="3116263"/>
            <a:ext cx="53975" cy="85725"/>
          </a:xfrm>
          <a:custGeom>
            <a:avLst/>
            <a:gdLst>
              <a:gd name="T0" fmla="*/ 0 w 69"/>
              <a:gd name="T1" fmla="*/ 15180 h 96"/>
              <a:gd name="T2" fmla="*/ 0 w 69"/>
              <a:gd name="T3" fmla="*/ 15180 h 96"/>
              <a:gd name="T4" fmla="*/ 0 w 69"/>
              <a:gd name="T5" fmla="*/ 28575 h 96"/>
              <a:gd name="T6" fmla="*/ 13298 w 69"/>
              <a:gd name="T7" fmla="*/ 28575 h 96"/>
              <a:gd name="T8" fmla="*/ 13298 w 69"/>
              <a:gd name="T9" fmla="*/ 71438 h 96"/>
              <a:gd name="T10" fmla="*/ 26596 w 69"/>
              <a:gd name="T11" fmla="*/ 85725 h 96"/>
              <a:gd name="T12" fmla="*/ 40677 w 69"/>
              <a:gd name="T13" fmla="*/ 71438 h 96"/>
              <a:gd name="T14" fmla="*/ 53975 w 69"/>
              <a:gd name="T15" fmla="*/ 28575 h 96"/>
              <a:gd name="T16" fmla="*/ 40677 w 69"/>
              <a:gd name="T17" fmla="*/ 15180 h 96"/>
              <a:gd name="T18" fmla="*/ 13298 w 69"/>
              <a:gd name="T19" fmla="*/ 0 h 96"/>
              <a:gd name="T20" fmla="*/ 0 w 69"/>
              <a:gd name="T21" fmla="*/ 1518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rgbClr val="000080"/>
          </a:solidFill>
          <a:ln w="9525">
            <a:solidFill>
              <a:schemeClr val="bg2"/>
            </a:solidFill>
            <a:prstDash val="solid"/>
            <a:round/>
            <a:headEnd/>
            <a:tailEnd/>
          </a:ln>
        </p:spPr>
        <p:txBody>
          <a:bodyPr/>
          <a:lstStyle/>
          <a:p>
            <a:endParaRPr lang="en-US" dirty="0"/>
          </a:p>
        </p:txBody>
      </p:sp>
      <p:sp>
        <p:nvSpPr>
          <p:cNvPr id="18613" name="Freeform 180"/>
          <p:cNvSpPr>
            <a:spLocks noChangeAspect="1"/>
          </p:cNvSpPr>
          <p:nvPr/>
        </p:nvSpPr>
        <p:spPr bwMode="auto">
          <a:xfrm>
            <a:off x="7127875" y="3116263"/>
            <a:ext cx="57150" cy="30162"/>
          </a:xfrm>
          <a:custGeom>
            <a:avLst/>
            <a:gdLst>
              <a:gd name="T0" fmla="*/ 0 w 71"/>
              <a:gd name="T1" fmla="*/ 16024 h 32"/>
              <a:gd name="T2" fmla="*/ 0 w 71"/>
              <a:gd name="T3" fmla="*/ 16024 h 32"/>
              <a:gd name="T4" fmla="*/ 0 w 71"/>
              <a:gd name="T5" fmla="*/ 30162 h 32"/>
              <a:gd name="T6" fmla="*/ 13684 w 71"/>
              <a:gd name="T7" fmla="*/ 30162 h 32"/>
              <a:gd name="T8" fmla="*/ 28173 w 71"/>
              <a:gd name="T9" fmla="*/ 16024 h 32"/>
              <a:gd name="T10" fmla="*/ 43466 w 71"/>
              <a:gd name="T11" fmla="*/ 16024 h 32"/>
              <a:gd name="T12" fmla="*/ 57150 w 71"/>
              <a:gd name="T13" fmla="*/ 0 h 32"/>
              <a:gd name="T14" fmla="*/ 28173 w 71"/>
              <a:gd name="T15" fmla="*/ 0 h 32"/>
              <a:gd name="T16" fmla="*/ 0 w 71"/>
              <a:gd name="T17" fmla="*/ 16024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rgbClr val="000080"/>
          </a:solidFill>
          <a:ln w="9525">
            <a:solidFill>
              <a:schemeClr val="bg2"/>
            </a:solidFill>
            <a:prstDash val="solid"/>
            <a:round/>
            <a:headEnd/>
            <a:tailEnd/>
          </a:ln>
        </p:spPr>
        <p:txBody>
          <a:bodyPr/>
          <a:lstStyle/>
          <a:p>
            <a:endParaRPr lang="en-US" dirty="0"/>
          </a:p>
        </p:txBody>
      </p:sp>
      <p:sp>
        <p:nvSpPr>
          <p:cNvPr id="18614" name="Freeform 181"/>
          <p:cNvSpPr>
            <a:spLocks noChangeAspect="1"/>
          </p:cNvSpPr>
          <p:nvPr/>
        </p:nvSpPr>
        <p:spPr bwMode="auto">
          <a:xfrm>
            <a:off x="7104063" y="2906713"/>
            <a:ext cx="231775" cy="227012"/>
          </a:xfrm>
          <a:custGeom>
            <a:avLst/>
            <a:gdLst>
              <a:gd name="T0" fmla="*/ 0 w 294"/>
              <a:gd name="T1" fmla="*/ 197863 h 257"/>
              <a:gd name="T2" fmla="*/ 0 w 294"/>
              <a:gd name="T3" fmla="*/ 197863 h 257"/>
              <a:gd name="T4" fmla="*/ 0 w 294"/>
              <a:gd name="T5" fmla="*/ 211996 h 257"/>
              <a:gd name="T6" fmla="*/ 27592 w 294"/>
              <a:gd name="T7" fmla="*/ 211996 h 257"/>
              <a:gd name="T8" fmla="*/ 81988 w 294"/>
              <a:gd name="T9" fmla="*/ 184613 h 257"/>
              <a:gd name="T10" fmla="*/ 95390 w 294"/>
              <a:gd name="T11" fmla="*/ 197863 h 257"/>
              <a:gd name="T12" fmla="*/ 95390 w 294"/>
              <a:gd name="T13" fmla="*/ 211996 h 257"/>
              <a:gd name="T14" fmla="*/ 109581 w 294"/>
              <a:gd name="T15" fmla="*/ 227012 h 257"/>
              <a:gd name="T16" fmla="*/ 122983 w 294"/>
              <a:gd name="T17" fmla="*/ 197863 h 257"/>
              <a:gd name="T18" fmla="*/ 122983 w 294"/>
              <a:gd name="T19" fmla="*/ 184613 h 257"/>
              <a:gd name="T20" fmla="*/ 136385 w 294"/>
              <a:gd name="T21" fmla="*/ 197863 h 257"/>
              <a:gd name="T22" fmla="*/ 149787 w 294"/>
              <a:gd name="T23" fmla="*/ 197863 h 257"/>
              <a:gd name="T24" fmla="*/ 163977 w 294"/>
              <a:gd name="T25" fmla="*/ 184613 h 257"/>
              <a:gd name="T26" fmla="*/ 177379 w 294"/>
              <a:gd name="T27" fmla="*/ 197863 h 257"/>
              <a:gd name="T28" fmla="*/ 177379 w 294"/>
              <a:gd name="T29" fmla="*/ 184613 h 257"/>
              <a:gd name="T30" fmla="*/ 190781 w 294"/>
              <a:gd name="T31" fmla="*/ 169596 h 257"/>
              <a:gd name="T32" fmla="*/ 190781 w 294"/>
              <a:gd name="T33" fmla="*/ 184613 h 257"/>
              <a:gd name="T34" fmla="*/ 204971 w 294"/>
              <a:gd name="T35" fmla="*/ 184613 h 257"/>
              <a:gd name="T36" fmla="*/ 218373 w 294"/>
              <a:gd name="T37" fmla="*/ 169596 h 257"/>
              <a:gd name="T38" fmla="*/ 218373 w 294"/>
              <a:gd name="T39" fmla="*/ 99815 h 257"/>
              <a:gd name="T40" fmla="*/ 231775 w 294"/>
              <a:gd name="T41" fmla="*/ 99815 h 257"/>
              <a:gd name="T42" fmla="*/ 231775 w 294"/>
              <a:gd name="T43" fmla="*/ 71549 h 257"/>
              <a:gd name="T44" fmla="*/ 231775 w 294"/>
              <a:gd name="T45" fmla="*/ 15016 h 257"/>
              <a:gd name="T46" fmla="*/ 218373 w 294"/>
              <a:gd name="T47" fmla="*/ 0 h 257"/>
              <a:gd name="T48" fmla="*/ 218373 w 294"/>
              <a:gd name="T49" fmla="*/ 15016 h 257"/>
              <a:gd name="T50" fmla="*/ 204971 w 294"/>
              <a:gd name="T51" fmla="*/ 15016 h 257"/>
              <a:gd name="T52" fmla="*/ 190781 w 294"/>
              <a:gd name="T53" fmla="*/ 71549 h 257"/>
              <a:gd name="T54" fmla="*/ 163977 w 294"/>
              <a:gd name="T55" fmla="*/ 113064 h 257"/>
              <a:gd name="T56" fmla="*/ 136385 w 294"/>
              <a:gd name="T57" fmla="*/ 142214 h 257"/>
              <a:gd name="T58" fmla="*/ 136385 w 294"/>
              <a:gd name="T59" fmla="*/ 113064 h 257"/>
              <a:gd name="T60" fmla="*/ 122983 w 294"/>
              <a:gd name="T61" fmla="*/ 127197 h 257"/>
              <a:gd name="T62" fmla="*/ 109581 w 294"/>
              <a:gd name="T63" fmla="*/ 169596 h 257"/>
              <a:gd name="T64" fmla="*/ 95390 w 294"/>
              <a:gd name="T65" fmla="*/ 169596 h 257"/>
              <a:gd name="T66" fmla="*/ 40994 w 294"/>
              <a:gd name="T67" fmla="*/ 169596 h 257"/>
              <a:gd name="T68" fmla="*/ 0 w 294"/>
              <a:gd name="T69" fmla="*/ 19786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rgbClr val="000080"/>
          </a:solidFill>
          <a:ln w="9525">
            <a:solidFill>
              <a:schemeClr val="bg2"/>
            </a:solidFill>
            <a:prstDash val="solid"/>
            <a:round/>
            <a:headEnd/>
            <a:tailEnd/>
          </a:ln>
        </p:spPr>
        <p:txBody>
          <a:bodyPr/>
          <a:lstStyle/>
          <a:p>
            <a:endParaRPr lang="en-US" dirty="0"/>
          </a:p>
        </p:txBody>
      </p:sp>
      <p:sp>
        <p:nvSpPr>
          <p:cNvPr id="18615" name="Freeform 182"/>
          <p:cNvSpPr>
            <a:spLocks noChangeAspect="1"/>
          </p:cNvSpPr>
          <p:nvPr/>
        </p:nvSpPr>
        <p:spPr bwMode="auto">
          <a:xfrm>
            <a:off x="7292975" y="2778125"/>
            <a:ext cx="136525" cy="128588"/>
          </a:xfrm>
          <a:custGeom>
            <a:avLst/>
            <a:gdLst>
              <a:gd name="T0" fmla="*/ 0 w 173"/>
              <a:gd name="T1" fmla="*/ 100906 h 144"/>
              <a:gd name="T2" fmla="*/ 0 w 173"/>
              <a:gd name="T3" fmla="*/ 100906 h 144"/>
              <a:gd name="T4" fmla="*/ 0 w 173"/>
              <a:gd name="T5" fmla="*/ 128588 h 144"/>
              <a:gd name="T6" fmla="*/ 27621 w 173"/>
              <a:gd name="T7" fmla="*/ 115193 h 144"/>
              <a:gd name="T8" fmla="*/ 14205 w 173"/>
              <a:gd name="T9" fmla="*/ 115193 h 144"/>
              <a:gd name="T10" fmla="*/ 14205 w 173"/>
              <a:gd name="T11" fmla="*/ 100906 h 144"/>
              <a:gd name="T12" fmla="*/ 27621 w 173"/>
              <a:gd name="T13" fmla="*/ 100906 h 144"/>
              <a:gd name="T14" fmla="*/ 41036 w 173"/>
              <a:gd name="T15" fmla="*/ 100906 h 144"/>
              <a:gd name="T16" fmla="*/ 82073 w 173"/>
              <a:gd name="T17" fmla="*/ 115193 h 144"/>
              <a:gd name="T18" fmla="*/ 95489 w 173"/>
              <a:gd name="T19" fmla="*/ 85725 h 144"/>
              <a:gd name="T20" fmla="*/ 109694 w 173"/>
              <a:gd name="T21" fmla="*/ 85725 h 144"/>
              <a:gd name="T22" fmla="*/ 136525 w 173"/>
              <a:gd name="T23" fmla="*/ 72331 h 144"/>
              <a:gd name="T24" fmla="*/ 123109 w 173"/>
              <a:gd name="T25" fmla="*/ 72331 h 144"/>
              <a:gd name="T26" fmla="*/ 109694 w 173"/>
              <a:gd name="T27" fmla="*/ 58043 h 144"/>
              <a:gd name="T28" fmla="*/ 123109 w 173"/>
              <a:gd name="T29" fmla="*/ 42863 h 144"/>
              <a:gd name="T30" fmla="*/ 109694 w 173"/>
              <a:gd name="T31" fmla="*/ 58043 h 144"/>
              <a:gd name="T32" fmla="*/ 82073 w 173"/>
              <a:gd name="T33" fmla="*/ 42863 h 144"/>
              <a:gd name="T34" fmla="*/ 41036 w 173"/>
              <a:gd name="T35" fmla="*/ 0 h 144"/>
              <a:gd name="T36" fmla="*/ 41036 w 173"/>
              <a:gd name="T37" fmla="*/ 15181 h 144"/>
              <a:gd name="T38" fmla="*/ 41036 w 173"/>
              <a:gd name="T39" fmla="*/ 29468 h 144"/>
              <a:gd name="T40" fmla="*/ 27621 w 173"/>
              <a:gd name="T41" fmla="*/ 85725 h 144"/>
              <a:gd name="T42" fmla="*/ 14205 w 173"/>
              <a:gd name="T43" fmla="*/ 72331 h 144"/>
              <a:gd name="T44" fmla="*/ 14205 w 173"/>
              <a:gd name="T45" fmla="*/ 85725 h 144"/>
              <a:gd name="T46" fmla="*/ 0 w 173"/>
              <a:gd name="T47" fmla="*/ 100906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000080"/>
          </a:solidFill>
          <a:ln w="9525">
            <a:solidFill>
              <a:schemeClr val="bg2"/>
            </a:solidFill>
            <a:round/>
            <a:headEnd/>
            <a:tailEnd/>
          </a:ln>
        </p:spPr>
        <p:txBody>
          <a:bodyPr/>
          <a:lstStyle/>
          <a:p>
            <a:endParaRPr lang="en-US" dirty="0"/>
          </a:p>
        </p:txBody>
      </p:sp>
      <p:sp>
        <p:nvSpPr>
          <p:cNvPr id="18616" name="Freeform 183"/>
          <p:cNvSpPr>
            <a:spLocks noChangeAspect="1"/>
          </p:cNvSpPr>
          <p:nvPr/>
        </p:nvSpPr>
        <p:spPr bwMode="auto">
          <a:xfrm>
            <a:off x="7621588" y="2606675"/>
            <a:ext cx="25400" cy="30163"/>
          </a:xfrm>
          <a:custGeom>
            <a:avLst/>
            <a:gdLst>
              <a:gd name="T0" fmla="*/ 0 w 35"/>
              <a:gd name="T1" fmla="*/ 15539 h 33"/>
              <a:gd name="T2" fmla="*/ 0 w 35"/>
              <a:gd name="T3" fmla="*/ 15539 h 33"/>
              <a:gd name="T4" fmla="*/ 0 w 35"/>
              <a:gd name="T5" fmla="*/ 30163 h 33"/>
              <a:gd name="T6" fmla="*/ 12337 w 35"/>
              <a:gd name="T7" fmla="*/ 15539 h 33"/>
              <a:gd name="T8" fmla="*/ 25400 w 35"/>
              <a:gd name="T9" fmla="*/ 0 h 33"/>
              <a:gd name="T10" fmla="*/ 0 w 35"/>
              <a:gd name="T11" fmla="*/ 15539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chemeClr val="accent1"/>
          </a:solidFill>
          <a:ln w="9525">
            <a:solidFill>
              <a:schemeClr val="bg2"/>
            </a:solidFill>
            <a:prstDash val="solid"/>
            <a:round/>
            <a:headEnd/>
            <a:tailEnd/>
          </a:ln>
        </p:spPr>
        <p:txBody>
          <a:bodyPr/>
          <a:lstStyle/>
          <a:p>
            <a:endParaRPr lang="en-US" dirty="0"/>
          </a:p>
        </p:txBody>
      </p:sp>
      <p:sp>
        <p:nvSpPr>
          <p:cNvPr id="18617" name="Freeform 184"/>
          <p:cNvSpPr>
            <a:spLocks noChangeAspect="1"/>
          </p:cNvSpPr>
          <p:nvPr/>
        </p:nvSpPr>
        <p:spPr bwMode="auto">
          <a:xfrm>
            <a:off x="7335838" y="2481263"/>
            <a:ext cx="52387" cy="296862"/>
          </a:xfrm>
          <a:custGeom>
            <a:avLst/>
            <a:gdLst>
              <a:gd name="T0" fmla="*/ 0 w 69"/>
              <a:gd name="T1" fmla="*/ 29156 h 336"/>
              <a:gd name="T2" fmla="*/ 0 w 69"/>
              <a:gd name="T3" fmla="*/ 29156 h 336"/>
              <a:gd name="T4" fmla="*/ 0 w 69"/>
              <a:gd name="T5" fmla="*/ 99838 h 336"/>
              <a:gd name="T6" fmla="*/ 12907 w 69"/>
              <a:gd name="T7" fmla="*/ 113974 h 336"/>
              <a:gd name="T8" fmla="*/ 0 w 69"/>
              <a:gd name="T9" fmla="*/ 198791 h 336"/>
              <a:gd name="T10" fmla="*/ 12907 w 69"/>
              <a:gd name="T11" fmla="*/ 227064 h 336"/>
              <a:gd name="T12" fmla="*/ 0 w 69"/>
              <a:gd name="T13" fmla="*/ 269473 h 336"/>
              <a:gd name="T14" fmla="*/ 12907 w 69"/>
              <a:gd name="T15" fmla="*/ 296862 h 336"/>
              <a:gd name="T16" fmla="*/ 12907 w 69"/>
              <a:gd name="T17" fmla="*/ 269473 h 336"/>
              <a:gd name="T18" fmla="*/ 39480 w 69"/>
              <a:gd name="T19" fmla="*/ 283609 h 336"/>
              <a:gd name="T20" fmla="*/ 39480 w 69"/>
              <a:gd name="T21" fmla="*/ 269473 h 336"/>
              <a:gd name="T22" fmla="*/ 12907 w 69"/>
              <a:gd name="T23" fmla="*/ 227064 h 336"/>
              <a:gd name="T24" fmla="*/ 26573 w 69"/>
              <a:gd name="T25" fmla="*/ 184655 h 336"/>
              <a:gd name="T26" fmla="*/ 39480 w 69"/>
              <a:gd name="T27" fmla="*/ 184655 h 336"/>
              <a:gd name="T28" fmla="*/ 52387 w 69"/>
              <a:gd name="T29" fmla="*/ 184655 h 336"/>
              <a:gd name="T30" fmla="*/ 26573 w 69"/>
              <a:gd name="T31" fmla="*/ 84818 h 336"/>
              <a:gd name="T32" fmla="*/ 26573 w 69"/>
              <a:gd name="T33" fmla="*/ 15020 h 336"/>
              <a:gd name="T34" fmla="*/ 26573 w 69"/>
              <a:gd name="T35" fmla="*/ 0 h 336"/>
              <a:gd name="T36" fmla="*/ 12907 w 69"/>
              <a:gd name="T37" fmla="*/ 0 h 336"/>
              <a:gd name="T38" fmla="*/ 12907 w 69"/>
              <a:gd name="T39" fmla="*/ 15020 h 336"/>
              <a:gd name="T40" fmla="*/ 0 w 69"/>
              <a:gd name="T41" fmla="*/ 29156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rgbClr val="000080"/>
          </a:solidFill>
          <a:ln w="9525">
            <a:solidFill>
              <a:schemeClr val="bg2"/>
            </a:solidFill>
            <a:prstDash val="solid"/>
            <a:round/>
            <a:headEnd/>
            <a:tailEnd/>
          </a:ln>
        </p:spPr>
        <p:txBody>
          <a:bodyPr/>
          <a:lstStyle/>
          <a:p>
            <a:endParaRPr lang="en-US" dirty="0"/>
          </a:p>
        </p:txBody>
      </p:sp>
      <p:sp>
        <p:nvSpPr>
          <p:cNvPr id="18618" name="Line 185"/>
          <p:cNvSpPr>
            <a:spLocks noChangeAspect="1" noChangeShapeType="1"/>
          </p:cNvSpPr>
          <p:nvPr/>
        </p:nvSpPr>
        <p:spPr bwMode="auto">
          <a:xfrm flipV="1">
            <a:off x="7504113" y="2770188"/>
            <a:ext cx="26987" cy="42862"/>
          </a:xfrm>
          <a:prstGeom prst="line">
            <a:avLst/>
          </a:prstGeom>
          <a:noFill/>
          <a:ln w="9525">
            <a:solidFill>
              <a:schemeClr val="bg2"/>
            </a:solidFill>
            <a:round/>
            <a:headEnd/>
            <a:tailEnd/>
          </a:ln>
        </p:spPr>
        <p:txBody>
          <a:bodyPr/>
          <a:lstStyle/>
          <a:p>
            <a:endParaRPr lang="en-US" dirty="0"/>
          </a:p>
        </p:txBody>
      </p:sp>
      <p:sp>
        <p:nvSpPr>
          <p:cNvPr id="18619" name="Freeform 186"/>
          <p:cNvSpPr>
            <a:spLocks noChangeAspect="1"/>
          </p:cNvSpPr>
          <p:nvPr/>
        </p:nvSpPr>
        <p:spPr bwMode="auto">
          <a:xfrm>
            <a:off x="5872163" y="2509838"/>
            <a:ext cx="1312862" cy="946150"/>
          </a:xfrm>
          <a:custGeom>
            <a:avLst/>
            <a:gdLst>
              <a:gd name="T0" fmla="*/ 301390 w 1664"/>
              <a:gd name="T1" fmla="*/ 155483 h 1071"/>
              <a:gd name="T2" fmla="*/ 369242 w 1664"/>
              <a:gd name="T3" fmla="*/ 225274 h 1071"/>
              <a:gd name="T4" fmla="*/ 492323 w 1664"/>
              <a:gd name="T5" fmla="*/ 352487 h 1071"/>
              <a:gd name="T6" fmla="*/ 669055 w 1664"/>
              <a:gd name="T7" fmla="*/ 394892 h 1071"/>
              <a:gd name="T8" fmla="*/ 820539 w 1664"/>
              <a:gd name="T9" fmla="*/ 325101 h 1071"/>
              <a:gd name="T10" fmla="*/ 861566 w 1664"/>
              <a:gd name="T11" fmla="*/ 296831 h 1071"/>
              <a:gd name="T12" fmla="*/ 983858 w 1664"/>
              <a:gd name="T13" fmla="*/ 240292 h 1071"/>
              <a:gd name="T14" fmla="*/ 929418 w 1664"/>
              <a:gd name="T15" fmla="*/ 212022 h 1071"/>
              <a:gd name="T16" fmla="*/ 916005 w 1664"/>
              <a:gd name="T17" fmla="*/ 127213 h 1071"/>
              <a:gd name="T18" fmla="*/ 998059 w 1664"/>
              <a:gd name="T19" fmla="*/ 70674 h 1071"/>
              <a:gd name="T20" fmla="*/ 998059 w 1664"/>
              <a:gd name="T21" fmla="*/ 42404 h 1071"/>
              <a:gd name="T22" fmla="*/ 1106938 w 1664"/>
              <a:gd name="T23" fmla="*/ 13251 h 1071"/>
              <a:gd name="T24" fmla="*/ 1188992 w 1664"/>
              <a:gd name="T25" fmla="*/ 140465 h 1071"/>
              <a:gd name="T26" fmla="*/ 1258422 w 1664"/>
              <a:gd name="T27" fmla="*/ 197888 h 1071"/>
              <a:gd name="T28" fmla="*/ 1271835 w 1664"/>
              <a:gd name="T29" fmla="*/ 296831 h 1071"/>
              <a:gd name="T30" fmla="*/ 1245010 w 1664"/>
              <a:gd name="T31" fmla="*/ 339236 h 1071"/>
              <a:gd name="T32" fmla="*/ 1188992 w 1664"/>
              <a:gd name="T33" fmla="*/ 381640 h 1071"/>
              <a:gd name="T34" fmla="*/ 1147965 w 1664"/>
              <a:gd name="T35" fmla="*/ 394892 h 1071"/>
              <a:gd name="T36" fmla="*/ 1065911 w 1664"/>
              <a:gd name="T37" fmla="*/ 452314 h 1071"/>
              <a:gd name="T38" fmla="*/ 1024885 w 1664"/>
              <a:gd name="T39" fmla="*/ 452314 h 1071"/>
              <a:gd name="T40" fmla="*/ 983858 w 1664"/>
              <a:gd name="T41" fmla="*/ 452314 h 1071"/>
              <a:gd name="T42" fmla="*/ 943620 w 1664"/>
              <a:gd name="T43" fmla="*/ 479701 h 1071"/>
              <a:gd name="T44" fmla="*/ 1052499 w 1664"/>
              <a:gd name="T45" fmla="*/ 522105 h 1071"/>
              <a:gd name="T46" fmla="*/ 1011472 w 1664"/>
              <a:gd name="T47" fmla="*/ 537123 h 1071"/>
              <a:gd name="T48" fmla="*/ 1011472 w 1664"/>
              <a:gd name="T49" fmla="*/ 649319 h 1071"/>
              <a:gd name="T50" fmla="*/ 1039086 w 1664"/>
              <a:gd name="T51" fmla="*/ 691723 h 1071"/>
              <a:gd name="T52" fmla="*/ 1024885 w 1664"/>
              <a:gd name="T53" fmla="*/ 762397 h 1071"/>
              <a:gd name="T54" fmla="*/ 983858 w 1664"/>
              <a:gd name="T55" fmla="*/ 818936 h 1071"/>
              <a:gd name="T56" fmla="*/ 957032 w 1664"/>
              <a:gd name="T57" fmla="*/ 861341 h 1071"/>
              <a:gd name="T58" fmla="*/ 874978 w 1664"/>
              <a:gd name="T59" fmla="*/ 903745 h 1071"/>
              <a:gd name="T60" fmla="*/ 848153 w 1664"/>
              <a:gd name="T61" fmla="*/ 903745 h 1071"/>
              <a:gd name="T62" fmla="*/ 779512 w 1664"/>
              <a:gd name="T63" fmla="*/ 918764 h 1071"/>
              <a:gd name="T64" fmla="*/ 710082 w 1664"/>
              <a:gd name="T65" fmla="*/ 918764 h 1071"/>
              <a:gd name="T66" fmla="*/ 628028 w 1664"/>
              <a:gd name="T67" fmla="*/ 903745 h 1071"/>
              <a:gd name="T68" fmla="*/ 601202 w 1664"/>
              <a:gd name="T69" fmla="*/ 903745 h 1071"/>
              <a:gd name="T70" fmla="*/ 587790 w 1664"/>
              <a:gd name="T71" fmla="*/ 918764 h 1071"/>
              <a:gd name="T72" fmla="*/ 546763 w 1664"/>
              <a:gd name="T73" fmla="*/ 889611 h 1071"/>
              <a:gd name="T74" fmla="*/ 519149 w 1664"/>
              <a:gd name="T75" fmla="*/ 861341 h 1071"/>
              <a:gd name="T76" fmla="*/ 505736 w 1664"/>
              <a:gd name="T77" fmla="*/ 762397 h 1071"/>
              <a:gd name="T78" fmla="*/ 382655 w 1664"/>
              <a:gd name="T79" fmla="*/ 762397 h 1071"/>
              <a:gd name="T80" fmla="*/ 314803 w 1664"/>
              <a:gd name="T81" fmla="*/ 762397 h 1071"/>
              <a:gd name="T82" fmla="*/ 232749 w 1664"/>
              <a:gd name="T83" fmla="*/ 749146 h 1071"/>
              <a:gd name="T84" fmla="*/ 176731 w 1664"/>
              <a:gd name="T85" fmla="*/ 706741 h 1071"/>
              <a:gd name="T86" fmla="*/ 95467 w 1664"/>
              <a:gd name="T87" fmla="*/ 649319 h 1071"/>
              <a:gd name="T88" fmla="*/ 135704 w 1664"/>
              <a:gd name="T89" fmla="*/ 592779 h 1071"/>
              <a:gd name="T90" fmla="*/ 81265 w 1664"/>
              <a:gd name="T91" fmla="*/ 564510 h 1071"/>
              <a:gd name="T92" fmla="*/ 13413 w 1664"/>
              <a:gd name="T93" fmla="*/ 522105 h 1071"/>
              <a:gd name="T94" fmla="*/ 0 w 1664"/>
              <a:gd name="T95" fmla="*/ 479701 h 1071"/>
              <a:gd name="T96" fmla="*/ 54440 w 1664"/>
              <a:gd name="T97" fmla="*/ 424045 h 1071"/>
              <a:gd name="T98" fmla="*/ 135704 w 1664"/>
              <a:gd name="T99" fmla="*/ 381640 h 1071"/>
              <a:gd name="T100" fmla="*/ 135704 w 1664"/>
              <a:gd name="T101" fmla="*/ 282697 h 1071"/>
              <a:gd name="T102" fmla="*/ 232749 w 1664"/>
              <a:gd name="T103" fmla="*/ 225274 h 1071"/>
              <a:gd name="T104" fmla="*/ 273776 w 1664"/>
              <a:gd name="T105" fmla="*/ 169618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000080"/>
          </a:solidFill>
          <a:ln w="9525">
            <a:solidFill>
              <a:schemeClr val="bg2"/>
            </a:solidFill>
            <a:round/>
            <a:headEnd/>
            <a:tailEnd/>
          </a:ln>
        </p:spPr>
        <p:txBody>
          <a:bodyPr/>
          <a:lstStyle/>
          <a:p>
            <a:endParaRPr lang="en-US" dirty="0"/>
          </a:p>
        </p:txBody>
      </p:sp>
      <p:sp>
        <p:nvSpPr>
          <p:cNvPr id="18620" name="Freeform 187"/>
          <p:cNvSpPr>
            <a:spLocks noChangeAspect="1"/>
          </p:cNvSpPr>
          <p:nvPr/>
        </p:nvSpPr>
        <p:spPr bwMode="auto">
          <a:xfrm>
            <a:off x="7443788" y="2778125"/>
            <a:ext cx="41275" cy="41275"/>
          </a:xfrm>
          <a:custGeom>
            <a:avLst/>
            <a:gdLst>
              <a:gd name="T0" fmla="*/ 0 w 52"/>
              <a:gd name="T1" fmla="*/ 41275 h 48"/>
              <a:gd name="T2" fmla="*/ 0 w 52"/>
              <a:gd name="T3" fmla="*/ 41275 h 48"/>
              <a:gd name="T4" fmla="*/ 41275 w 52"/>
              <a:gd name="T5" fmla="*/ 0 h 48"/>
              <a:gd name="T6" fmla="*/ 27781 w 52"/>
              <a:gd name="T7" fmla="*/ 14618 h 48"/>
              <a:gd name="T8" fmla="*/ 0 w 52"/>
              <a:gd name="T9" fmla="*/ 4127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000080"/>
          </a:solidFill>
          <a:ln w="9525">
            <a:solidFill>
              <a:schemeClr val="bg2"/>
            </a:solidFill>
            <a:prstDash val="solid"/>
            <a:round/>
            <a:headEnd/>
            <a:tailEnd/>
          </a:ln>
        </p:spPr>
        <p:txBody>
          <a:bodyPr/>
          <a:lstStyle/>
          <a:p>
            <a:endParaRPr lang="en-US" dirty="0"/>
          </a:p>
        </p:txBody>
      </p:sp>
      <p:sp>
        <p:nvSpPr>
          <p:cNvPr id="18621" name="Line 188"/>
          <p:cNvSpPr>
            <a:spLocks noChangeAspect="1" noChangeShapeType="1"/>
          </p:cNvSpPr>
          <p:nvPr/>
        </p:nvSpPr>
        <p:spPr bwMode="auto">
          <a:xfrm flipV="1">
            <a:off x="7421563" y="2828925"/>
            <a:ext cx="15875" cy="41275"/>
          </a:xfrm>
          <a:prstGeom prst="line">
            <a:avLst/>
          </a:prstGeom>
          <a:noFill/>
          <a:ln w="9525">
            <a:solidFill>
              <a:schemeClr val="bg2"/>
            </a:solidFill>
            <a:round/>
            <a:headEnd/>
            <a:tailEnd/>
          </a:ln>
        </p:spPr>
        <p:txBody>
          <a:bodyPr/>
          <a:lstStyle/>
          <a:p>
            <a:endParaRPr lang="en-US" dirty="0"/>
          </a:p>
        </p:txBody>
      </p:sp>
      <p:sp>
        <p:nvSpPr>
          <p:cNvPr id="18622" name="Freeform 189"/>
          <p:cNvSpPr>
            <a:spLocks noChangeAspect="1"/>
          </p:cNvSpPr>
          <p:nvPr/>
        </p:nvSpPr>
        <p:spPr bwMode="auto">
          <a:xfrm>
            <a:off x="7237413" y="2454275"/>
            <a:ext cx="12700" cy="14288"/>
          </a:xfrm>
          <a:custGeom>
            <a:avLst/>
            <a:gdLst>
              <a:gd name="T0" fmla="*/ 0 w 18"/>
              <a:gd name="T1" fmla="*/ 0 h 15"/>
              <a:gd name="T2" fmla="*/ 0 w 18"/>
              <a:gd name="T3" fmla="*/ 0 h 15"/>
              <a:gd name="T4" fmla="*/ 12700 w 18"/>
              <a:gd name="T5" fmla="*/ 14288 h 15"/>
              <a:gd name="T6" fmla="*/ 1270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623" name="Freeform 190"/>
          <p:cNvSpPr>
            <a:spLocks noChangeAspect="1"/>
          </p:cNvSpPr>
          <p:nvPr/>
        </p:nvSpPr>
        <p:spPr bwMode="auto">
          <a:xfrm>
            <a:off x="6172200" y="2565400"/>
            <a:ext cx="682625" cy="341313"/>
          </a:xfrm>
          <a:custGeom>
            <a:avLst/>
            <a:gdLst>
              <a:gd name="T0" fmla="*/ 450359 w 867"/>
              <a:gd name="T1" fmla="*/ 85328 h 384"/>
              <a:gd name="T2" fmla="*/ 450359 w 867"/>
              <a:gd name="T3" fmla="*/ 85328 h 384"/>
              <a:gd name="T4" fmla="*/ 368476 w 867"/>
              <a:gd name="T5" fmla="*/ 42664 h 384"/>
              <a:gd name="T6" fmla="*/ 341706 w 867"/>
              <a:gd name="T7" fmla="*/ 57774 h 384"/>
              <a:gd name="T8" fmla="*/ 327534 w 867"/>
              <a:gd name="T9" fmla="*/ 57774 h 384"/>
              <a:gd name="T10" fmla="*/ 300764 w 867"/>
              <a:gd name="T11" fmla="*/ 15110 h 384"/>
              <a:gd name="T12" fmla="*/ 246438 w 867"/>
              <a:gd name="T13" fmla="*/ 0 h 384"/>
              <a:gd name="T14" fmla="*/ 218881 w 867"/>
              <a:gd name="T15" fmla="*/ 15110 h 384"/>
              <a:gd name="T16" fmla="*/ 218881 w 867"/>
              <a:gd name="T17" fmla="*/ 42664 h 384"/>
              <a:gd name="T18" fmla="*/ 218881 w 867"/>
              <a:gd name="T19" fmla="*/ 71996 h 384"/>
              <a:gd name="T20" fmla="*/ 162980 w 867"/>
              <a:gd name="T21" fmla="*/ 71996 h 384"/>
              <a:gd name="T22" fmla="*/ 136210 w 867"/>
              <a:gd name="T23" fmla="*/ 57774 h 384"/>
              <a:gd name="T24" fmla="*/ 81096 w 867"/>
              <a:gd name="T25" fmla="*/ 42664 h 384"/>
              <a:gd name="T26" fmla="*/ 13385 w 867"/>
              <a:gd name="T27" fmla="*/ 85328 h 384"/>
              <a:gd name="T28" fmla="*/ 0 w 867"/>
              <a:gd name="T29" fmla="*/ 100438 h 384"/>
              <a:gd name="T30" fmla="*/ 26770 w 867"/>
              <a:gd name="T31" fmla="*/ 143103 h 384"/>
              <a:gd name="T32" fmla="*/ 54327 w 867"/>
              <a:gd name="T33" fmla="*/ 143103 h 384"/>
              <a:gd name="T34" fmla="*/ 67711 w 867"/>
              <a:gd name="T35" fmla="*/ 170657 h 384"/>
              <a:gd name="T36" fmla="*/ 67711 w 867"/>
              <a:gd name="T37" fmla="*/ 228431 h 384"/>
              <a:gd name="T38" fmla="*/ 149595 w 867"/>
              <a:gd name="T39" fmla="*/ 255985 h 384"/>
              <a:gd name="T40" fmla="*/ 192111 w 867"/>
              <a:gd name="T41" fmla="*/ 298649 h 384"/>
              <a:gd name="T42" fmla="*/ 273207 w 867"/>
              <a:gd name="T43" fmla="*/ 298649 h 384"/>
              <a:gd name="T44" fmla="*/ 314149 w 867"/>
              <a:gd name="T45" fmla="*/ 327980 h 384"/>
              <a:gd name="T46" fmla="*/ 368476 w 867"/>
              <a:gd name="T47" fmla="*/ 341313 h 384"/>
              <a:gd name="T48" fmla="*/ 422802 w 867"/>
              <a:gd name="T49" fmla="*/ 313759 h 384"/>
              <a:gd name="T50" fmla="*/ 477129 w 867"/>
              <a:gd name="T51" fmla="*/ 313759 h 384"/>
              <a:gd name="T52" fmla="*/ 519645 w 867"/>
              <a:gd name="T53" fmla="*/ 271095 h 384"/>
              <a:gd name="T54" fmla="*/ 504686 w 867"/>
              <a:gd name="T55" fmla="*/ 255985 h 384"/>
              <a:gd name="T56" fmla="*/ 533030 w 867"/>
              <a:gd name="T57" fmla="*/ 228431 h 384"/>
              <a:gd name="T58" fmla="*/ 560587 w 867"/>
              <a:gd name="T59" fmla="*/ 242652 h 384"/>
              <a:gd name="T60" fmla="*/ 601529 w 867"/>
              <a:gd name="T61" fmla="*/ 213321 h 384"/>
              <a:gd name="T62" fmla="*/ 628298 w 867"/>
              <a:gd name="T63" fmla="*/ 185767 h 384"/>
              <a:gd name="T64" fmla="*/ 682625 w 867"/>
              <a:gd name="T65" fmla="*/ 185767 h 384"/>
              <a:gd name="T66" fmla="*/ 669240 w 867"/>
              <a:gd name="T67" fmla="*/ 157324 h 384"/>
              <a:gd name="T68" fmla="*/ 655855 w 867"/>
              <a:gd name="T69" fmla="*/ 143103 h 384"/>
              <a:gd name="T70" fmla="*/ 628298 w 867"/>
              <a:gd name="T71" fmla="*/ 157324 h 384"/>
              <a:gd name="T72" fmla="*/ 601529 w 867"/>
              <a:gd name="T73" fmla="*/ 157324 h 384"/>
              <a:gd name="T74" fmla="*/ 601529 w 867"/>
              <a:gd name="T75" fmla="*/ 100438 h 384"/>
              <a:gd name="T76" fmla="*/ 614914 w 867"/>
              <a:gd name="T77" fmla="*/ 71996 h 384"/>
              <a:gd name="T78" fmla="*/ 573972 w 867"/>
              <a:gd name="T79" fmla="*/ 57774 h 384"/>
              <a:gd name="T80" fmla="*/ 547202 w 867"/>
              <a:gd name="T81" fmla="*/ 85328 h 384"/>
              <a:gd name="T82" fmla="*/ 491301 w 867"/>
              <a:gd name="T83" fmla="*/ 100438 h 384"/>
              <a:gd name="T84" fmla="*/ 450359 w 867"/>
              <a:gd name="T85" fmla="*/ 85328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chemeClr val="bg1"/>
          </a:solidFill>
          <a:ln w="9525">
            <a:solidFill>
              <a:schemeClr val="bg2"/>
            </a:solidFill>
            <a:round/>
            <a:headEnd/>
            <a:tailEnd/>
          </a:ln>
        </p:spPr>
        <p:txBody>
          <a:bodyPr/>
          <a:lstStyle/>
          <a:p>
            <a:endParaRPr lang="en-US" dirty="0"/>
          </a:p>
        </p:txBody>
      </p:sp>
      <p:sp>
        <p:nvSpPr>
          <p:cNvPr id="18624" name="Freeform 191"/>
          <p:cNvSpPr>
            <a:spLocks noChangeAspect="1"/>
          </p:cNvSpPr>
          <p:nvPr/>
        </p:nvSpPr>
        <p:spPr bwMode="auto">
          <a:xfrm>
            <a:off x="6692900" y="1379538"/>
            <a:ext cx="23813" cy="41275"/>
          </a:xfrm>
          <a:custGeom>
            <a:avLst/>
            <a:gdLst>
              <a:gd name="T0" fmla="*/ 23813 w 33"/>
              <a:gd name="T1" fmla="*/ 41275 h 48"/>
              <a:gd name="T2" fmla="*/ 23813 w 33"/>
              <a:gd name="T3" fmla="*/ 41275 h 48"/>
              <a:gd name="T4" fmla="*/ 23813 w 33"/>
              <a:gd name="T5" fmla="*/ 14618 h 48"/>
              <a:gd name="T6" fmla="*/ 0 w 33"/>
              <a:gd name="T7" fmla="*/ 0 h 48"/>
              <a:gd name="T8" fmla="*/ 0 w 33"/>
              <a:gd name="T9" fmla="*/ 14618 h 48"/>
              <a:gd name="T10" fmla="*/ 23813 w 33"/>
              <a:gd name="T11" fmla="*/ 41275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chemeClr val="accent1"/>
          </a:solidFill>
          <a:ln w="9525">
            <a:solidFill>
              <a:schemeClr val="bg2"/>
            </a:solidFill>
            <a:prstDash val="solid"/>
            <a:round/>
            <a:headEnd/>
            <a:tailEnd/>
          </a:ln>
        </p:spPr>
        <p:txBody>
          <a:bodyPr/>
          <a:lstStyle/>
          <a:p>
            <a:endParaRPr lang="en-US" dirty="0"/>
          </a:p>
        </p:txBody>
      </p:sp>
      <p:sp>
        <p:nvSpPr>
          <p:cNvPr id="18625" name="Freeform 192"/>
          <p:cNvSpPr>
            <a:spLocks noChangeAspect="1"/>
          </p:cNvSpPr>
          <p:nvPr/>
        </p:nvSpPr>
        <p:spPr bwMode="auto">
          <a:xfrm>
            <a:off x="4860925" y="1082675"/>
            <a:ext cx="3524250" cy="1824038"/>
          </a:xfrm>
          <a:custGeom>
            <a:avLst/>
            <a:gdLst>
              <a:gd name="T0" fmla="*/ 1734918 w 4469"/>
              <a:gd name="T1" fmla="*/ 368698 h 2063"/>
              <a:gd name="T2" fmla="*/ 1734918 w 4469"/>
              <a:gd name="T3" fmla="*/ 71618 h 2063"/>
              <a:gd name="T4" fmla="*/ 1435250 w 4469"/>
              <a:gd name="T5" fmla="*/ 156498 h 2063"/>
              <a:gd name="T6" fmla="*/ 1175013 w 4469"/>
              <a:gd name="T7" fmla="*/ 524311 h 2063"/>
              <a:gd name="T8" fmla="*/ 1038585 w 4469"/>
              <a:gd name="T9" fmla="*/ 466841 h 2063"/>
              <a:gd name="T10" fmla="*/ 1038585 w 4469"/>
              <a:gd name="T11" fmla="*/ 778952 h 2063"/>
              <a:gd name="T12" fmla="*/ 970766 w 4469"/>
              <a:gd name="T13" fmla="*/ 524311 h 2063"/>
              <a:gd name="T14" fmla="*/ 861939 w 4469"/>
              <a:gd name="T15" fmla="*/ 651632 h 2063"/>
              <a:gd name="T16" fmla="*/ 712105 w 4469"/>
              <a:gd name="T17" fmla="*/ 707334 h 2063"/>
              <a:gd name="T18" fmla="*/ 451079 w 4469"/>
              <a:gd name="T19" fmla="*/ 806361 h 2063"/>
              <a:gd name="T20" fmla="*/ 369853 w 4469"/>
              <a:gd name="T21" fmla="*/ 806361 h 2063"/>
              <a:gd name="T22" fmla="*/ 205824 w 4469"/>
              <a:gd name="T23" fmla="*/ 933681 h 2063"/>
              <a:gd name="T24" fmla="*/ 138005 w 4469"/>
              <a:gd name="T25" fmla="*/ 821392 h 2063"/>
              <a:gd name="T26" fmla="*/ 110404 w 4469"/>
              <a:gd name="T27" fmla="*/ 636601 h 2063"/>
              <a:gd name="T28" fmla="*/ 54413 w 4469"/>
              <a:gd name="T29" fmla="*/ 806361 h 2063"/>
              <a:gd name="T30" fmla="*/ 54413 w 4469"/>
              <a:gd name="T31" fmla="*/ 1102557 h 2063"/>
              <a:gd name="T32" fmla="*/ 14195 w 4469"/>
              <a:gd name="T33" fmla="*/ 1245792 h 2063"/>
              <a:gd name="T34" fmla="*/ 83592 w 4469"/>
              <a:gd name="T35" fmla="*/ 1373112 h 2063"/>
              <a:gd name="T36" fmla="*/ 151411 w 4469"/>
              <a:gd name="T37" fmla="*/ 1471255 h 2063"/>
              <a:gd name="T38" fmla="*/ 220019 w 4469"/>
              <a:gd name="T39" fmla="*/ 1526957 h 2063"/>
              <a:gd name="T40" fmla="*/ 274433 w 4469"/>
              <a:gd name="T41" fmla="*/ 1654277 h 2063"/>
              <a:gd name="T42" fmla="*/ 342252 w 4469"/>
              <a:gd name="T43" fmla="*/ 1768335 h 2063"/>
              <a:gd name="T44" fmla="*/ 437673 w 4469"/>
              <a:gd name="T45" fmla="*/ 1781598 h 2063"/>
              <a:gd name="T46" fmla="*/ 465274 w 4469"/>
              <a:gd name="T47" fmla="*/ 1669308 h 2063"/>
              <a:gd name="T48" fmla="*/ 478680 w 4469"/>
              <a:gd name="T49" fmla="*/ 1556135 h 2063"/>
              <a:gd name="T50" fmla="*/ 641920 w 4469"/>
              <a:gd name="T51" fmla="*/ 1513695 h 2063"/>
              <a:gd name="T52" fmla="*/ 725511 w 4469"/>
              <a:gd name="T53" fmla="*/ 1457108 h 2063"/>
              <a:gd name="T54" fmla="*/ 943165 w 4469"/>
              <a:gd name="T55" fmla="*/ 1357197 h 2063"/>
              <a:gd name="T56" fmla="*/ 1051991 w 4469"/>
              <a:gd name="T57" fmla="*/ 1399637 h 2063"/>
              <a:gd name="T58" fmla="*/ 1258604 w 4469"/>
              <a:gd name="T59" fmla="*/ 1556135 h 2063"/>
              <a:gd name="T60" fmla="*/ 1394243 w 4469"/>
              <a:gd name="T61" fmla="*/ 1526957 h 2063"/>
              <a:gd name="T62" fmla="*/ 1612685 w 4469"/>
              <a:gd name="T63" fmla="*/ 1499548 h 2063"/>
              <a:gd name="T64" fmla="*/ 1886329 w 4469"/>
              <a:gd name="T65" fmla="*/ 1541988 h 2063"/>
              <a:gd name="T66" fmla="*/ 2009351 w 4469"/>
              <a:gd name="T67" fmla="*/ 1471255 h 2063"/>
              <a:gd name="T68" fmla="*/ 2240410 w 4469"/>
              <a:gd name="T69" fmla="*/ 1598575 h 2063"/>
              <a:gd name="T70" fmla="*/ 2240410 w 4469"/>
              <a:gd name="T71" fmla="*/ 1725895 h 2063"/>
              <a:gd name="T72" fmla="*/ 2322425 w 4469"/>
              <a:gd name="T73" fmla="*/ 1768335 h 2063"/>
              <a:gd name="T74" fmla="*/ 2404439 w 4469"/>
              <a:gd name="T75" fmla="*/ 1428815 h 2063"/>
              <a:gd name="T76" fmla="*/ 2376838 w 4469"/>
              <a:gd name="T77" fmla="*/ 1330672 h 2063"/>
              <a:gd name="T78" fmla="*/ 2678083 w 4469"/>
              <a:gd name="T79" fmla="*/ 1187437 h 2063"/>
              <a:gd name="T80" fmla="*/ 2868924 w 4469"/>
              <a:gd name="T81" fmla="*/ 1076032 h 2063"/>
              <a:gd name="T82" fmla="*/ 2937532 w 4469"/>
              <a:gd name="T83" fmla="*/ 1131735 h 2063"/>
              <a:gd name="T84" fmla="*/ 2855517 w 4469"/>
              <a:gd name="T85" fmla="*/ 1442077 h 2063"/>
              <a:gd name="T86" fmla="*/ 2937532 w 4469"/>
              <a:gd name="T87" fmla="*/ 1330672 h 2063"/>
              <a:gd name="T88" fmla="*/ 2937532 w 4469"/>
              <a:gd name="T89" fmla="*/ 1203352 h 2063"/>
              <a:gd name="T90" fmla="*/ 3088943 w 4469"/>
              <a:gd name="T91" fmla="*/ 1174175 h 2063"/>
              <a:gd name="T92" fmla="*/ 3252183 w 4469"/>
              <a:gd name="T93" fmla="*/ 933681 h 2063"/>
              <a:gd name="T94" fmla="*/ 3361010 w 4469"/>
              <a:gd name="T95" fmla="*/ 891241 h 2063"/>
              <a:gd name="T96" fmla="*/ 3484031 w 4469"/>
              <a:gd name="T97" fmla="*/ 821392 h 2063"/>
              <a:gd name="T98" fmla="*/ 3047935 w 4469"/>
              <a:gd name="T99" fmla="*/ 679041 h 2063"/>
              <a:gd name="T100" fmla="*/ 2882330 w 4469"/>
              <a:gd name="T101" fmla="*/ 651632 h 2063"/>
              <a:gd name="T102" fmla="*/ 2664676 w 4469"/>
              <a:gd name="T103" fmla="*/ 537574 h 2063"/>
              <a:gd name="T104" fmla="*/ 2363432 w 4469"/>
              <a:gd name="T105" fmla="*/ 524311 h 2063"/>
              <a:gd name="T106" fmla="*/ 2213598 w 4469"/>
              <a:gd name="T107" fmla="*/ 439431 h 2063"/>
              <a:gd name="T108" fmla="*/ 1981750 w 4469"/>
              <a:gd name="T109" fmla="*/ 368698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chemeClr val="bg1"/>
          </a:solidFill>
          <a:ln w="9525">
            <a:solidFill>
              <a:schemeClr val="bg2"/>
            </a:solidFill>
            <a:round/>
            <a:headEnd/>
            <a:tailEnd/>
          </a:ln>
        </p:spPr>
        <p:txBody>
          <a:bodyPr/>
          <a:lstStyle/>
          <a:p>
            <a:endParaRPr lang="en-US" dirty="0"/>
          </a:p>
        </p:txBody>
      </p:sp>
      <p:sp>
        <p:nvSpPr>
          <p:cNvPr id="18626" name="Freeform 193"/>
          <p:cNvSpPr>
            <a:spLocks noChangeAspect="1"/>
          </p:cNvSpPr>
          <p:nvPr/>
        </p:nvSpPr>
        <p:spPr bwMode="auto">
          <a:xfrm>
            <a:off x="5392738" y="1154113"/>
            <a:ext cx="369887" cy="522287"/>
          </a:xfrm>
          <a:custGeom>
            <a:avLst/>
            <a:gdLst>
              <a:gd name="T0" fmla="*/ 0 w 468"/>
              <a:gd name="T1" fmla="*/ 452472 h 591"/>
              <a:gd name="T2" fmla="*/ 0 w 468"/>
              <a:gd name="T3" fmla="*/ 452472 h 591"/>
              <a:gd name="T4" fmla="*/ 41099 w 468"/>
              <a:gd name="T5" fmla="*/ 508147 h 591"/>
              <a:gd name="T6" fmla="*/ 110650 w 468"/>
              <a:gd name="T7" fmla="*/ 522287 h 591"/>
              <a:gd name="T8" fmla="*/ 124086 w 468"/>
              <a:gd name="T9" fmla="*/ 508147 h 591"/>
              <a:gd name="T10" fmla="*/ 97214 w 468"/>
              <a:gd name="T11" fmla="*/ 479868 h 591"/>
              <a:gd name="T12" fmla="*/ 82197 w 468"/>
              <a:gd name="T13" fmla="*/ 452472 h 591"/>
              <a:gd name="T14" fmla="*/ 82197 w 468"/>
              <a:gd name="T15" fmla="*/ 380889 h 591"/>
              <a:gd name="T16" fmla="*/ 97214 w 468"/>
              <a:gd name="T17" fmla="*/ 352610 h 591"/>
              <a:gd name="T18" fmla="*/ 192847 w 468"/>
              <a:gd name="T19" fmla="*/ 182933 h 591"/>
              <a:gd name="T20" fmla="*/ 260818 w 468"/>
              <a:gd name="T21" fmla="*/ 127258 h 591"/>
              <a:gd name="T22" fmla="*/ 369887 w 468"/>
              <a:gd name="T23" fmla="*/ 70699 h 591"/>
              <a:gd name="T24" fmla="*/ 369887 w 468"/>
              <a:gd name="T25" fmla="*/ 13256 h 591"/>
              <a:gd name="T26" fmla="*/ 343015 w 468"/>
              <a:gd name="T27" fmla="*/ 0 h 591"/>
              <a:gd name="T28" fmla="*/ 315352 w 468"/>
              <a:gd name="T29" fmla="*/ 28280 h 591"/>
              <a:gd name="T30" fmla="*/ 288480 w 468"/>
              <a:gd name="T31" fmla="*/ 55675 h 591"/>
              <a:gd name="T32" fmla="*/ 247382 w 468"/>
              <a:gd name="T33" fmla="*/ 70699 h 591"/>
              <a:gd name="T34" fmla="*/ 206283 w 468"/>
              <a:gd name="T35" fmla="*/ 70699 h 591"/>
              <a:gd name="T36" fmla="*/ 165185 w 468"/>
              <a:gd name="T37" fmla="*/ 98094 h 591"/>
              <a:gd name="T38" fmla="*/ 124086 w 468"/>
              <a:gd name="T39" fmla="*/ 155537 h 591"/>
              <a:gd name="T40" fmla="*/ 82197 w 468"/>
              <a:gd name="T41" fmla="*/ 182933 h 591"/>
              <a:gd name="T42" fmla="*/ 82197 w 468"/>
              <a:gd name="T43" fmla="*/ 212096 h 591"/>
              <a:gd name="T44" fmla="*/ 67971 w 468"/>
              <a:gd name="T45" fmla="*/ 254515 h 591"/>
              <a:gd name="T46" fmla="*/ 41099 w 468"/>
              <a:gd name="T47" fmla="*/ 282795 h 591"/>
              <a:gd name="T48" fmla="*/ 54535 w 468"/>
              <a:gd name="T49" fmla="*/ 310191 h 591"/>
              <a:gd name="T50" fmla="*/ 41099 w 468"/>
              <a:gd name="T51" fmla="*/ 339354 h 591"/>
              <a:gd name="T52" fmla="*/ 13436 w 468"/>
              <a:gd name="T53" fmla="*/ 367633 h 591"/>
              <a:gd name="T54" fmla="*/ 27662 w 468"/>
              <a:gd name="T55" fmla="*/ 395029 h 591"/>
              <a:gd name="T56" fmla="*/ 0 w 468"/>
              <a:gd name="T57" fmla="*/ 410053 h 591"/>
              <a:gd name="T58" fmla="*/ 0 w 468"/>
              <a:gd name="T59" fmla="*/ 452472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chemeClr val="bg1"/>
          </a:solidFill>
          <a:ln w="9525">
            <a:solidFill>
              <a:schemeClr val="bg2"/>
            </a:solidFill>
            <a:round/>
            <a:headEnd/>
            <a:tailEnd/>
          </a:ln>
        </p:spPr>
        <p:txBody>
          <a:bodyPr/>
          <a:lstStyle/>
          <a:p>
            <a:endParaRPr lang="en-US" dirty="0"/>
          </a:p>
        </p:txBody>
      </p:sp>
      <p:sp>
        <p:nvSpPr>
          <p:cNvPr id="18627" name="Freeform 194"/>
          <p:cNvSpPr>
            <a:spLocks noChangeAspect="1"/>
          </p:cNvSpPr>
          <p:nvPr/>
        </p:nvSpPr>
        <p:spPr bwMode="auto">
          <a:xfrm>
            <a:off x="5324475" y="1733550"/>
            <a:ext cx="41275" cy="57150"/>
          </a:xfrm>
          <a:custGeom>
            <a:avLst/>
            <a:gdLst>
              <a:gd name="T0" fmla="*/ 0 w 52"/>
              <a:gd name="T1" fmla="*/ 57150 h 63"/>
              <a:gd name="T2" fmla="*/ 0 w 52"/>
              <a:gd name="T3" fmla="*/ 57150 h 63"/>
              <a:gd name="T4" fmla="*/ 26988 w 52"/>
              <a:gd name="T5" fmla="*/ 43543 h 63"/>
              <a:gd name="T6" fmla="*/ 41275 w 52"/>
              <a:gd name="T7" fmla="*/ 28121 h 63"/>
              <a:gd name="T8" fmla="*/ 13494 w 52"/>
              <a:gd name="T9" fmla="*/ 0 h 63"/>
              <a:gd name="T10" fmla="*/ 0 w 52"/>
              <a:gd name="T11" fmla="*/ 28121 h 63"/>
              <a:gd name="T12" fmla="*/ 0 w 52"/>
              <a:gd name="T13" fmla="*/ 57150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chemeClr val="bg1"/>
          </a:solidFill>
          <a:ln w="9525">
            <a:solidFill>
              <a:schemeClr val="bg2"/>
            </a:solidFill>
            <a:prstDash val="solid"/>
            <a:round/>
            <a:headEnd/>
            <a:tailEnd/>
          </a:ln>
        </p:spPr>
        <p:txBody>
          <a:bodyPr/>
          <a:lstStyle/>
          <a:p>
            <a:endParaRPr lang="en-US" dirty="0"/>
          </a:p>
        </p:txBody>
      </p:sp>
      <p:sp>
        <p:nvSpPr>
          <p:cNvPr id="18628" name="Freeform 195"/>
          <p:cNvSpPr>
            <a:spLocks noChangeAspect="1"/>
          </p:cNvSpPr>
          <p:nvPr/>
        </p:nvSpPr>
        <p:spPr bwMode="auto">
          <a:xfrm>
            <a:off x="5207000" y="1144588"/>
            <a:ext cx="153988" cy="47625"/>
          </a:xfrm>
          <a:custGeom>
            <a:avLst/>
            <a:gdLst>
              <a:gd name="T0" fmla="*/ 126490 w 196"/>
              <a:gd name="T1" fmla="*/ 14458 h 56"/>
              <a:gd name="T2" fmla="*/ 113134 w 196"/>
              <a:gd name="T3" fmla="*/ 14458 h 56"/>
              <a:gd name="T4" fmla="*/ 98207 w 196"/>
              <a:gd name="T5" fmla="*/ 14458 h 56"/>
              <a:gd name="T6" fmla="*/ 98207 w 196"/>
              <a:gd name="T7" fmla="*/ 31467 h 56"/>
              <a:gd name="T8" fmla="*/ 84065 w 196"/>
              <a:gd name="T9" fmla="*/ 47625 h 56"/>
              <a:gd name="T10" fmla="*/ 84065 w 196"/>
              <a:gd name="T11" fmla="*/ 31467 h 56"/>
              <a:gd name="T12" fmla="*/ 70709 w 196"/>
              <a:gd name="T13" fmla="*/ 31467 h 56"/>
              <a:gd name="T14" fmla="*/ 57353 w 196"/>
              <a:gd name="T15" fmla="*/ 14458 h 56"/>
              <a:gd name="T16" fmla="*/ 70709 w 196"/>
              <a:gd name="T17" fmla="*/ 14458 h 56"/>
              <a:gd name="T18" fmla="*/ 84065 w 196"/>
              <a:gd name="T19" fmla="*/ 14458 h 56"/>
              <a:gd name="T20" fmla="*/ 70709 w 196"/>
              <a:gd name="T21" fmla="*/ 14458 h 56"/>
              <a:gd name="T22" fmla="*/ 57353 w 196"/>
              <a:gd name="T23" fmla="*/ 14458 h 56"/>
              <a:gd name="T24" fmla="*/ 70709 w 196"/>
              <a:gd name="T25" fmla="*/ 14458 h 56"/>
              <a:gd name="T26" fmla="*/ 57353 w 196"/>
              <a:gd name="T27" fmla="*/ 0 h 56"/>
              <a:gd name="T28" fmla="*/ 42425 w 196"/>
              <a:gd name="T29" fmla="*/ 14458 h 56"/>
              <a:gd name="T30" fmla="*/ 28284 w 196"/>
              <a:gd name="T31" fmla="*/ 14458 h 56"/>
              <a:gd name="T32" fmla="*/ 14927 w 196"/>
              <a:gd name="T33" fmla="*/ 14458 h 56"/>
              <a:gd name="T34" fmla="*/ 0 w 196"/>
              <a:gd name="T35" fmla="*/ 14458 h 56"/>
              <a:gd name="T36" fmla="*/ 14927 w 196"/>
              <a:gd name="T37" fmla="*/ 0 h 56"/>
              <a:gd name="T38" fmla="*/ 42425 w 196"/>
              <a:gd name="T39" fmla="*/ 0 h 56"/>
              <a:gd name="T40" fmla="*/ 70709 w 196"/>
              <a:gd name="T41" fmla="*/ 0 h 56"/>
              <a:gd name="T42" fmla="*/ 84065 w 196"/>
              <a:gd name="T43" fmla="*/ 0 h 56"/>
              <a:gd name="T44" fmla="*/ 113134 w 196"/>
              <a:gd name="T45" fmla="*/ 0 h 56"/>
              <a:gd name="T46" fmla="*/ 126490 w 196"/>
              <a:gd name="T47" fmla="*/ 0 h 56"/>
              <a:gd name="T48" fmla="*/ 139846 w 196"/>
              <a:gd name="T49" fmla="*/ 0 h 56"/>
              <a:gd name="T50" fmla="*/ 153988 w 196"/>
              <a:gd name="T51" fmla="*/ 0 h 56"/>
              <a:gd name="T52" fmla="*/ 153988 w 196"/>
              <a:gd name="T53" fmla="*/ 14458 h 56"/>
              <a:gd name="T54" fmla="*/ 139846 w 196"/>
              <a:gd name="T55" fmla="*/ 14458 h 56"/>
              <a:gd name="T56" fmla="*/ 126490 w 196"/>
              <a:gd name="T57" fmla="*/ 14458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chemeClr val="bg1"/>
          </a:solidFill>
          <a:ln w="9525">
            <a:solidFill>
              <a:schemeClr val="bg2"/>
            </a:solidFill>
            <a:prstDash val="solid"/>
            <a:round/>
            <a:headEnd/>
            <a:tailEnd/>
          </a:ln>
        </p:spPr>
        <p:txBody>
          <a:bodyPr/>
          <a:lstStyle/>
          <a:p>
            <a:endParaRPr lang="en-US" dirty="0"/>
          </a:p>
        </p:txBody>
      </p:sp>
      <p:sp>
        <p:nvSpPr>
          <p:cNvPr id="18629" name="Freeform 196"/>
          <p:cNvSpPr>
            <a:spLocks noChangeAspect="1"/>
          </p:cNvSpPr>
          <p:nvPr/>
        </p:nvSpPr>
        <p:spPr bwMode="auto">
          <a:xfrm>
            <a:off x="5432425" y="1079500"/>
            <a:ext cx="87313" cy="79375"/>
          </a:xfrm>
          <a:custGeom>
            <a:avLst/>
            <a:gdLst>
              <a:gd name="T0" fmla="*/ 72093 w 109"/>
              <a:gd name="T1" fmla="*/ 62982 h 92"/>
              <a:gd name="T2" fmla="*/ 58476 w 109"/>
              <a:gd name="T3" fmla="*/ 62982 h 92"/>
              <a:gd name="T4" fmla="*/ 43256 w 109"/>
              <a:gd name="T5" fmla="*/ 79375 h 92"/>
              <a:gd name="T6" fmla="*/ 28837 w 109"/>
              <a:gd name="T7" fmla="*/ 79375 h 92"/>
              <a:gd name="T8" fmla="*/ 0 w 109"/>
              <a:gd name="T9" fmla="*/ 62982 h 92"/>
              <a:gd name="T10" fmla="*/ 0 w 109"/>
              <a:gd name="T11" fmla="*/ 48315 h 92"/>
              <a:gd name="T12" fmla="*/ 15220 w 109"/>
              <a:gd name="T13" fmla="*/ 48315 h 92"/>
              <a:gd name="T14" fmla="*/ 43256 w 109"/>
              <a:gd name="T15" fmla="*/ 48315 h 92"/>
              <a:gd name="T16" fmla="*/ 43256 w 109"/>
              <a:gd name="T17" fmla="*/ 31923 h 92"/>
              <a:gd name="T18" fmla="*/ 28837 w 109"/>
              <a:gd name="T19" fmla="*/ 48315 h 92"/>
              <a:gd name="T20" fmla="*/ 28837 w 109"/>
              <a:gd name="T21" fmla="*/ 31923 h 92"/>
              <a:gd name="T22" fmla="*/ 43256 w 109"/>
              <a:gd name="T23" fmla="*/ 31923 h 92"/>
              <a:gd name="T24" fmla="*/ 58476 w 109"/>
              <a:gd name="T25" fmla="*/ 31923 h 92"/>
              <a:gd name="T26" fmla="*/ 72093 w 109"/>
              <a:gd name="T27" fmla="*/ 17255 h 92"/>
              <a:gd name="T28" fmla="*/ 87313 w 109"/>
              <a:gd name="T29" fmla="*/ 17255 h 92"/>
              <a:gd name="T30" fmla="*/ 87313 w 109"/>
              <a:gd name="T31" fmla="*/ 0 h 92"/>
              <a:gd name="T32" fmla="*/ 87313 w 109"/>
              <a:gd name="T33" fmla="*/ 17255 h 92"/>
              <a:gd name="T34" fmla="*/ 87313 w 109"/>
              <a:gd name="T35" fmla="*/ 31923 h 92"/>
              <a:gd name="T36" fmla="*/ 72093 w 109"/>
              <a:gd name="T37" fmla="*/ 31923 h 92"/>
              <a:gd name="T38" fmla="*/ 58476 w 109"/>
              <a:gd name="T39" fmla="*/ 31923 h 92"/>
              <a:gd name="T40" fmla="*/ 43256 w 109"/>
              <a:gd name="T41" fmla="*/ 48315 h 92"/>
              <a:gd name="T42" fmla="*/ 58476 w 109"/>
              <a:gd name="T43" fmla="*/ 48315 h 92"/>
              <a:gd name="T44" fmla="*/ 87313 w 109"/>
              <a:gd name="T45" fmla="*/ 48315 h 92"/>
              <a:gd name="T46" fmla="*/ 87313 w 109"/>
              <a:gd name="T47" fmla="*/ 62982 h 92"/>
              <a:gd name="T48" fmla="*/ 72093 w 109"/>
              <a:gd name="T49" fmla="*/ 62982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chemeClr val="bg1"/>
          </a:solidFill>
          <a:ln w="9525">
            <a:solidFill>
              <a:schemeClr val="bg2"/>
            </a:solidFill>
            <a:prstDash val="solid"/>
            <a:round/>
            <a:headEnd/>
            <a:tailEnd/>
          </a:ln>
        </p:spPr>
        <p:txBody>
          <a:bodyPr/>
          <a:lstStyle/>
          <a:p>
            <a:endParaRPr lang="en-US" dirty="0"/>
          </a:p>
        </p:txBody>
      </p:sp>
      <p:sp>
        <p:nvSpPr>
          <p:cNvPr id="18630" name="Freeform 197"/>
          <p:cNvSpPr>
            <a:spLocks noChangeAspect="1"/>
          </p:cNvSpPr>
          <p:nvPr/>
        </p:nvSpPr>
        <p:spPr bwMode="auto">
          <a:xfrm>
            <a:off x="4503738" y="1192213"/>
            <a:ext cx="280987" cy="180975"/>
          </a:xfrm>
          <a:custGeom>
            <a:avLst/>
            <a:gdLst>
              <a:gd name="T0" fmla="*/ 225104 w 357"/>
              <a:gd name="T1" fmla="*/ 131942 h 203"/>
              <a:gd name="T2" fmla="*/ 198344 w 357"/>
              <a:gd name="T3" fmla="*/ 131942 h 203"/>
              <a:gd name="T4" fmla="*/ 211724 w 357"/>
              <a:gd name="T5" fmla="*/ 114112 h 203"/>
              <a:gd name="T6" fmla="*/ 198344 w 357"/>
              <a:gd name="T7" fmla="*/ 82018 h 203"/>
              <a:gd name="T8" fmla="*/ 198344 w 357"/>
              <a:gd name="T9" fmla="*/ 82018 h 203"/>
              <a:gd name="T10" fmla="*/ 167648 w 357"/>
              <a:gd name="T11" fmla="*/ 82018 h 203"/>
              <a:gd name="T12" fmla="*/ 154267 w 357"/>
              <a:gd name="T13" fmla="*/ 131942 h 203"/>
              <a:gd name="T14" fmla="*/ 140887 w 357"/>
              <a:gd name="T15" fmla="*/ 164036 h 203"/>
              <a:gd name="T16" fmla="*/ 125933 w 357"/>
              <a:gd name="T17" fmla="*/ 180975 h 203"/>
              <a:gd name="T18" fmla="*/ 83430 w 357"/>
              <a:gd name="T19" fmla="*/ 164036 h 203"/>
              <a:gd name="T20" fmla="*/ 83430 w 357"/>
              <a:gd name="T21" fmla="*/ 131942 h 203"/>
              <a:gd name="T22" fmla="*/ 111765 w 357"/>
              <a:gd name="T23" fmla="*/ 131942 h 203"/>
              <a:gd name="T24" fmla="*/ 83430 w 357"/>
              <a:gd name="T25" fmla="*/ 131942 h 203"/>
              <a:gd name="T26" fmla="*/ 55883 w 357"/>
              <a:gd name="T27" fmla="*/ 131942 h 203"/>
              <a:gd name="T28" fmla="*/ 70050 w 357"/>
              <a:gd name="T29" fmla="*/ 97174 h 203"/>
              <a:gd name="T30" fmla="*/ 98385 w 357"/>
              <a:gd name="T31" fmla="*/ 97174 h 203"/>
              <a:gd name="T32" fmla="*/ 111765 w 357"/>
              <a:gd name="T33" fmla="*/ 82018 h 203"/>
              <a:gd name="T34" fmla="*/ 83430 w 357"/>
              <a:gd name="T35" fmla="*/ 82018 h 203"/>
              <a:gd name="T36" fmla="*/ 55883 w 357"/>
              <a:gd name="T37" fmla="*/ 97174 h 203"/>
              <a:gd name="T38" fmla="*/ 42502 w 357"/>
              <a:gd name="T39" fmla="*/ 82018 h 203"/>
              <a:gd name="T40" fmla="*/ 42502 w 357"/>
              <a:gd name="T41" fmla="*/ 82018 h 203"/>
              <a:gd name="T42" fmla="*/ 13380 w 357"/>
              <a:gd name="T43" fmla="*/ 65080 h 203"/>
              <a:gd name="T44" fmla="*/ 0 w 357"/>
              <a:gd name="T45" fmla="*/ 48141 h 203"/>
              <a:gd name="T46" fmla="*/ 0 w 357"/>
              <a:gd name="T47" fmla="*/ 16939 h 203"/>
              <a:gd name="T48" fmla="*/ 27548 w 357"/>
              <a:gd name="T49" fmla="*/ 16939 h 203"/>
              <a:gd name="T50" fmla="*/ 55883 w 357"/>
              <a:gd name="T51" fmla="*/ 16939 h 203"/>
              <a:gd name="T52" fmla="*/ 55883 w 357"/>
              <a:gd name="T53" fmla="*/ 16939 h 203"/>
              <a:gd name="T54" fmla="*/ 55883 w 357"/>
              <a:gd name="T55" fmla="*/ 32094 h 203"/>
              <a:gd name="T56" fmla="*/ 70050 w 357"/>
              <a:gd name="T57" fmla="*/ 16939 h 203"/>
              <a:gd name="T58" fmla="*/ 98385 w 357"/>
              <a:gd name="T59" fmla="*/ 32094 h 203"/>
              <a:gd name="T60" fmla="*/ 98385 w 357"/>
              <a:gd name="T61" fmla="*/ 32094 h 203"/>
              <a:gd name="T62" fmla="*/ 98385 w 357"/>
              <a:gd name="T63" fmla="*/ 0 h 203"/>
              <a:gd name="T64" fmla="*/ 125933 w 357"/>
              <a:gd name="T65" fmla="*/ 0 h 203"/>
              <a:gd name="T66" fmla="*/ 140887 w 357"/>
              <a:gd name="T67" fmla="*/ 16939 h 203"/>
              <a:gd name="T68" fmla="*/ 167648 w 357"/>
              <a:gd name="T69" fmla="*/ 16939 h 203"/>
              <a:gd name="T70" fmla="*/ 167648 w 357"/>
              <a:gd name="T71" fmla="*/ 48141 h 203"/>
              <a:gd name="T72" fmla="*/ 225104 w 357"/>
              <a:gd name="T73" fmla="*/ 82018 h 203"/>
              <a:gd name="T74" fmla="*/ 254226 w 357"/>
              <a:gd name="T75" fmla="*/ 82018 h 203"/>
              <a:gd name="T76" fmla="*/ 280987 w 357"/>
              <a:gd name="T77" fmla="*/ 131942 h 203"/>
              <a:gd name="T78" fmla="*/ 254226 w 357"/>
              <a:gd name="T79" fmla="*/ 148881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chemeClr val="bg1"/>
          </a:solidFill>
          <a:ln w="9525">
            <a:solidFill>
              <a:schemeClr val="bg2"/>
            </a:solidFill>
            <a:round/>
            <a:headEnd/>
            <a:tailEnd/>
          </a:ln>
        </p:spPr>
        <p:txBody>
          <a:bodyPr/>
          <a:lstStyle/>
          <a:p>
            <a:endParaRPr lang="en-US" dirty="0"/>
          </a:p>
        </p:txBody>
      </p:sp>
      <p:sp>
        <p:nvSpPr>
          <p:cNvPr id="18631" name="Freeform 198"/>
          <p:cNvSpPr>
            <a:spLocks noChangeAspect="1"/>
          </p:cNvSpPr>
          <p:nvPr/>
        </p:nvSpPr>
        <p:spPr bwMode="auto">
          <a:xfrm>
            <a:off x="4646613" y="1158875"/>
            <a:ext cx="196850" cy="80963"/>
          </a:xfrm>
          <a:custGeom>
            <a:avLst/>
            <a:gdLst>
              <a:gd name="T0" fmla="*/ 196850 w 249"/>
              <a:gd name="T1" fmla="*/ 33952 h 93"/>
              <a:gd name="T2" fmla="*/ 168390 w 249"/>
              <a:gd name="T3" fmla="*/ 48752 h 93"/>
              <a:gd name="T4" fmla="*/ 140720 w 249"/>
              <a:gd name="T5" fmla="*/ 65293 h 93"/>
              <a:gd name="T6" fmla="*/ 112260 w 249"/>
              <a:gd name="T7" fmla="*/ 80963 h 93"/>
              <a:gd name="T8" fmla="*/ 98030 w 249"/>
              <a:gd name="T9" fmla="*/ 80963 h 93"/>
              <a:gd name="T10" fmla="*/ 98030 w 249"/>
              <a:gd name="T11" fmla="*/ 65293 h 93"/>
              <a:gd name="T12" fmla="*/ 84590 w 249"/>
              <a:gd name="T13" fmla="*/ 65293 h 93"/>
              <a:gd name="T14" fmla="*/ 56130 w 249"/>
              <a:gd name="T15" fmla="*/ 65293 h 93"/>
              <a:gd name="T16" fmla="*/ 40319 w 249"/>
              <a:gd name="T17" fmla="*/ 65293 h 93"/>
              <a:gd name="T18" fmla="*/ 26879 w 249"/>
              <a:gd name="T19" fmla="*/ 48752 h 93"/>
              <a:gd name="T20" fmla="*/ 40319 w 249"/>
              <a:gd name="T21" fmla="*/ 48752 h 93"/>
              <a:gd name="T22" fmla="*/ 56130 w 249"/>
              <a:gd name="T23" fmla="*/ 48752 h 93"/>
              <a:gd name="T24" fmla="*/ 71151 w 249"/>
              <a:gd name="T25" fmla="*/ 48752 h 93"/>
              <a:gd name="T26" fmla="*/ 56130 w 249"/>
              <a:gd name="T27" fmla="*/ 48752 h 93"/>
              <a:gd name="T28" fmla="*/ 40319 w 249"/>
              <a:gd name="T29" fmla="*/ 48752 h 93"/>
              <a:gd name="T30" fmla="*/ 26879 w 249"/>
              <a:gd name="T31" fmla="*/ 48752 h 93"/>
              <a:gd name="T32" fmla="*/ 13440 w 249"/>
              <a:gd name="T33" fmla="*/ 33952 h 93"/>
              <a:gd name="T34" fmla="*/ 0 w 249"/>
              <a:gd name="T35" fmla="*/ 17411 h 93"/>
              <a:gd name="T36" fmla="*/ 0 w 249"/>
              <a:gd name="T37" fmla="*/ 0 h 93"/>
              <a:gd name="T38" fmla="*/ 13440 w 249"/>
              <a:gd name="T39" fmla="*/ 0 h 93"/>
              <a:gd name="T40" fmla="*/ 26879 w 249"/>
              <a:gd name="T41" fmla="*/ 17411 h 93"/>
              <a:gd name="T42" fmla="*/ 26879 w 249"/>
              <a:gd name="T43" fmla="*/ 0 h 93"/>
              <a:gd name="T44" fmla="*/ 40319 w 249"/>
              <a:gd name="T45" fmla="*/ 0 h 93"/>
              <a:gd name="T46" fmla="*/ 56130 w 249"/>
              <a:gd name="T47" fmla="*/ 0 h 93"/>
              <a:gd name="T48" fmla="*/ 84590 w 249"/>
              <a:gd name="T49" fmla="*/ 17411 h 93"/>
              <a:gd name="T50" fmla="*/ 98030 w 249"/>
              <a:gd name="T51" fmla="*/ 0 h 93"/>
              <a:gd name="T52" fmla="*/ 112260 w 249"/>
              <a:gd name="T53" fmla="*/ 0 h 93"/>
              <a:gd name="T54" fmla="*/ 112260 w 249"/>
              <a:gd name="T55" fmla="*/ 17411 h 93"/>
              <a:gd name="T56" fmla="*/ 127281 w 249"/>
              <a:gd name="T57" fmla="*/ 17411 h 93"/>
              <a:gd name="T58" fmla="*/ 127281 w 249"/>
              <a:gd name="T59" fmla="*/ 0 h 93"/>
              <a:gd name="T60" fmla="*/ 140720 w 249"/>
              <a:gd name="T61" fmla="*/ 0 h 93"/>
              <a:gd name="T62" fmla="*/ 154160 w 249"/>
              <a:gd name="T63" fmla="*/ 0 h 93"/>
              <a:gd name="T64" fmla="*/ 168390 w 249"/>
              <a:gd name="T65" fmla="*/ 0 h 93"/>
              <a:gd name="T66" fmla="*/ 168390 w 249"/>
              <a:gd name="T67" fmla="*/ 17411 h 93"/>
              <a:gd name="T68" fmla="*/ 183410 w 249"/>
              <a:gd name="T69" fmla="*/ 17411 h 93"/>
              <a:gd name="T70" fmla="*/ 196850 w 249"/>
              <a:gd name="T71" fmla="*/ 33952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chemeClr val="bg1"/>
          </a:solidFill>
          <a:ln w="9525">
            <a:solidFill>
              <a:schemeClr val="bg2"/>
            </a:solidFill>
            <a:prstDash val="solid"/>
            <a:round/>
            <a:headEnd/>
            <a:tailEnd/>
          </a:ln>
        </p:spPr>
        <p:txBody>
          <a:bodyPr/>
          <a:lstStyle/>
          <a:p>
            <a:endParaRPr lang="en-US" dirty="0"/>
          </a:p>
        </p:txBody>
      </p:sp>
      <p:sp>
        <p:nvSpPr>
          <p:cNvPr id="18632" name="Freeform 199"/>
          <p:cNvSpPr>
            <a:spLocks noChangeAspect="1"/>
          </p:cNvSpPr>
          <p:nvPr/>
        </p:nvSpPr>
        <p:spPr bwMode="auto">
          <a:xfrm>
            <a:off x="4487863" y="1257300"/>
            <a:ext cx="28575" cy="33338"/>
          </a:xfrm>
          <a:custGeom>
            <a:avLst/>
            <a:gdLst>
              <a:gd name="T0" fmla="*/ 15081 w 36"/>
              <a:gd name="T1" fmla="*/ 0 h 36"/>
              <a:gd name="T2" fmla="*/ 15081 w 36"/>
              <a:gd name="T3" fmla="*/ 17595 h 36"/>
              <a:gd name="T4" fmla="*/ 28575 w 36"/>
              <a:gd name="T5" fmla="*/ 33338 h 36"/>
              <a:gd name="T6" fmla="*/ 15081 w 36"/>
              <a:gd name="T7" fmla="*/ 17595 h 36"/>
              <a:gd name="T8" fmla="*/ 0 w 36"/>
              <a:gd name="T9" fmla="*/ 17595 h 36"/>
              <a:gd name="T10" fmla="*/ 15081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chemeClr val="bg1"/>
          </a:solidFill>
          <a:ln w="9525">
            <a:solidFill>
              <a:schemeClr val="bg2"/>
            </a:solidFill>
            <a:prstDash val="solid"/>
            <a:round/>
            <a:headEnd/>
            <a:tailEnd/>
          </a:ln>
        </p:spPr>
        <p:txBody>
          <a:bodyPr/>
          <a:lstStyle/>
          <a:p>
            <a:endParaRPr lang="en-US" dirty="0"/>
          </a:p>
        </p:txBody>
      </p:sp>
      <p:sp>
        <p:nvSpPr>
          <p:cNvPr id="18633" name="Freeform 200"/>
          <p:cNvSpPr>
            <a:spLocks noChangeAspect="1"/>
          </p:cNvSpPr>
          <p:nvPr/>
        </p:nvSpPr>
        <p:spPr bwMode="auto">
          <a:xfrm>
            <a:off x="4695825" y="2438400"/>
            <a:ext cx="68263" cy="42863"/>
          </a:xfrm>
          <a:custGeom>
            <a:avLst/>
            <a:gdLst>
              <a:gd name="T0" fmla="*/ 68263 w 86"/>
              <a:gd name="T1" fmla="*/ 0 h 48"/>
              <a:gd name="T2" fmla="*/ 68263 w 86"/>
              <a:gd name="T3" fmla="*/ 0 h 48"/>
              <a:gd name="T4" fmla="*/ 68263 w 86"/>
              <a:gd name="T5" fmla="*/ 42863 h 48"/>
              <a:gd name="T6" fmla="*/ 41275 w 86"/>
              <a:gd name="T7" fmla="*/ 42863 h 48"/>
              <a:gd name="T8" fmla="*/ 0 w 86"/>
              <a:gd name="T9" fmla="*/ 29468 h 48"/>
              <a:gd name="T10" fmla="*/ 26988 w 86"/>
              <a:gd name="T11" fmla="*/ 16074 h 48"/>
              <a:gd name="T12" fmla="*/ 41275 w 86"/>
              <a:gd name="T13" fmla="*/ 0 h 48"/>
              <a:gd name="T14" fmla="*/ 68263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chemeClr val="bg1"/>
          </a:solidFill>
          <a:ln w="9525">
            <a:solidFill>
              <a:schemeClr val="bg2"/>
            </a:solidFill>
            <a:prstDash val="solid"/>
            <a:round/>
            <a:headEnd/>
            <a:tailEnd/>
          </a:ln>
        </p:spPr>
        <p:txBody>
          <a:bodyPr/>
          <a:lstStyle/>
          <a:p>
            <a:endParaRPr lang="en-US" dirty="0"/>
          </a:p>
        </p:txBody>
      </p:sp>
      <p:sp>
        <p:nvSpPr>
          <p:cNvPr id="18634" name="Freeform 201"/>
          <p:cNvSpPr>
            <a:spLocks noChangeAspect="1"/>
          </p:cNvSpPr>
          <p:nvPr/>
        </p:nvSpPr>
        <p:spPr bwMode="auto">
          <a:xfrm>
            <a:off x="4491038" y="2424113"/>
            <a:ext cx="14287" cy="30162"/>
          </a:xfrm>
          <a:custGeom>
            <a:avLst/>
            <a:gdLst>
              <a:gd name="T0" fmla="*/ 0 w 19"/>
              <a:gd name="T1" fmla="*/ 13710 h 33"/>
              <a:gd name="T2" fmla="*/ 0 w 19"/>
              <a:gd name="T3" fmla="*/ 13710 h 33"/>
              <a:gd name="T4" fmla="*/ 0 w 19"/>
              <a:gd name="T5" fmla="*/ 30162 h 33"/>
              <a:gd name="T6" fmla="*/ 14287 w 19"/>
              <a:gd name="T7" fmla="*/ 30162 h 33"/>
              <a:gd name="T8" fmla="*/ 14287 w 19"/>
              <a:gd name="T9" fmla="*/ 13710 h 33"/>
              <a:gd name="T10" fmla="*/ 14287 w 19"/>
              <a:gd name="T11" fmla="*/ 0 h 33"/>
              <a:gd name="T12" fmla="*/ 0 w 19"/>
              <a:gd name="T13" fmla="*/ 13710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noFill/>
          <a:ln w="9525">
            <a:solidFill>
              <a:schemeClr val="bg2"/>
            </a:solidFill>
            <a:prstDash val="solid"/>
            <a:round/>
            <a:headEnd/>
            <a:tailEnd/>
          </a:ln>
        </p:spPr>
        <p:txBody>
          <a:bodyPr/>
          <a:lstStyle/>
          <a:p>
            <a:endParaRPr lang="en-US" dirty="0"/>
          </a:p>
        </p:txBody>
      </p:sp>
      <p:sp>
        <p:nvSpPr>
          <p:cNvPr id="18635" name="Freeform 202"/>
          <p:cNvSpPr>
            <a:spLocks noChangeAspect="1"/>
          </p:cNvSpPr>
          <p:nvPr/>
        </p:nvSpPr>
        <p:spPr bwMode="auto">
          <a:xfrm>
            <a:off x="4518025" y="2413000"/>
            <a:ext cx="28575" cy="25400"/>
          </a:xfrm>
          <a:custGeom>
            <a:avLst/>
            <a:gdLst>
              <a:gd name="T0" fmla="*/ 0 w 37"/>
              <a:gd name="T1" fmla="*/ 12700 h 30"/>
              <a:gd name="T2" fmla="*/ 0 w 37"/>
              <a:gd name="T3" fmla="*/ 12700 h 30"/>
              <a:gd name="T4" fmla="*/ 0 w 37"/>
              <a:gd name="T5" fmla="*/ 25400 h 30"/>
              <a:gd name="T6" fmla="*/ 28575 w 37"/>
              <a:gd name="T7" fmla="*/ 25400 h 30"/>
              <a:gd name="T8" fmla="*/ 28575 w 37"/>
              <a:gd name="T9" fmla="*/ 12700 h 30"/>
              <a:gd name="T10" fmla="*/ 28575 w 37"/>
              <a:gd name="T11" fmla="*/ 0 h 30"/>
              <a:gd name="T12" fmla="*/ 0 w 37"/>
              <a:gd name="T13" fmla="*/ 12700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noFill/>
          <a:ln w="9525">
            <a:solidFill>
              <a:schemeClr val="bg2"/>
            </a:solidFill>
            <a:prstDash val="solid"/>
            <a:round/>
            <a:headEnd/>
            <a:tailEnd/>
          </a:ln>
        </p:spPr>
        <p:txBody>
          <a:bodyPr/>
          <a:lstStyle/>
          <a:p>
            <a:endParaRPr lang="en-US" dirty="0"/>
          </a:p>
        </p:txBody>
      </p:sp>
      <p:sp>
        <p:nvSpPr>
          <p:cNvPr id="18636" name="Freeform 203"/>
          <p:cNvSpPr>
            <a:spLocks noChangeAspect="1"/>
          </p:cNvSpPr>
          <p:nvPr/>
        </p:nvSpPr>
        <p:spPr bwMode="auto">
          <a:xfrm>
            <a:off x="4518025" y="2454275"/>
            <a:ext cx="28575" cy="14288"/>
          </a:xfrm>
          <a:custGeom>
            <a:avLst/>
            <a:gdLst>
              <a:gd name="T0" fmla="*/ 0 w 37"/>
              <a:gd name="T1" fmla="*/ 0 h 15"/>
              <a:gd name="T2" fmla="*/ 0 w 37"/>
              <a:gd name="T3" fmla="*/ 0 h 15"/>
              <a:gd name="T4" fmla="*/ 0 w 37"/>
              <a:gd name="T5" fmla="*/ 14288 h 15"/>
              <a:gd name="T6" fmla="*/ 28575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noFill/>
          <a:ln w="9525">
            <a:solidFill>
              <a:schemeClr val="bg2"/>
            </a:solidFill>
            <a:prstDash val="solid"/>
            <a:round/>
            <a:headEnd/>
            <a:tailEnd/>
          </a:ln>
        </p:spPr>
        <p:txBody>
          <a:bodyPr/>
          <a:lstStyle/>
          <a:p>
            <a:endParaRPr lang="en-US" dirty="0"/>
          </a:p>
        </p:txBody>
      </p:sp>
      <p:sp>
        <p:nvSpPr>
          <p:cNvPr id="18637" name="Freeform 204"/>
          <p:cNvSpPr>
            <a:spLocks noChangeAspect="1"/>
          </p:cNvSpPr>
          <p:nvPr/>
        </p:nvSpPr>
        <p:spPr bwMode="auto">
          <a:xfrm>
            <a:off x="4667250" y="2339975"/>
            <a:ext cx="28575" cy="30163"/>
          </a:xfrm>
          <a:custGeom>
            <a:avLst/>
            <a:gdLst>
              <a:gd name="T0" fmla="*/ 0 w 37"/>
              <a:gd name="T1" fmla="*/ 13710 h 33"/>
              <a:gd name="T2" fmla="*/ 0 w 37"/>
              <a:gd name="T3" fmla="*/ 13710 h 33"/>
              <a:gd name="T4" fmla="*/ 0 w 37"/>
              <a:gd name="T5" fmla="*/ 30163 h 33"/>
              <a:gd name="T6" fmla="*/ 13901 w 37"/>
              <a:gd name="T7" fmla="*/ 30163 h 33"/>
              <a:gd name="T8" fmla="*/ 13901 w 37"/>
              <a:gd name="T9" fmla="*/ 0 h 33"/>
              <a:gd name="T10" fmla="*/ 28575 w 37"/>
              <a:gd name="T11" fmla="*/ 0 h 33"/>
              <a:gd name="T12" fmla="*/ 0 w 37"/>
              <a:gd name="T13" fmla="*/ 13710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638" name="Freeform 205"/>
          <p:cNvSpPr>
            <a:spLocks noChangeAspect="1"/>
          </p:cNvSpPr>
          <p:nvPr/>
        </p:nvSpPr>
        <p:spPr bwMode="auto">
          <a:xfrm>
            <a:off x="4749800" y="2311400"/>
            <a:ext cx="26988" cy="15875"/>
          </a:xfrm>
          <a:custGeom>
            <a:avLst/>
            <a:gdLst>
              <a:gd name="T0" fmla="*/ 0 w 37"/>
              <a:gd name="T1" fmla="*/ 0 h 18"/>
              <a:gd name="T2" fmla="*/ 0 w 37"/>
              <a:gd name="T3" fmla="*/ 0 h 18"/>
              <a:gd name="T4" fmla="*/ 0 w 37"/>
              <a:gd name="T5" fmla="*/ 15875 h 18"/>
              <a:gd name="T6" fmla="*/ 26988 w 37"/>
              <a:gd name="T7" fmla="*/ 0 h 18"/>
              <a:gd name="T8" fmla="*/ 1385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639" name="Freeform 206"/>
          <p:cNvSpPr>
            <a:spLocks noChangeAspect="1"/>
          </p:cNvSpPr>
          <p:nvPr/>
        </p:nvSpPr>
        <p:spPr bwMode="auto">
          <a:xfrm>
            <a:off x="4764088" y="2286000"/>
            <a:ext cx="12700" cy="11113"/>
          </a:xfrm>
          <a:custGeom>
            <a:avLst/>
            <a:gdLst>
              <a:gd name="T0" fmla="*/ 0 w 18"/>
              <a:gd name="T1" fmla="*/ 11113 h 15"/>
              <a:gd name="T2" fmla="*/ 0 w 18"/>
              <a:gd name="T3" fmla="*/ 11113 h 15"/>
              <a:gd name="T4" fmla="*/ 12700 w 18"/>
              <a:gd name="T5" fmla="*/ 11113 h 15"/>
              <a:gd name="T6" fmla="*/ 0 w 18"/>
              <a:gd name="T7" fmla="*/ 0 h 15"/>
              <a:gd name="T8" fmla="*/ 0 w 18"/>
              <a:gd name="T9" fmla="*/ 11113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640" name="Freeform 207"/>
          <p:cNvSpPr>
            <a:spLocks noChangeAspect="1"/>
          </p:cNvSpPr>
          <p:nvPr/>
        </p:nvSpPr>
        <p:spPr bwMode="auto">
          <a:xfrm>
            <a:off x="5286375" y="2438400"/>
            <a:ext cx="871538" cy="482600"/>
          </a:xfrm>
          <a:custGeom>
            <a:avLst/>
            <a:gdLst>
              <a:gd name="T0" fmla="*/ 858178 w 1109"/>
              <a:gd name="T1" fmla="*/ 241743 h 545"/>
              <a:gd name="T2" fmla="*/ 829887 w 1109"/>
              <a:gd name="T3" fmla="*/ 297530 h 545"/>
              <a:gd name="T4" fmla="*/ 775661 w 1109"/>
              <a:gd name="T5" fmla="*/ 297530 h 545"/>
              <a:gd name="T6" fmla="*/ 720649 w 1109"/>
              <a:gd name="T7" fmla="*/ 355087 h 545"/>
              <a:gd name="T8" fmla="*/ 734795 w 1109"/>
              <a:gd name="T9" fmla="*/ 425042 h 545"/>
              <a:gd name="T10" fmla="*/ 693930 w 1109"/>
              <a:gd name="T11" fmla="*/ 425042 h 545"/>
              <a:gd name="T12" fmla="*/ 585479 w 1109"/>
              <a:gd name="T13" fmla="*/ 411760 h 545"/>
              <a:gd name="T14" fmla="*/ 571333 w 1109"/>
              <a:gd name="T15" fmla="*/ 440096 h 545"/>
              <a:gd name="T16" fmla="*/ 517107 w 1109"/>
              <a:gd name="T17" fmla="*/ 440096 h 545"/>
              <a:gd name="T18" fmla="*/ 462882 w 1109"/>
              <a:gd name="T19" fmla="*/ 467546 h 545"/>
              <a:gd name="T20" fmla="*/ 436162 w 1109"/>
              <a:gd name="T21" fmla="*/ 454264 h 545"/>
              <a:gd name="T22" fmla="*/ 422016 w 1109"/>
              <a:gd name="T23" fmla="*/ 425042 h 545"/>
              <a:gd name="T24" fmla="*/ 325353 w 1109"/>
              <a:gd name="T25" fmla="*/ 397591 h 545"/>
              <a:gd name="T26" fmla="*/ 257768 w 1109"/>
              <a:gd name="T27" fmla="*/ 340034 h 545"/>
              <a:gd name="T28" fmla="*/ 203542 w 1109"/>
              <a:gd name="T29" fmla="*/ 467546 h 545"/>
              <a:gd name="T30" fmla="*/ 162677 w 1109"/>
              <a:gd name="T31" fmla="*/ 440096 h 545"/>
              <a:gd name="T32" fmla="*/ 121811 w 1109"/>
              <a:gd name="T33" fmla="*/ 425042 h 545"/>
              <a:gd name="T34" fmla="*/ 95091 w 1109"/>
              <a:gd name="T35" fmla="*/ 382538 h 545"/>
              <a:gd name="T36" fmla="*/ 108451 w 1109"/>
              <a:gd name="T37" fmla="*/ 382538 h 545"/>
              <a:gd name="T38" fmla="*/ 108451 w 1109"/>
              <a:gd name="T39" fmla="*/ 355087 h 545"/>
              <a:gd name="T40" fmla="*/ 149317 w 1109"/>
              <a:gd name="T41" fmla="*/ 312583 h 545"/>
              <a:gd name="T42" fmla="*/ 95091 w 1109"/>
              <a:gd name="T43" fmla="*/ 284247 h 545"/>
              <a:gd name="T44" fmla="*/ 40866 w 1109"/>
              <a:gd name="T45" fmla="*/ 312583 h 545"/>
              <a:gd name="T46" fmla="*/ 40866 w 1109"/>
              <a:gd name="T47" fmla="*/ 270079 h 545"/>
              <a:gd name="T48" fmla="*/ 0 w 1109"/>
              <a:gd name="T49" fmla="*/ 241743 h 545"/>
              <a:gd name="T50" fmla="*/ 40866 w 1109"/>
              <a:gd name="T51" fmla="*/ 199238 h 545"/>
              <a:gd name="T52" fmla="*/ 40866 w 1109"/>
              <a:gd name="T53" fmla="*/ 170017 h 545"/>
              <a:gd name="T54" fmla="*/ 108451 w 1109"/>
              <a:gd name="T55" fmla="*/ 142566 h 545"/>
              <a:gd name="T56" fmla="*/ 149317 w 1109"/>
              <a:gd name="T57" fmla="*/ 142566 h 545"/>
              <a:gd name="T58" fmla="*/ 216902 w 1109"/>
              <a:gd name="T59" fmla="*/ 156734 h 545"/>
              <a:gd name="T60" fmla="*/ 257768 w 1109"/>
              <a:gd name="T61" fmla="*/ 170017 h 545"/>
              <a:gd name="T62" fmla="*/ 325353 w 1109"/>
              <a:gd name="T63" fmla="*/ 142566 h 545"/>
              <a:gd name="T64" fmla="*/ 311993 w 1109"/>
              <a:gd name="T65" fmla="*/ 114230 h 545"/>
              <a:gd name="T66" fmla="*/ 311993 w 1109"/>
              <a:gd name="T67" fmla="*/ 85008 h 545"/>
              <a:gd name="T68" fmla="*/ 339499 w 1109"/>
              <a:gd name="T69" fmla="*/ 57558 h 545"/>
              <a:gd name="T70" fmla="*/ 462882 w 1109"/>
              <a:gd name="T71" fmla="*/ 0 h 545"/>
              <a:gd name="T72" fmla="*/ 517107 w 1109"/>
              <a:gd name="T73" fmla="*/ 0 h 545"/>
              <a:gd name="T74" fmla="*/ 531253 w 1109"/>
              <a:gd name="T75" fmla="*/ 42504 h 545"/>
              <a:gd name="T76" fmla="*/ 571333 w 1109"/>
              <a:gd name="T77" fmla="*/ 57558 h 545"/>
              <a:gd name="T78" fmla="*/ 598838 w 1109"/>
              <a:gd name="T79" fmla="*/ 71726 h 545"/>
              <a:gd name="T80" fmla="*/ 653064 w 1109"/>
              <a:gd name="T81" fmla="*/ 29222 h 545"/>
              <a:gd name="T82" fmla="*/ 720649 w 1109"/>
              <a:gd name="T83" fmla="*/ 170017 h 545"/>
              <a:gd name="T84" fmla="*/ 748155 w 1109"/>
              <a:gd name="T85" fmla="*/ 170017 h 545"/>
              <a:gd name="T86" fmla="*/ 829887 w 1109"/>
              <a:gd name="T87" fmla="*/ 199238 h 545"/>
              <a:gd name="T88" fmla="*/ 858178 w 1109"/>
              <a:gd name="T89" fmla="*/ 199238 h 545"/>
              <a:gd name="T90" fmla="*/ 858178 w 1109"/>
              <a:gd name="T91" fmla="*/ 241743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chemeClr val="bg1"/>
          </a:solidFill>
          <a:ln w="9525">
            <a:solidFill>
              <a:schemeClr val="bg2"/>
            </a:solidFill>
            <a:round/>
            <a:headEnd/>
            <a:tailEnd/>
          </a:ln>
        </p:spPr>
        <p:txBody>
          <a:bodyPr/>
          <a:lstStyle/>
          <a:p>
            <a:endParaRPr lang="en-US" dirty="0"/>
          </a:p>
        </p:txBody>
      </p:sp>
      <p:sp>
        <p:nvSpPr>
          <p:cNvPr id="18641" name="Freeform 208"/>
          <p:cNvSpPr>
            <a:spLocks noChangeAspect="1"/>
          </p:cNvSpPr>
          <p:nvPr/>
        </p:nvSpPr>
        <p:spPr bwMode="auto">
          <a:xfrm>
            <a:off x="5407025" y="2862263"/>
            <a:ext cx="315913" cy="212725"/>
          </a:xfrm>
          <a:custGeom>
            <a:avLst/>
            <a:gdLst>
              <a:gd name="T0" fmla="*/ 301697 w 400"/>
              <a:gd name="T1" fmla="*/ 170180 h 240"/>
              <a:gd name="T2" fmla="*/ 301697 w 400"/>
              <a:gd name="T3" fmla="*/ 170180 h 240"/>
              <a:gd name="T4" fmla="*/ 288271 w 400"/>
              <a:gd name="T5" fmla="*/ 155998 h 240"/>
              <a:gd name="T6" fmla="*/ 288271 w 400"/>
              <a:gd name="T7" fmla="*/ 170180 h 240"/>
              <a:gd name="T8" fmla="*/ 274844 w 400"/>
              <a:gd name="T9" fmla="*/ 170180 h 240"/>
              <a:gd name="T10" fmla="*/ 260628 w 400"/>
              <a:gd name="T11" fmla="*/ 198543 h 240"/>
              <a:gd name="T12" fmla="*/ 233776 w 400"/>
              <a:gd name="T13" fmla="*/ 198543 h 240"/>
              <a:gd name="T14" fmla="*/ 233776 w 400"/>
              <a:gd name="T15" fmla="*/ 212725 h 240"/>
              <a:gd name="T16" fmla="*/ 191127 w 400"/>
              <a:gd name="T17" fmla="*/ 212725 h 240"/>
              <a:gd name="T18" fmla="*/ 191127 w 400"/>
              <a:gd name="T19" fmla="*/ 198543 h 240"/>
              <a:gd name="T20" fmla="*/ 191127 w 400"/>
              <a:gd name="T21" fmla="*/ 185248 h 240"/>
              <a:gd name="T22" fmla="*/ 109780 w 400"/>
              <a:gd name="T23" fmla="*/ 142703 h 240"/>
              <a:gd name="T24" fmla="*/ 68711 w 400"/>
              <a:gd name="T25" fmla="*/ 142703 h 240"/>
              <a:gd name="T26" fmla="*/ 41069 w 400"/>
              <a:gd name="T27" fmla="*/ 155998 h 240"/>
              <a:gd name="T28" fmla="*/ 41069 w 400"/>
              <a:gd name="T29" fmla="*/ 114340 h 240"/>
              <a:gd name="T30" fmla="*/ 27642 w 400"/>
              <a:gd name="T31" fmla="*/ 114340 h 240"/>
              <a:gd name="T32" fmla="*/ 27642 w 400"/>
              <a:gd name="T33" fmla="*/ 85090 h 240"/>
              <a:gd name="T34" fmla="*/ 14216 w 400"/>
              <a:gd name="T35" fmla="*/ 85090 h 240"/>
              <a:gd name="T36" fmla="*/ 14216 w 400"/>
              <a:gd name="T37" fmla="*/ 71795 h 240"/>
              <a:gd name="T38" fmla="*/ 41069 w 400"/>
              <a:gd name="T39" fmla="*/ 71795 h 240"/>
              <a:gd name="T40" fmla="*/ 54495 w 400"/>
              <a:gd name="T41" fmla="*/ 57613 h 240"/>
              <a:gd name="T42" fmla="*/ 27642 w 400"/>
              <a:gd name="T43" fmla="*/ 29250 h 240"/>
              <a:gd name="T44" fmla="*/ 14216 w 400"/>
              <a:gd name="T45" fmla="*/ 29250 h 240"/>
              <a:gd name="T46" fmla="*/ 14216 w 400"/>
              <a:gd name="T47" fmla="*/ 57613 h 240"/>
              <a:gd name="T48" fmla="*/ 0 w 400"/>
              <a:gd name="T49" fmla="*/ 29250 h 240"/>
              <a:gd name="T50" fmla="*/ 41069 w 400"/>
              <a:gd name="T51" fmla="*/ 15068 h 240"/>
              <a:gd name="T52" fmla="*/ 68711 w 400"/>
              <a:gd name="T53" fmla="*/ 42545 h 240"/>
              <a:gd name="T54" fmla="*/ 82137 w 400"/>
              <a:gd name="T55" fmla="*/ 42545 h 240"/>
              <a:gd name="T56" fmla="*/ 95564 w 400"/>
              <a:gd name="T57" fmla="*/ 42545 h 240"/>
              <a:gd name="T58" fmla="*/ 95564 w 400"/>
              <a:gd name="T59" fmla="*/ 29250 h 240"/>
              <a:gd name="T60" fmla="*/ 123206 w 400"/>
              <a:gd name="T61" fmla="*/ 15068 h 240"/>
              <a:gd name="T62" fmla="*/ 136632 w 400"/>
              <a:gd name="T63" fmla="*/ 15068 h 240"/>
              <a:gd name="T64" fmla="*/ 123206 w 400"/>
              <a:gd name="T65" fmla="*/ 0 h 240"/>
              <a:gd name="T66" fmla="*/ 136632 w 400"/>
              <a:gd name="T67" fmla="*/ 0 h 240"/>
              <a:gd name="T68" fmla="*/ 164275 w 400"/>
              <a:gd name="T69" fmla="*/ 15068 h 240"/>
              <a:gd name="T70" fmla="*/ 164275 w 400"/>
              <a:gd name="T71" fmla="*/ 42545 h 240"/>
              <a:gd name="T72" fmla="*/ 204554 w 400"/>
              <a:gd name="T73" fmla="*/ 42545 h 240"/>
              <a:gd name="T74" fmla="*/ 220349 w 400"/>
              <a:gd name="T75" fmla="*/ 85090 h 240"/>
              <a:gd name="T76" fmla="*/ 288271 w 400"/>
              <a:gd name="T77" fmla="*/ 127635 h 240"/>
              <a:gd name="T78" fmla="*/ 315913 w 400"/>
              <a:gd name="T79" fmla="*/ 142703 h 240"/>
              <a:gd name="T80" fmla="*/ 301697 w 400"/>
              <a:gd name="T81" fmla="*/ 17018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chemeClr val="bg1"/>
          </a:solidFill>
          <a:ln w="9525">
            <a:solidFill>
              <a:schemeClr val="bg2"/>
            </a:solidFill>
            <a:round/>
            <a:headEnd/>
            <a:tailEnd/>
          </a:ln>
        </p:spPr>
        <p:txBody>
          <a:bodyPr/>
          <a:lstStyle/>
          <a:p>
            <a:endParaRPr lang="en-US" dirty="0"/>
          </a:p>
        </p:txBody>
      </p:sp>
      <p:sp>
        <p:nvSpPr>
          <p:cNvPr id="18642" name="Freeform 209"/>
          <p:cNvSpPr>
            <a:spLocks noChangeAspect="1"/>
          </p:cNvSpPr>
          <p:nvPr/>
        </p:nvSpPr>
        <p:spPr bwMode="auto">
          <a:xfrm>
            <a:off x="5487988" y="2778125"/>
            <a:ext cx="369887" cy="254000"/>
          </a:xfrm>
          <a:custGeom>
            <a:avLst/>
            <a:gdLst>
              <a:gd name="T0" fmla="*/ 218139 w 468"/>
              <a:gd name="T1" fmla="*/ 254000 h 288"/>
              <a:gd name="T2" fmla="*/ 218139 w 468"/>
              <a:gd name="T3" fmla="*/ 254000 h 288"/>
              <a:gd name="T4" fmla="*/ 245801 w 468"/>
              <a:gd name="T5" fmla="*/ 254000 h 288"/>
              <a:gd name="T6" fmla="*/ 259237 w 468"/>
              <a:gd name="T7" fmla="*/ 226660 h 288"/>
              <a:gd name="T8" fmla="*/ 259237 w 468"/>
              <a:gd name="T9" fmla="*/ 198437 h 288"/>
              <a:gd name="T10" fmla="*/ 245801 w 468"/>
              <a:gd name="T11" fmla="*/ 184326 h 288"/>
              <a:gd name="T12" fmla="*/ 273463 w 468"/>
              <a:gd name="T13" fmla="*/ 184326 h 288"/>
              <a:gd name="T14" fmla="*/ 286900 w 468"/>
              <a:gd name="T15" fmla="*/ 156104 h 288"/>
              <a:gd name="T16" fmla="*/ 286900 w 468"/>
              <a:gd name="T17" fmla="*/ 141993 h 288"/>
              <a:gd name="T18" fmla="*/ 315352 w 468"/>
              <a:gd name="T19" fmla="*/ 141993 h 288"/>
              <a:gd name="T20" fmla="*/ 315352 w 468"/>
              <a:gd name="T21" fmla="*/ 156104 h 288"/>
              <a:gd name="T22" fmla="*/ 343015 w 468"/>
              <a:gd name="T23" fmla="*/ 156104 h 288"/>
              <a:gd name="T24" fmla="*/ 369887 w 468"/>
              <a:gd name="T25" fmla="*/ 141993 h 288"/>
              <a:gd name="T26" fmla="*/ 343015 w 468"/>
              <a:gd name="T27" fmla="*/ 127000 h 288"/>
              <a:gd name="T28" fmla="*/ 329579 w 468"/>
              <a:gd name="T29" fmla="*/ 127000 h 288"/>
              <a:gd name="T30" fmla="*/ 300336 w 468"/>
              <a:gd name="T31" fmla="*/ 127000 h 288"/>
              <a:gd name="T32" fmla="*/ 329579 w 468"/>
              <a:gd name="T33" fmla="*/ 99660 h 288"/>
              <a:gd name="T34" fmla="*/ 315352 w 468"/>
              <a:gd name="T35" fmla="*/ 99660 h 288"/>
              <a:gd name="T36" fmla="*/ 273463 w 468"/>
              <a:gd name="T37" fmla="*/ 141993 h 288"/>
              <a:gd name="T38" fmla="*/ 259237 w 468"/>
              <a:gd name="T39" fmla="*/ 127000 h 288"/>
              <a:gd name="T40" fmla="*/ 232365 w 468"/>
              <a:gd name="T41" fmla="*/ 127000 h 288"/>
              <a:gd name="T42" fmla="*/ 232365 w 468"/>
              <a:gd name="T43" fmla="*/ 113771 h 288"/>
              <a:gd name="T44" fmla="*/ 218139 w 468"/>
              <a:gd name="T45" fmla="*/ 113771 h 288"/>
              <a:gd name="T46" fmla="*/ 218139 w 468"/>
              <a:gd name="T47" fmla="*/ 84667 h 288"/>
              <a:gd name="T48" fmla="*/ 191266 w 468"/>
              <a:gd name="T49" fmla="*/ 57326 h 288"/>
              <a:gd name="T50" fmla="*/ 122505 w 468"/>
              <a:gd name="T51" fmla="*/ 57326 h 288"/>
              <a:gd name="T52" fmla="*/ 82197 w 468"/>
              <a:gd name="T53" fmla="*/ 14993 h 288"/>
              <a:gd name="T54" fmla="*/ 54535 w 468"/>
              <a:gd name="T55" fmla="*/ 0 h 288"/>
              <a:gd name="T56" fmla="*/ 0 w 468"/>
              <a:gd name="T57" fmla="*/ 14993 h 288"/>
              <a:gd name="T58" fmla="*/ 0 w 468"/>
              <a:gd name="T59" fmla="*/ 127000 h 288"/>
              <a:gd name="T60" fmla="*/ 13436 w 468"/>
              <a:gd name="T61" fmla="*/ 127000 h 288"/>
              <a:gd name="T62" fmla="*/ 13436 w 468"/>
              <a:gd name="T63" fmla="*/ 113771 h 288"/>
              <a:gd name="T64" fmla="*/ 41099 w 468"/>
              <a:gd name="T65" fmla="*/ 99660 h 288"/>
              <a:gd name="T66" fmla="*/ 54535 w 468"/>
              <a:gd name="T67" fmla="*/ 99660 h 288"/>
              <a:gd name="T68" fmla="*/ 41099 w 468"/>
              <a:gd name="T69" fmla="*/ 84667 h 288"/>
              <a:gd name="T70" fmla="*/ 54535 w 468"/>
              <a:gd name="T71" fmla="*/ 84667 h 288"/>
              <a:gd name="T72" fmla="*/ 82197 w 468"/>
              <a:gd name="T73" fmla="*/ 99660 h 288"/>
              <a:gd name="T74" fmla="*/ 82197 w 468"/>
              <a:gd name="T75" fmla="*/ 127000 h 288"/>
              <a:gd name="T76" fmla="*/ 122505 w 468"/>
              <a:gd name="T77" fmla="*/ 127000 h 288"/>
              <a:gd name="T78" fmla="*/ 136732 w 468"/>
              <a:gd name="T79" fmla="*/ 169333 h 288"/>
              <a:gd name="T80" fmla="*/ 204702 w 468"/>
              <a:gd name="T81" fmla="*/ 211667 h 288"/>
              <a:gd name="T82" fmla="*/ 232365 w 468"/>
              <a:gd name="T83" fmla="*/ 226660 h 288"/>
              <a:gd name="T84" fmla="*/ 218139 w 468"/>
              <a:gd name="T85" fmla="*/ 25400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chemeClr val="bg1"/>
          </a:solidFill>
          <a:ln w="9525">
            <a:solidFill>
              <a:schemeClr val="bg2"/>
            </a:solidFill>
            <a:round/>
            <a:headEnd/>
            <a:tailEnd/>
          </a:ln>
        </p:spPr>
        <p:txBody>
          <a:bodyPr/>
          <a:lstStyle/>
          <a:p>
            <a:endParaRPr lang="en-US" dirty="0"/>
          </a:p>
        </p:txBody>
      </p:sp>
      <p:sp>
        <p:nvSpPr>
          <p:cNvPr id="18643" name="Freeform 210"/>
          <p:cNvSpPr>
            <a:spLocks noChangeAspect="1"/>
          </p:cNvSpPr>
          <p:nvPr/>
        </p:nvSpPr>
        <p:spPr bwMode="auto">
          <a:xfrm>
            <a:off x="5734050" y="2921000"/>
            <a:ext cx="165100" cy="127000"/>
          </a:xfrm>
          <a:custGeom>
            <a:avLst/>
            <a:gdLst>
              <a:gd name="T0" fmla="*/ 138242 w 209"/>
              <a:gd name="T1" fmla="*/ 42333 h 144"/>
              <a:gd name="T2" fmla="*/ 138242 w 209"/>
              <a:gd name="T3" fmla="*/ 42333 h 144"/>
              <a:gd name="T4" fmla="*/ 138242 w 209"/>
              <a:gd name="T5" fmla="*/ 69674 h 144"/>
              <a:gd name="T6" fmla="*/ 165100 w 209"/>
              <a:gd name="T7" fmla="*/ 69674 h 144"/>
              <a:gd name="T8" fmla="*/ 165100 w 209"/>
              <a:gd name="T9" fmla="*/ 112007 h 144"/>
              <a:gd name="T10" fmla="*/ 124023 w 209"/>
              <a:gd name="T11" fmla="*/ 97896 h 144"/>
              <a:gd name="T12" fmla="*/ 97164 w 209"/>
              <a:gd name="T13" fmla="*/ 127000 h 144"/>
              <a:gd name="T14" fmla="*/ 83735 w 209"/>
              <a:gd name="T15" fmla="*/ 84667 h 144"/>
              <a:gd name="T16" fmla="*/ 69516 w 209"/>
              <a:gd name="T17" fmla="*/ 69674 h 144"/>
              <a:gd name="T18" fmla="*/ 56087 w 209"/>
              <a:gd name="T19" fmla="*/ 97896 h 144"/>
              <a:gd name="T20" fmla="*/ 42657 w 209"/>
              <a:gd name="T21" fmla="*/ 97896 h 144"/>
              <a:gd name="T22" fmla="*/ 42657 w 209"/>
              <a:gd name="T23" fmla="*/ 112007 h 144"/>
              <a:gd name="T24" fmla="*/ 13429 w 209"/>
              <a:gd name="T25" fmla="*/ 112007 h 144"/>
              <a:gd name="T26" fmla="*/ 0 w 209"/>
              <a:gd name="T27" fmla="*/ 112007 h 144"/>
              <a:gd name="T28" fmla="*/ 13429 w 209"/>
              <a:gd name="T29" fmla="*/ 84667 h 144"/>
              <a:gd name="T30" fmla="*/ 13429 w 209"/>
              <a:gd name="T31" fmla="*/ 56444 h 144"/>
              <a:gd name="T32" fmla="*/ 0 w 209"/>
              <a:gd name="T33" fmla="*/ 42333 h 144"/>
              <a:gd name="T34" fmla="*/ 27648 w 209"/>
              <a:gd name="T35" fmla="*/ 42333 h 144"/>
              <a:gd name="T36" fmla="*/ 42657 w 209"/>
              <a:gd name="T37" fmla="*/ 14111 h 144"/>
              <a:gd name="T38" fmla="*/ 42657 w 209"/>
              <a:gd name="T39" fmla="*/ 0 h 144"/>
              <a:gd name="T40" fmla="*/ 69516 w 209"/>
              <a:gd name="T41" fmla="*/ 0 h 144"/>
              <a:gd name="T42" fmla="*/ 69516 w 209"/>
              <a:gd name="T43" fmla="*/ 14111 h 144"/>
              <a:gd name="T44" fmla="*/ 69516 w 209"/>
              <a:gd name="T45" fmla="*/ 27340 h 144"/>
              <a:gd name="T46" fmla="*/ 42657 w 209"/>
              <a:gd name="T47" fmla="*/ 27340 h 144"/>
              <a:gd name="T48" fmla="*/ 42657 w 209"/>
              <a:gd name="T49" fmla="*/ 42333 h 144"/>
              <a:gd name="T50" fmla="*/ 83735 w 209"/>
              <a:gd name="T51" fmla="*/ 42333 h 144"/>
              <a:gd name="T52" fmla="*/ 97164 w 209"/>
              <a:gd name="T53" fmla="*/ 42333 h 144"/>
              <a:gd name="T54" fmla="*/ 138242 w 209"/>
              <a:gd name="T55" fmla="*/ 42333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chemeClr val="bg1"/>
          </a:solidFill>
          <a:ln w="9525">
            <a:solidFill>
              <a:schemeClr val="bg2"/>
            </a:solidFill>
            <a:round/>
            <a:headEnd/>
            <a:tailEnd/>
          </a:ln>
        </p:spPr>
        <p:txBody>
          <a:bodyPr/>
          <a:lstStyle/>
          <a:p>
            <a:endParaRPr lang="en-US" dirty="0"/>
          </a:p>
        </p:txBody>
      </p:sp>
      <p:sp>
        <p:nvSpPr>
          <p:cNvPr id="18644" name="Freeform 211"/>
          <p:cNvSpPr>
            <a:spLocks noChangeAspect="1"/>
          </p:cNvSpPr>
          <p:nvPr/>
        </p:nvSpPr>
        <p:spPr bwMode="auto">
          <a:xfrm>
            <a:off x="5776913" y="2849563"/>
            <a:ext cx="234950" cy="112712"/>
          </a:xfrm>
          <a:custGeom>
            <a:avLst/>
            <a:gdLst>
              <a:gd name="T0" fmla="*/ 234950 w 295"/>
              <a:gd name="T1" fmla="*/ 28178 h 128"/>
              <a:gd name="T2" fmla="*/ 234950 w 295"/>
              <a:gd name="T3" fmla="*/ 28178 h 128"/>
              <a:gd name="T4" fmla="*/ 234950 w 295"/>
              <a:gd name="T5" fmla="*/ 42267 h 128"/>
              <a:gd name="T6" fmla="*/ 192739 w 295"/>
              <a:gd name="T7" fmla="*/ 70445 h 128"/>
              <a:gd name="T8" fmla="*/ 164863 w 295"/>
              <a:gd name="T9" fmla="*/ 70445 h 128"/>
              <a:gd name="T10" fmla="*/ 151324 w 295"/>
              <a:gd name="T11" fmla="*/ 84534 h 128"/>
              <a:gd name="T12" fmla="*/ 123448 w 295"/>
              <a:gd name="T13" fmla="*/ 84534 h 128"/>
              <a:gd name="T14" fmla="*/ 96369 w 295"/>
              <a:gd name="T15" fmla="*/ 97742 h 128"/>
              <a:gd name="T16" fmla="*/ 96369 w 295"/>
              <a:gd name="T17" fmla="*/ 112712 h 128"/>
              <a:gd name="T18" fmla="*/ 54954 w 295"/>
              <a:gd name="T19" fmla="*/ 112712 h 128"/>
              <a:gd name="T20" fmla="*/ 41415 w 295"/>
              <a:gd name="T21" fmla="*/ 112712 h 128"/>
              <a:gd name="T22" fmla="*/ 0 w 295"/>
              <a:gd name="T23" fmla="*/ 112712 h 128"/>
              <a:gd name="T24" fmla="*/ 0 w 295"/>
              <a:gd name="T25" fmla="*/ 97742 h 128"/>
              <a:gd name="T26" fmla="*/ 27079 w 295"/>
              <a:gd name="T27" fmla="*/ 97742 h 128"/>
              <a:gd name="T28" fmla="*/ 27079 w 295"/>
              <a:gd name="T29" fmla="*/ 84534 h 128"/>
              <a:gd name="T30" fmla="*/ 54954 w 295"/>
              <a:gd name="T31" fmla="*/ 84534 h 128"/>
              <a:gd name="T32" fmla="*/ 82033 w 295"/>
              <a:gd name="T33" fmla="*/ 70445 h 128"/>
              <a:gd name="T34" fmla="*/ 54954 w 295"/>
              <a:gd name="T35" fmla="*/ 55475 h 128"/>
              <a:gd name="T36" fmla="*/ 41415 w 295"/>
              <a:gd name="T37" fmla="*/ 55475 h 128"/>
              <a:gd name="T38" fmla="*/ 13539 w 295"/>
              <a:gd name="T39" fmla="*/ 55475 h 128"/>
              <a:gd name="T40" fmla="*/ 41415 w 295"/>
              <a:gd name="T41" fmla="*/ 28178 h 128"/>
              <a:gd name="T42" fmla="*/ 27079 w 295"/>
              <a:gd name="T43" fmla="*/ 28178 h 128"/>
              <a:gd name="T44" fmla="*/ 41415 w 295"/>
              <a:gd name="T45" fmla="*/ 13208 h 128"/>
              <a:gd name="T46" fmla="*/ 82033 w 295"/>
              <a:gd name="T47" fmla="*/ 28178 h 128"/>
              <a:gd name="T48" fmla="*/ 82033 w 295"/>
              <a:gd name="T49" fmla="*/ 13208 h 128"/>
              <a:gd name="T50" fmla="*/ 96369 w 295"/>
              <a:gd name="T51" fmla="*/ 0 h 128"/>
              <a:gd name="T52" fmla="*/ 123448 w 295"/>
              <a:gd name="T53" fmla="*/ 13208 h 128"/>
              <a:gd name="T54" fmla="*/ 206278 w 295"/>
              <a:gd name="T55" fmla="*/ 13208 h 128"/>
              <a:gd name="T56" fmla="*/ 234950 w 295"/>
              <a:gd name="T57" fmla="*/ 28178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chemeClr val="bg1"/>
          </a:solidFill>
          <a:ln w="9525">
            <a:solidFill>
              <a:schemeClr val="bg2"/>
            </a:solidFill>
            <a:round/>
            <a:headEnd/>
            <a:tailEnd/>
          </a:ln>
        </p:spPr>
        <p:txBody>
          <a:bodyPr/>
          <a:lstStyle/>
          <a:p>
            <a:endParaRPr lang="en-US" dirty="0"/>
          </a:p>
        </p:txBody>
      </p:sp>
      <p:sp>
        <p:nvSpPr>
          <p:cNvPr id="18645" name="Freeform 212"/>
          <p:cNvSpPr>
            <a:spLocks noChangeAspect="1"/>
          </p:cNvSpPr>
          <p:nvPr/>
        </p:nvSpPr>
        <p:spPr bwMode="auto">
          <a:xfrm>
            <a:off x="5599113" y="3032125"/>
            <a:ext cx="355600" cy="354013"/>
          </a:xfrm>
          <a:custGeom>
            <a:avLst/>
            <a:gdLst>
              <a:gd name="T0" fmla="*/ 13464 w 449"/>
              <a:gd name="T1" fmla="*/ 311637 h 401"/>
              <a:gd name="T2" fmla="*/ 13464 w 449"/>
              <a:gd name="T3" fmla="*/ 311637 h 401"/>
              <a:gd name="T4" fmla="*/ 13464 w 449"/>
              <a:gd name="T5" fmla="*/ 282504 h 401"/>
              <a:gd name="T6" fmla="*/ 41183 w 449"/>
              <a:gd name="T7" fmla="*/ 269262 h 401"/>
              <a:gd name="T8" fmla="*/ 27719 w 449"/>
              <a:gd name="T9" fmla="*/ 240129 h 401"/>
              <a:gd name="T10" fmla="*/ 13464 w 449"/>
              <a:gd name="T11" fmla="*/ 226886 h 401"/>
              <a:gd name="T12" fmla="*/ 0 w 449"/>
              <a:gd name="T13" fmla="*/ 197753 h 401"/>
              <a:gd name="T14" fmla="*/ 27719 w 449"/>
              <a:gd name="T15" fmla="*/ 211878 h 401"/>
              <a:gd name="T16" fmla="*/ 109294 w 449"/>
              <a:gd name="T17" fmla="*/ 197753 h 401"/>
              <a:gd name="T18" fmla="*/ 109294 w 449"/>
              <a:gd name="T19" fmla="*/ 169502 h 401"/>
              <a:gd name="T20" fmla="*/ 123549 w 449"/>
              <a:gd name="T21" fmla="*/ 155377 h 401"/>
              <a:gd name="T22" fmla="*/ 178196 w 449"/>
              <a:gd name="T23" fmla="*/ 142135 h 401"/>
              <a:gd name="T24" fmla="*/ 178196 w 449"/>
              <a:gd name="T25" fmla="*/ 113002 h 401"/>
              <a:gd name="T26" fmla="*/ 191660 w 449"/>
              <a:gd name="T27" fmla="*/ 99759 h 401"/>
              <a:gd name="T28" fmla="*/ 191660 w 449"/>
              <a:gd name="T29" fmla="*/ 84751 h 401"/>
              <a:gd name="T30" fmla="*/ 205123 w 449"/>
              <a:gd name="T31" fmla="*/ 84751 h 401"/>
              <a:gd name="T32" fmla="*/ 219379 w 449"/>
              <a:gd name="T33" fmla="*/ 57384 h 401"/>
              <a:gd name="T34" fmla="*/ 219379 w 449"/>
              <a:gd name="T35" fmla="*/ 28250 h 401"/>
              <a:gd name="T36" fmla="*/ 246306 w 449"/>
              <a:gd name="T37" fmla="*/ 15008 h 401"/>
              <a:gd name="T38" fmla="*/ 274026 w 449"/>
              <a:gd name="T39" fmla="*/ 0 h 401"/>
              <a:gd name="T40" fmla="*/ 287490 w 449"/>
              <a:gd name="T41" fmla="*/ 0 h 401"/>
              <a:gd name="T42" fmla="*/ 314417 w 449"/>
              <a:gd name="T43" fmla="*/ 15008 h 401"/>
              <a:gd name="T44" fmla="*/ 328673 w 449"/>
              <a:gd name="T45" fmla="*/ 28250 h 401"/>
              <a:gd name="T46" fmla="*/ 355600 w 449"/>
              <a:gd name="T47" fmla="*/ 42376 h 401"/>
              <a:gd name="T48" fmla="*/ 342136 w 449"/>
              <a:gd name="T49" fmla="*/ 57384 h 401"/>
              <a:gd name="T50" fmla="*/ 314417 w 449"/>
              <a:gd name="T51" fmla="*/ 70626 h 401"/>
              <a:gd name="T52" fmla="*/ 287490 w 449"/>
              <a:gd name="T53" fmla="*/ 57384 h 401"/>
              <a:gd name="T54" fmla="*/ 274026 w 449"/>
              <a:gd name="T55" fmla="*/ 70626 h 401"/>
              <a:gd name="T56" fmla="*/ 287490 w 449"/>
              <a:gd name="T57" fmla="*/ 84751 h 401"/>
              <a:gd name="T58" fmla="*/ 274026 w 449"/>
              <a:gd name="T59" fmla="*/ 113002 h 401"/>
              <a:gd name="T60" fmla="*/ 300953 w 449"/>
              <a:gd name="T61" fmla="*/ 127127 h 401"/>
              <a:gd name="T62" fmla="*/ 300953 w 449"/>
              <a:gd name="T63" fmla="*/ 142135 h 401"/>
              <a:gd name="T64" fmla="*/ 287490 w 449"/>
              <a:gd name="T65" fmla="*/ 142135 h 401"/>
              <a:gd name="T66" fmla="*/ 300953 w 449"/>
              <a:gd name="T67" fmla="*/ 155377 h 401"/>
              <a:gd name="T68" fmla="*/ 232843 w 449"/>
              <a:gd name="T69" fmla="*/ 240129 h 401"/>
              <a:gd name="T70" fmla="*/ 205123 w 449"/>
              <a:gd name="T71" fmla="*/ 254254 h 401"/>
              <a:gd name="T72" fmla="*/ 191660 w 449"/>
              <a:gd name="T73" fmla="*/ 240129 h 401"/>
              <a:gd name="T74" fmla="*/ 178196 w 449"/>
              <a:gd name="T75" fmla="*/ 254254 h 401"/>
              <a:gd name="T76" fmla="*/ 178196 w 449"/>
              <a:gd name="T77" fmla="*/ 282504 h 401"/>
              <a:gd name="T78" fmla="*/ 191660 w 449"/>
              <a:gd name="T79" fmla="*/ 282504 h 401"/>
              <a:gd name="T80" fmla="*/ 191660 w 449"/>
              <a:gd name="T81" fmla="*/ 296629 h 401"/>
              <a:gd name="T82" fmla="*/ 205123 w 449"/>
              <a:gd name="T83" fmla="*/ 296629 h 401"/>
              <a:gd name="T84" fmla="*/ 205123 w 449"/>
              <a:gd name="T85" fmla="*/ 324880 h 401"/>
              <a:gd name="T86" fmla="*/ 205123 w 449"/>
              <a:gd name="T87" fmla="*/ 339005 h 401"/>
              <a:gd name="T88" fmla="*/ 163940 w 449"/>
              <a:gd name="T89" fmla="*/ 339005 h 401"/>
              <a:gd name="T90" fmla="*/ 150477 w 449"/>
              <a:gd name="T91" fmla="*/ 354013 h 401"/>
              <a:gd name="T92" fmla="*/ 137013 w 449"/>
              <a:gd name="T93" fmla="*/ 339005 h 401"/>
              <a:gd name="T94" fmla="*/ 123549 w 449"/>
              <a:gd name="T95" fmla="*/ 311637 h 401"/>
              <a:gd name="T96" fmla="*/ 82366 w 449"/>
              <a:gd name="T97" fmla="*/ 311637 h 401"/>
              <a:gd name="T98" fmla="*/ 54647 w 449"/>
              <a:gd name="T99" fmla="*/ 311637 h 401"/>
              <a:gd name="T100" fmla="*/ 13464 w 449"/>
              <a:gd name="T101" fmla="*/ 311637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01">
                <a:moveTo>
                  <a:pt x="17" y="353"/>
                </a:moveTo>
                <a:lnTo>
                  <a:pt x="17" y="353"/>
                </a:lnTo>
                <a:lnTo>
                  <a:pt x="17" y="320"/>
                </a:lnTo>
                <a:lnTo>
                  <a:pt x="52" y="305"/>
                </a:lnTo>
                <a:lnTo>
                  <a:pt x="35" y="272"/>
                </a:lnTo>
                <a:lnTo>
                  <a:pt x="17" y="257"/>
                </a:lnTo>
                <a:lnTo>
                  <a:pt x="0" y="224"/>
                </a:lnTo>
                <a:lnTo>
                  <a:pt x="35" y="240"/>
                </a:lnTo>
                <a:lnTo>
                  <a:pt x="138" y="224"/>
                </a:lnTo>
                <a:lnTo>
                  <a:pt x="138" y="192"/>
                </a:lnTo>
                <a:lnTo>
                  <a:pt x="156" y="176"/>
                </a:lnTo>
                <a:lnTo>
                  <a:pt x="225" y="161"/>
                </a:lnTo>
                <a:lnTo>
                  <a:pt x="225" y="128"/>
                </a:lnTo>
                <a:lnTo>
                  <a:pt x="242" y="113"/>
                </a:lnTo>
                <a:lnTo>
                  <a:pt x="242" y="96"/>
                </a:lnTo>
                <a:lnTo>
                  <a:pt x="259" y="96"/>
                </a:lnTo>
                <a:lnTo>
                  <a:pt x="277" y="65"/>
                </a:lnTo>
                <a:lnTo>
                  <a:pt x="277" y="32"/>
                </a:lnTo>
                <a:lnTo>
                  <a:pt x="311" y="17"/>
                </a:lnTo>
                <a:lnTo>
                  <a:pt x="346" y="0"/>
                </a:lnTo>
                <a:lnTo>
                  <a:pt x="363" y="0"/>
                </a:lnTo>
                <a:lnTo>
                  <a:pt x="397" y="17"/>
                </a:lnTo>
                <a:lnTo>
                  <a:pt x="415" y="32"/>
                </a:lnTo>
                <a:lnTo>
                  <a:pt x="449" y="48"/>
                </a:lnTo>
                <a:lnTo>
                  <a:pt x="432" y="65"/>
                </a:lnTo>
                <a:lnTo>
                  <a:pt x="397" y="80"/>
                </a:lnTo>
                <a:lnTo>
                  <a:pt x="363" y="65"/>
                </a:lnTo>
                <a:lnTo>
                  <a:pt x="346" y="80"/>
                </a:lnTo>
                <a:lnTo>
                  <a:pt x="363" y="96"/>
                </a:lnTo>
                <a:lnTo>
                  <a:pt x="346" y="128"/>
                </a:lnTo>
                <a:lnTo>
                  <a:pt x="380" y="144"/>
                </a:lnTo>
                <a:lnTo>
                  <a:pt x="380" y="161"/>
                </a:lnTo>
                <a:lnTo>
                  <a:pt x="363" y="161"/>
                </a:lnTo>
                <a:lnTo>
                  <a:pt x="380" y="176"/>
                </a:lnTo>
                <a:lnTo>
                  <a:pt x="294" y="272"/>
                </a:lnTo>
                <a:lnTo>
                  <a:pt x="259" y="288"/>
                </a:lnTo>
                <a:lnTo>
                  <a:pt x="242" y="272"/>
                </a:lnTo>
                <a:lnTo>
                  <a:pt x="225" y="288"/>
                </a:lnTo>
                <a:lnTo>
                  <a:pt x="225" y="320"/>
                </a:lnTo>
                <a:lnTo>
                  <a:pt x="242" y="320"/>
                </a:lnTo>
                <a:lnTo>
                  <a:pt x="242" y="336"/>
                </a:lnTo>
                <a:lnTo>
                  <a:pt x="259" y="336"/>
                </a:lnTo>
                <a:lnTo>
                  <a:pt x="259" y="368"/>
                </a:lnTo>
                <a:lnTo>
                  <a:pt x="259" y="384"/>
                </a:lnTo>
                <a:lnTo>
                  <a:pt x="207" y="384"/>
                </a:lnTo>
                <a:lnTo>
                  <a:pt x="190" y="401"/>
                </a:lnTo>
                <a:lnTo>
                  <a:pt x="173" y="384"/>
                </a:lnTo>
                <a:lnTo>
                  <a:pt x="156" y="353"/>
                </a:lnTo>
                <a:lnTo>
                  <a:pt x="104" y="353"/>
                </a:lnTo>
                <a:lnTo>
                  <a:pt x="69" y="353"/>
                </a:lnTo>
                <a:lnTo>
                  <a:pt x="17" y="353"/>
                </a:lnTo>
                <a:close/>
              </a:path>
            </a:pathLst>
          </a:custGeom>
          <a:solidFill>
            <a:schemeClr val="bg1"/>
          </a:solidFill>
          <a:ln w="9525">
            <a:solidFill>
              <a:schemeClr val="bg2"/>
            </a:solidFill>
            <a:round/>
            <a:headEnd/>
            <a:tailEnd/>
          </a:ln>
        </p:spPr>
        <p:txBody>
          <a:bodyPr/>
          <a:lstStyle/>
          <a:p>
            <a:endParaRPr lang="en-US" dirty="0"/>
          </a:p>
        </p:txBody>
      </p:sp>
      <p:sp>
        <p:nvSpPr>
          <p:cNvPr id="18646" name="Line 213"/>
          <p:cNvSpPr>
            <a:spLocks noChangeAspect="1" noChangeShapeType="1"/>
          </p:cNvSpPr>
          <p:nvPr/>
        </p:nvSpPr>
        <p:spPr bwMode="auto">
          <a:xfrm>
            <a:off x="5441950" y="3660775"/>
            <a:ext cx="12700" cy="1588"/>
          </a:xfrm>
          <a:prstGeom prst="line">
            <a:avLst/>
          </a:prstGeom>
          <a:noFill/>
          <a:ln w="9525">
            <a:solidFill>
              <a:schemeClr val="bg2"/>
            </a:solidFill>
            <a:round/>
            <a:headEnd/>
            <a:tailEnd/>
          </a:ln>
        </p:spPr>
        <p:txBody>
          <a:bodyPr/>
          <a:lstStyle/>
          <a:p>
            <a:endParaRPr lang="en-US" dirty="0"/>
          </a:p>
        </p:txBody>
      </p:sp>
      <p:sp>
        <p:nvSpPr>
          <p:cNvPr id="18647" name="Freeform 214"/>
          <p:cNvSpPr>
            <a:spLocks noChangeAspect="1"/>
          </p:cNvSpPr>
          <p:nvPr/>
        </p:nvSpPr>
        <p:spPr bwMode="auto">
          <a:xfrm>
            <a:off x="5229225" y="2947988"/>
            <a:ext cx="409575" cy="396875"/>
          </a:xfrm>
          <a:custGeom>
            <a:avLst/>
            <a:gdLst>
              <a:gd name="T0" fmla="*/ 382007 w 520"/>
              <a:gd name="T1" fmla="*/ 396875 h 449"/>
              <a:gd name="T2" fmla="*/ 382007 w 520"/>
              <a:gd name="T3" fmla="*/ 396875 h 449"/>
              <a:gd name="T4" fmla="*/ 286702 w 520"/>
              <a:gd name="T5" fmla="*/ 381849 h 449"/>
              <a:gd name="T6" fmla="*/ 271737 w 520"/>
              <a:gd name="T7" fmla="*/ 354447 h 449"/>
              <a:gd name="T8" fmla="*/ 230780 w 520"/>
              <a:gd name="T9" fmla="*/ 367706 h 449"/>
              <a:gd name="T10" fmla="*/ 204000 w 520"/>
              <a:gd name="T11" fmla="*/ 367706 h 449"/>
              <a:gd name="T12" fmla="*/ 163042 w 520"/>
              <a:gd name="T13" fmla="*/ 325278 h 449"/>
              <a:gd name="T14" fmla="*/ 135475 w 520"/>
              <a:gd name="T15" fmla="*/ 282851 h 449"/>
              <a:gd name="T16" fmla="*/ 108695 w 520"/>
              <a:gd name="T17" fmla="*/ 269592 h 449"/>
              <a:gd name="T18" fmla="*/ 95305 w 520"/>
              <a:gd name="T19" fmla="*/ 269592 h 449"/>
              <a:gd name="T20" fmla="*/ 81127 w 520"/>
              <a:gd name="T21" fmla="*/ 254566 h 449"/>
              <a:gd name="T22" fmla="*/ 67737 w 520"/>
              <a:gd name="T23" fmla="*/ 212138 h 449"/>
              <a:gd name="T24" fmla="*/ 40957 w 520"/>
              <a:gd name="T25" fmla="*/ 197996 h 449"/>
              <a:gd name="T26" fmla="*/ 26780 w 520"/>
              <a:gd name="T27" fmla="*/ 169710 h 449"/>
              <a:gd name="T28" fmla="*/ 40957 w 520"/>
              <a:gd name="T29" fmla="*/ 142309 h 449"/>
              <a:gd name="T30" fmla="*/ 40957 w 520"/>
              <a:gd name="T31" fmla="*/ 113140 h 449"/>
              <a:gd name="T32" fmla="*/ 26780 w 520"/>
              <a:gd name="T33" fmla="*/ 113140 h 449"/>
              <a:gd name="T34" fmla="*/ 13390 w 520"/>
              <a:gd name="T35" fmla="*/ 84855 h 449"/>
              <a:gd name="T36" fmla="*/ 0 w 520"/>
              <a:gd name="T37" fmla="*/ 15026 h 449"/>
              <a:gd name="T38" fmla="*/ 13390 w 520"/>
              <a:gd name="T39" fmla="*/ 0 h 449"/>
              <a:gd name="T40" fmla="*/ 26780 w 520"/>
              <a:gd name="T41" fmla="*/ 29169 h 449"/>
              <a:gd name="T42" fmla="*/ 40957 w 520"/>
              <a:gd name="T43" fmla="*/ 29169 h 449"/>
              <a:gd name="T44" fmla="*/ 54347 w 520"/>
              <a:gd name="T45" fmla="*/ 29169 h 449"/>
              <a:gd name="T46" fmla="*/ 81127 w 520"/>
              <a:gd name="T47" fmla="*/ 15026 h 449"/>
              <a:gd name="T48" fmla="*/ 95305 w 520"/>
              <a:gd name="T49" fmla="*/ 15026 h 449"/>
              <a:gd name="T50" fmla="*/ 81127 w 520"/>
              <a:gd name="T51" fmla="*/ 29169 h 449"/>
              <a:gd name="T52" fmla="*/ 108695 w 520"/>
              <a:gd name="T53" fmla="*/ 42428 h 449"/>
              <a:gd name="T54" fmla="*/ 108695 w 520"/>
              <a:gd name="T55" fmla="*/ 70713 h 449"/>
              <a:gd name="T56" fmla="*/ 163042 w 520"/>
              <a:gd name="T57" fmla="*/ 99882 h 449"/>
              <a:gd name="T58" fmla="*/ 217390 w 520"/>
              <a:gd name="T59" fmla="*/ 99882 h 449"/>
              <a:gd name="T60" fmla="*/ 217390 w 520"/>
              <a:gd name="T61" fmla="*/ 70713 h 449"/>
              <a:gd name="T62" fmla="*/ 244957 w 520"/>
              <a:gd name="T63" fmla="*/ 57454 h 449"/>
              <a:gd name="T64" fmla="*/ 286702 w 520"/>
              <a:gd name="T65" fmla="*/ 57454 h 449"/>
              <a:gd name="T66" fmla="*/ 368617 w 520"/>
              <a:gd name="T67" fmla="*/ 99882 h 449"/>
              <a:gd name="T68" fmla="*/ 368617 w 520"/>
              <a:gd name="T69" fmla="*/ 113140 h 449"/>
              <a:gd name="T70" fmla="*/ 368617 w 520"/>
              <a:gd name="T71" fmla="*/ 127283 h 449"/>
              <a:gd name="T72" fmla="*/ 368617 w 520"/>
              <a:gd name="T73" fmla="*/ 142309 h 449"/>
              <a:gd name="T74" fmla="*/ 355227 w 520"/>
              <a:gd name="T75" fmla="*/ 169710 h 449"/>
              <a:gd name="T76" fmla="*/ 355227 w 520"/>
              <a:gd name="T77" fmla="*/ 227165 h 449"/>
              <a:gd name="T78" fmla="*/ 382007 w 520"/>
              <a:gd name="T79" fmla="*/ 240423 h 449"/>
              <a:gd name="T80" fmla="*/ 382007 w 520"/>
              <a:gd name="T81" fmla="*/ 254566 h 449"/>
              <a:gd name="T82" fmla="*/ 368617 w 520"/>
              <a:gd name="T83" fmla="*/ 282851 h 449"/>
              <a:gd name="T84" fmla="*/ 382007 w 520"/>
              <a:gd name="T85" fmla="*/ 312020 h 449"/>
              <a:gd name="T86" fmla="*/ 396185 w 520"/>
              <a:gd name="T87" fmla="*/ 325278 h 449"/>
              <a:gd name="T88" fmla="*/ 409575 w 520"/>
              <a:gd name="T89" fmla="*/ 354447 h 449"/>
              <a:gd name="T90" fmla="*/ 382007 w 520"/>
              <a:gd name="T91" fmla="*/ 367706 h 449"/>
              <a:gd name="T92" fmla="*/ 382007 w 520"/>
              <a:gd name="T93" fmla="*/ 396875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chemeClr val="bg1"/>
          </a:solidFill>
          <a:ln w="9525">
            <a:solidFill>
              <a:schemeClr val="bg2"/>
            </a:solidFill>
            <a:round/>
            <a:headEnd/>
            <a:tailEnd/>
          </a:ln>
        </p:spPr>
        <p:txBody>
          <a:bodyPr/>
          <a:lstStyle/>
          <a:p>
            <a:endParaRPr lang="en-US" dirty="0"/>
          </a:p>
        </p:txBody>
      </p:sp>
      <p:sp>
        <p:nvSpPr>
          <p:cNvPr id="18648" name="Freeform 215"/>
          <p:cNvSpPr>
            <a:spLocks noChangeAspect="1"/>
          </p:cNvSpPr>
          <p:nvPr/>
        </p:nvSpPr>
        <p:spPr bwMode="auto">
          <a:xfrm>
            <a:off x="5132388" y="2849563"/>
            <a:ext cx="153987" cy="57150"/>
          </a:xfrm>
          <a:custGeom>
            <a:avLst/>
            <a:gdLst>
              <a:gd name="T0" fmla="*/ 43309 w 192"/>
              <a:gd name="T1" fmla="*/ 57150 h 63"/>
              <a:gd name="T2" fmla="*/ 43309 w 192"/>
              <a:gd name="T3" fmla="*/ 57150 h 63"/>
              <a:gd name="T4" fmla="*/ 43309 w 192"/>
              <a:gd name="T5" fmla="*/ 43543 h 63"/>
              <a:gd name="T6" fmla="*/ 43309 w 192"/>
              <a:gd name="T7" fmla="*/ 29029 h 63"/>
              <a:gd name="T8" fmla="*/ 0 w 192"/>
              <a:gd name="T9" fmla="*/ 0 h 63"/>
              <a:gd name="T10" fmla="*/ 70577 w 192"/>
              <a:gd name="T11" fmla="*/ 0 h 63"/>
              <a:gd name="T12" fmla="*/ 98648 w 192"/>
              <a:gd name="T13" fmla="*/ 13607 h 63"/>
              <a:gd name="T14" fmla="*/ 125916 w 192"/>
              <a:gd name="T15" fmla="*/ 13607 h 63"/>
              <a:gd name="T16" fmla="*/ 153987 w 192"/>
              <a:gd name="T17" fmla="*/ 43543 h 63"/>
              <a:gd name="T18" fmla="*/ 140353 w 192"/>
              <a:gd name="T19" fmla="*/ 43543 h 63"/>
              <a:gd name="T20" fmla="*/ 153987 w 192"/>
              <a:gd name="T21" fmla="*/ 57150 h 63"/>
              <a:gd name="T22" fmla="*/ 125916 w 192"/>
              <a:gd name="T23" fmla="*/ 57150 h 63"/>
              <a:gd name="T24" fmla="*/ 112282 w 192"/>
              <a:gd name="T25" fmla="*/ 57150 h 63"/>
              <a:gd name="T26" fmla="*/ 84212 w 192"/>
              <a:gd name="T27" fmla="*/ 57150 h 63"/>
              <a:gd name="T28" fmla="*/ 43309 w 192"/>
              <a:gd name="T29" fmla="*/ 57150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bg1"/>
          </a:solidFill>
          <a:ln w="9525">
            <a:solidFill>
              <a:schemeClr val="bg2"/>
            </a:solidFill>
            <a:round/>
            <a:headEnd/>
            <a:tailEnd/>
          </a:ln>
        </p:spPr>
        <p:txBody>
          <a:bodyPr/>
          <a:lstStyle/>
          <a:p>
            <a:endParaRPr lang="en-US" dirty="0"/>
          </a:p>
        </p:txBody>
      </p:sp>
      <p:sp>
        <p:nvSpPr>
          <p:cNvPr id="18649" name="Freeform 216"/>
          <p:cNvSpPr>
            <a:spLocks noChangeAspect="1"/>
          </p:cNvSpPr>
          <p:nvPr/>
        </p:nvSpPr>
        <p:spPr bwMode="auto">
          <a:xfrm>
            <a:off x="5218113" y="2906713"/>
            <a:ext cx="68262" cy="69850"/>
          </a:xfrm>
          <a:custGeom>
            <a:avLst/>
            <a:gdLst>
              <a:gd name="T0" fmla="*/ 68262 w 87"/>
              <a:gd name="T1" fmla="*/ 69850 h 81"/>
              <a:gd name="T2" fmla="*/ 68262 w 87"/>
              <a:gd name="T3" fmla="*/ 69850 h 81"/>
              <a:gd name="T4" fmla="*/ 68262 w 87"/>
              <a:gd name="T5" fmla="*/ 56052 h 81"/>
              <a:gd name="T6" fmla="*/ 54923 w 87"/>
              <a:gd name="T7" fmla="*/ 41393 h 81"/>
              <a:gd name="T8" fmla="*/ 54923 w 87"/>
              <a:gd name="T9" fmla="*/ 28457 h 81"/>
              <a:gd name="T10" fmla="*/ 27462 w 87"/>
              <a:gd name="T11" fmla="*/ 0 h 81"/>
              <a:gd name="T12" fmla="*/ 0 w 87"/>
              <a:gd name="T13" fmla="*/ 0 h 81"/>
              <a:gd name="T14" fmla="*/ 14123 w 87"/>
              <a:gd name="T15" fmla="*/ 41393 h 81"/>
              <a:gd name="T16" fmla="*/ 27462 w 87"/>
              <a:gd name="T17" fmla="*/ 41393 h 81"/>
              <a:gd name="T18" fmla="*/ 54923 w 87"/>
              <a:gd name="T19" fmla="*/ 56052 h 81"/>
              <a:gd name="T20" fmla="*/ 54923 w 87"/>
              <a:gd name="T21" fmla="*/ 69850 h 81"/>
              <a:gd name="T22" fmla="*/ 68262 w 87"/>
              <a:gd name="T23" fmla="*/ 6985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chemeClr val="bg1"/>
          </a:solidFill>
          <a:ln w="9525">
            <a:solidFill>
              <a:schemeClr val="bg2"/>
            </a:solidFill>
            <a:round/>
            <a:headEnd/>
            <a:tailEnd/>
          </a:ln>
        </p:spPr>
        <p:txBody>
          <a:bodyPr/>
          <a:lstStyle/>
          <a:p>
            <a:endParaRPr lang="en-US" dirty="0"/>
          </a:p>
        </p:txBody>
      </p:sp>
      <p:sp>
        <p:nvSpPr>
          <p:cNvPr id="18650" name="Freeform 217"/>
          <p:cNvSpPr>
            <a:spLocks noChangeAspect="1"/>
          </p:cNvSpPr>
          <p:nvPr/>
        </p:nvSpPr>
        <p:spPr bwMode="auto">
          <a:xfrm>
            <a:off x="5243513" y="2890838"/>
            <a:ext cx="125412" cy="100012"/>
          </a:xfrm>
          <a:custGeom>
            <a:avLst/>
            <a:gdLst>
              <a:gd name="T0" fmla="*/ 41538 w 157"/>
              <a:gd name="T1" fmla="*/ 86497 h 111"/>
              <a:gd name="T2" fmla="*/ 41538 w 157"/>
              <a:gd name="T3" fmla="*/ 86497 h 111"/>
              <a:gd name="T4" fmla="*/ 68697 w 157"/>
              <a:gd name="T5" fmla="*/ 72081 h 111"/>
              <a:gd name="T6" fmla="*/ 83075 w 157"/>
              <a:gd name="T7" fmla="*/ 72081 h 111"/>
              <a:gd name="T8" fmla="*/ 68697 w 157"/>
              <a:gd name="T9" fmla="*/ 86497 h 111"/>
              <a:gd name="T10" fmla="*/ 96655 w 157"/>
              <a:gd name="T11" fmla="*/ 100012 h 111"/>
              <a:gd name="T12" fmla="*/ 83075 w 157"/>
              <a:gd name="T13" fmla="*/ 86497 h 111"/>
              <a:gd name="T14" fmla="*/ 96655 w 157"/>
              <a:gd name="T15" fmla="*/ 86497 h 111"/>
              <a:gd name="T16" fmla="*/ 96655 w 157"/>
              <a:gd name="T17" fmla="*/ 56764 h 111"/>
              <a:gd name="T18" fmla="*/ 125412 w 157"/>
              <a:gd name="T19" fmla="*/ 43248 h 111"/>
              <a:gd name="T20" fmla="*/ 96655 w 157"/>
              <a:gd name="T21" fmla="*/ 28832 h 111"/>
              <a:gd name="T22" fmla="*/ 83075 w 157"/>
              <a:gd name="T23" fmla="*/ 0 h 111"/>
              <a:gd name="T24" fmla="*/ 68697 w 157"/>
              <a:gd name="T25" fmla="*/ 13515 h 111"/>
              <a:gd name="T26" fmla="*/ 55117 w 157"/>
              <a:gd name="T27" fmla="*/ 13515 h 111"/>
              <a:gd name="T28" fmla="*/ 41538 w 157"/>
              <a:gd name="T29" fmla="*/ 0 h 111"/>
              <a:gd name="T30" fmla="*/ 27958 w 157"/>
              <a:gd name="T31" fmla="*/ 0 h 111"/>
              <a:gd name="T32" fmla="*/ 41538 w 157"/>
              <a:gd name="T33" fmla="*/ 13515 h 111"/>
              <a:gd name="T34" fmla="*/ 13580 w 157"/>
              <a:gd name="T35" fmla="*/ 13515 h 111"/>
              <a:gd name="T36" fmla="*/ 0 w 157"/>
              <a:gd name="T37" fmla="*/ 13515 h 111"/>
              <a:gd name="T38" fmla="*/ 27958 w 157"/>
              <a:gd name="T39" fmla="*/ 43248 h 111"/>
              <a:gd name="T40" fmla="*/ 27958 w 157"/>
              <a:gd name="T41" fmla="*/ 56764 h 111"/>
              <a:gd name="T42" fmla="*/ 41538 w 157"/>
              <a:gd name="T43" fmla="*/ 72081 h 111"/>
              <a:gd name="T44" fmla="*/ 41538 w 157"/>
              <a:gd name="T45" fmla="*/ 86497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chemeClr val="bg1"/>
          </a:solidFill>
          <a:ln w="9525">
            <a:solidFill>
              <a:schemeClr val="bg2"/>
            </a:solidFill>
            <a:round/>
            <a:headEnd/>
            <a:tailEnd/>
          </a:ln>
        </p:spPr>
        <p:txBody>
          <a:bodyPr/>
          <a:lstStyle/>
          <a:p>
            <a:endParaRPr lang="en-US" dirty="0"/>
          </a:p>
        </p:txBody>
      </p:sp>
      <p:sp>
        <p:nvSpPr>
          <p:cNvPr id="18651" name="Freeform 218"/>
          <p:cNvSpPr>
            <a:spLocks noChangeAspect="1"/>
          </p:cNvSpPr>
          <p:nvPr/>
        </p:nvSpPr>
        <p:spPr bwMode="auto">
          <a:xfrm>
            <a:off x="5241925" y="3230563"/>
            <a:ext cx="41275" cy="26987"/>
          </a:xfrm>
          <a:custGeom>
            <a:avLst/>
            <a:gdLst>
              <a:gd name="T0" fmla="*/ 0 w 52"/>
              <a:gd name="T1" fmla="*/ 13085 h 33"/>
              <a:gd name="T2" fmla="*/ 0 w 52"/>
              <a:gd name="T3" fmla="*/ 13085 h 33"/>
              <a:gd name="T4" fmla="*/ 13494 w 52"/>
              <a:gd name="T5" fmla="*/ 0 h 33"/>
              <a:gd name="T6" fmla="*/ 41275 w 52"/>
              <a:gd name="T7" fmla="*/ 13085 h 33"/>
              <a:gd name="T8" fmla="*/ 13494 w 52"/>
              <a:gd name="T9" fmla="*/ 26987 h 33"/>
              <a:gd name="T10" fmla="*/ 0 w 52"/>
              <a:gd name="T11" fmla="*/ 13085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8652" name="Freeform 219"/>
          <p:cNvSpPr>
            <a:spLocks noChangeAspect="1"/>
          </p:cNvSpPr>
          <p:nvPr/>
        </p:nvSpPr>
        <p:spPr bwMode="auto">
          <a:xfrm>
            <a:off x="5026025" y="3159125"/>
            <a:ext cx="474663" cy="452438"/>
          </a:xfrm>
          <a:custGeom>
            <a:avLst/>
            <a:gdLst>
              <a:gd name="T0" fmla="*/ 393719 w 604"/>
              <a:gd name="T1" fmla="*/ 367606 h 512"/>
              <a:gd name="T2" fmla="*/ 393719 w 604"/>
              <a:gd name="T3" fmla="*/ 367606 h 512"/>
              <a:gd name="T4" fmla="*/ 407079 w 604"/>
              <a:gd name="T5" fmla="*/ 354351 h 512"/>
              <a:gd name="T6" fmla="*/ 420438 w 604"/>
              <a:gd name="T7" fmla="*/ 339328 h 512"/>
              <a:gd name="T8" fmla="*/ 433798 w 604"/>
              <a:gd name="T9" fmla="*/ 325190 h 512"/>
              <a:gd name="T10" fmla="*/ 447944 w 604"/>
              <a:gd name="T11" fmla="*/ 311935 h 512"/>
              <a:gd name="T12" fmla="*/ 461303 w 604"/>
              <a:gd name="T13" fmla="*/ 296912 h 512"/>
              <a:gd name="T14" fmla="*/ 474663 w 604"/>
              <a:gd name="T15" fmla="*/ 296912 h 512"/>
              <a:gd name="T16" fmla="*/ 474663 w 604"/>
              <a:gd name="T17" fmla="*/ 282774 h 512"/>
              <a:gd name="T18" fmla="*/ 474663 w 604"/>
              <a:gd name="T19" fmla="*/ 269519 h 512"/>
              <a:gd name="T20" fmla="*/ 474663 w 604"/>
              <a:gd name="T21" fmla="*/ 254496 h 512"/>
              <a:gd name="T22" fmla="*/ 461303 w 604"/>
              <a:gd name="T23" fmla="*/ 240358 h 512"/>
              <a:gd name="T24" fmla="*/ 447944 w 604"/>
              <a:gd name="T25" fmla="*/ 227103 h 512"/>
              <a:gd name="T26" fmla="*/ 433798 w 604"/>
              <a:gd name="T27" fmla="*/ 227103 h 512"/>
              <a:gd name="T28" fmla="*/ 420438 w 604"/>
              <a:gd name="T29" fmla="*/ 227103 h 512"/>
              <a:gd name="T30" fmla="*/ 420438 w 604"/>
              <a:gd name="T31" fmla="*/ 240358 h 512"/>
              <a:gd name="T32" fmla="*/ 407079 w 604"/>
              <a:gd name="T33" fmla="*/ 240358 h 512"/>
              <a:gd name="T34" fmla="*/ 393719 w 604"/>
              <a:gd name="T35" fmla="*/ 240358 h 512"/>
              <a:gd name="T36" fmla="*/ 379573 w 604"/>
              <a:gd name="T37" fmla="*/ 240358 h 512"/>
              <a:gd name="T38" fmla="*/ 366213 w 604"/>
              <a:gd name="T39" fmla="*/ 240358 h 512"/>
              <a:gd name="T40" fmla="*/ 352854 w 604"/>
              <a:gd name="T41" fmla="*/ 240358 h 512"/>
              <a:gd name="T42" fmla="*/ 338708 w 604"/>
              <a:gd name="T43" fmla="*/ 227103 h 512"/>
              <a:gd name="T44" fmla="*/ 352854 w 604"/>
              <a:gd name="T45" fmla="*/ 212080 h 512"/>
              <a:gd name="T46" fmla="*/ 338708 w 604"/>
              <a:gd name="T47" fmla="*/ 184687 h 512"/>
              <a:gd name="T48" fmla="*/ 338708 w 604"/>
              <a:gd name="T49" fmla="*/ 142271 h 512"/>
              <a:gd name="T50" fmla="*/ 298629 w 604"/>
              <a:gd name="T51" fmla="*/ 99854 h 512"/>
              <a:gd name="T52" fmla="*/ 257764 w 604"/>
              <a:gd name="T53" fmla="*/ 84832 h 512"/>
              <a:gd name="T54" fmla="*/ 230259 w 604"/>
              <a:gd name="T55" fmla="*/ 99854 h 512"/>
              <a:gd name="T56" fmla="*/ 216899 w 604"/>
              <a:gd name="T57" fmla="*/ 84832 h 512"/>
              <a:gd name="T58" fmla="*/ 189394 w 604"/>
              <a:gd name="T59" fmla="*/ 70693 h 512"/>
              <a:gd name="T60" fmla="*/ 189394 w 604"/>
              <a:gd name="T61" fmla="*/ 57438 h 512"/>
              <a:gd name="T62" fmla="*/ 176034 w 604"/>
              <a:gd name="T63" fmla="*/ 42416 h 512"/>
              <a:gd name="T64" fmla="*/ 135169 w 604"/>
              <a:gd name="T65" fmla="*/ 15022 h 512"/>
              <a:gd name="T66" fmla="*/ 94304 w 604"/>
              <a:gd name="T67" fmla="*/ 0 h 512"/>
              <a:gd name="T68" fmla="*/ 54225 w 604"/>
              <a:gd name="T69" fmla="*/ 28277 h 512"/>
              <a:gd name="T70" fmla="*/ 67584 w 604"/>
              <a:gd name="T71" fmla="*/ 42416 h 512"/>
              <a:gd name="T72" fmla="*/ 54225 w 604"/>
              <a:gd name="T73" fmla="*/ 70693 h 512"/>
              <a:gd name="T74" fmla="*/ 40079 w 604"/>
              <a:gd name="T75" fmla="*/ 70693 h 512"/>
              <a:gd name="T76" fmla="*/ 26719 w 604"/>
              <a:gd name="T77" fmla="*/ 84832 h 512"/>
              <a:gd name="T78" fmla="*/ 0 w 604"/>
              <a:gd name="T79" fmla="*/ 84832 h 512"/>
              <a:gd name="T80" fmla="*/ 0 w 604"/>
              <a:gd name="T81" fmla="*/ 113110 h 512"/>
              <a:gd name="T82" fmla="*/ 13360 w 604"/>
              <a:gd name="T83" fmla="*/ 113110 h 512"/>
              <a:gd name="T84" fmla="*/ 67584 w 604"/>
              <a:gd name="T85" fmla="*/ 197942 h 512"/>
              <a:gd name="T86" fmla="*/ 80944 w 604"/>
              <a:gd name="T87" fmla="*/ 212080 h 512"/>
              <a:gd name="T88" fmla="*/ 94304 w 604"/>
              <a:gd name="T89" fmla="*/ 240358 h 512"/>
              <a:gd name="T90" fmla="*/ 94304 w 604"/>
              <a:gd name="T91" fmla="*/ 282774 h 512"/>
              <a:gd name="T92" fmla="*/ 135169 w 604"/>
              <a:gd name="T93" fmla="*/ 311935 h 512"/>
              <a:gd name="T94" fmla="*/ 162674 w 604"/>
              <a:gd name="T95" fmla="*/ 381744 h 512"/>
              <a:gd name="T96" fmla="*/ 176034 w 604"/>
              <a:gd name="T97" fmla="*/ 396767 h 512"/>
              <a:gd name="T98" fmla="*/ 189394 w 604"/>
              <a:gd name="T99" fmla="*/ 381744 h 512"/>
              <a:gd name="T100" fmla="*/ 230259 w 604"/>
              <a:gd name="T101" fmla="*/ 423277 h 512"/>
              <a:gd name="T102" fmla="*/ 244404 w 604"/>
              <a:gd name="T103" fmla="*/ 452438 h 512"/>
              <a:gd name="T104" fmla="*/ 338708 w 604"/>
              <a:gd name="T105" fmla="*/ 381744 h 512"/>
              <a:gd name="T106" fmla="*/ 393719 w 604"/>
              <a:gd name="T107" fmla="*/ 367606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chemeClr val="bg1"/>
          </a:solidFill>
          <a:ln w="9525">
            <a:solidFill>
              <a:schemeClr val="bg2"/>
            </a:solidFill>
            <a:prstDash val="solid"/>
            <a:round/>
            <a:headEnd/>
            <a:tailEnd/>
          </a:ln>
        </p:spPr>
        <p:txBody>
          <a:bodyPr/>
          <a:lstStyle/>
          <a:p>
            <a:endParaRPr lang="en-US" dirty="0"/>
          </a:p>
        </p:txBody>
      </p:sp>
      <p:sp>
        <p:nvSpPr>
          <p:cNvPr id="18653" name="Freeform 220"/>
          <p:cNvSpPr>
            <a:spLocks noChangeAspect="1"/>
          </p:cNvSpPr>
          <p:nvPr/>
        </p:nvSpPr>
        <p:spPr bwMode="auto">
          <a:xfrm>
            <a:off x="5367338" y="3328988"/>
            <a:ext cx="25400" cy="42862"/>
          </a:xfrm>
          <a:custGeom>
            <a:avLst/>
            <a:gdLst>
              <a:gd name="T0" fmla="*/ 13063 w 35"/>
              <a:gd name="T1" fmla="*/ 42862 h 48"/>
              <a:gd name="T2" fmla="*/ 13063 w 35"/>
              <a:gd name="T3" fmla="*/ 42862 h 48"/>
              <a:gd name="T4" fmla="*/ 0 w 35"/>
              <a:gd name="T5" fmla="*/ 15180 h 48"/>
              <a:gd name="T6" fmla="*/ 13063 w 35"/>
              <a:gd name="T7" fmla="*/ 0 h 48"/>
              <a:gd name="T8" fmla="*/ 25400 w 35"/>
              <a:gd name="T9" fmla="*/ 0 h 48"/>
              <a:gd name="T10" fmla="*/ 13063 w 35"/>
              <a:gd name="T11" fmla="*/ 42862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chemeClr val="bg1"/>
          </a:solidFill>
          <a:ln w="9525">
            <a:solidFill>
              <a:schemeClr val="bg2"/>
            </a:solidFill>
            <a:prstDash val="solid"/>
            <a:round/>
            <a:headEnd/>
            <a:tailEnd/>
          </a:ln>
        </p:spPr>
        <p:txBody>
          <a:bodyPr/>
          <a:lstStyle/>
          <a:p>
            <a:endParaRPr lang="en-US" dirty="0"/>
          </a:p>
        </p:txBody>
      </p:sp>
      <p:sp>
        <p:nvSpPr>
          <p:cNvPr id="18654" name="Freeform 221"/>
          <p:cNvSpPr>
            <a:spLocks noChangeAspect="1"/>
          </p:cNvSpPr>
          <p:nvPr/>
        </p:nvSpPr>
        <p:spPr bwMode="auto">
          <a:xfrm>
            <a:off x="5419725" y="3357563"/>
            <a:ext cx="149225" cy="182562"/>
          </a:xfrm>
          <a:custGeom>
            <a:avLst/>
            <a:gdLst>
              <a:gd name="T0" fmla="*/ 0 w 190"/>
              <a:gd name="T1" fmla="*/ 182562 h 208"/>
              <a:gd name="T2" fmla="*/ 0 w 190"/>
              <a:gd name="T3" fmla="*/ 182562 h 208"/>
              <a:gd name="T4" fmla="*/ 40055 w 190"/>
              <a:gd name="T5" fmla="*/ 182562 h 208"/>
              <a:gd name="T6" fmla="*/ 54192 w 190"/>
              <a:gd name="T7" fmla="*/ 168519 h 208"/>
              <a:gd name="T8" fmla="*/ 67544 w 190"/>
              <a:gd name="T9" fmla="*/ 155353 h 208"/>
              <a:gd name="T10" fmla="*/ 95033 w 190"/>
              <a:gd name="T11" fmla="*/ 140432 h 208"/>
              <a:gd name="T12" fmla="*/ 108384 w 190"/>
              <a:gd name="T13" fmla="*/ 126389 h 208"/>
              <a:gd name="T14" fmla="*/ 108384 w 190"/>
              <a:gd name="T15" fmla="*/ 113224 h 208"/>
              <a:gd name="T16" fmla="*/ 135088 w 190"/>
              <a:gd name="T17" fmla="*/ 71094 h 208"/>
              <a:gd name="T18" fmla="*/ 149225 w 190"/>
              <a:gd name="T19" fmla="*/ 56173 h 208"/>
              <a:gd name="T20" fmla="*/ 121736 w 190"/>
              <a:gd name="T21" fmla="*/ 28964 h 208"/>
              <a:gd name="T22" fmla="*/ 95033 w 190"/>
              <a:gd name="T23" fmla="*/ 14043 h 208"/>
              <a:gd name="T24" fmla="*/ 80896 w 190"/>
              <a:gd name="T25" fmla="*/ 0 h 208"/>
              <a:gd name="T26" fmla="*/ 54192 w 190"/>
              <a:gd name="T27" fmla="*/ 28964 h 208"/>
              <a:gd name="T28" fmla="*/ 67544 w 190"/>
              <a:gd name="T29" fmla="*/ 42130 h 208"/>
              <a:gd name="T30" fmla="*/ 80896 w 190"/>
              <a:gd name="T31" fmla="*/ 56173 h 208"/>
              <a:gd name="T32" fmla="*/ 80896 w 190"/>
              <a:gd name="T33" fmla="*/ 71094 h 208"/>
              <a:gd name="T34" fmla="*/ 80896 w 190"/>
              <a:gd name="T35" fmla="*/ 84259 h 208"/>
              <a:gd name="T36" fmla="*/ 80896 w 190"/>
              <a:gd name="T37" fmla="*/ 98303 h 208"/>
              <a:gd name="T38" fmla="*/ 67544 w 190"/>
              <a:gd name="T39" fmla="*/ 98303 h 208"/>
              <a:gd name="T40" fmla="*/ 54192 w 190"/>
              <a:gd name="T41" fmla="*/ 113224 h 208"/>
              <a:gd name="T42" fmla="*/ 40055 w 190"/>
              <a:gd name="T43" fmla="*/ 126389 h 208"/>
              <a:gd name="T44" fmla="*/ 26703 w 190"/>
              <a:gd name="T45" fmla="*/ 140432 h 208"/>
              <a:gd name="T46" fmla="*/ 13352 w 190"/>
              <a:gd name="T47" fmla="*/ 155353 h 208"/>
              <a:gd name="T48" fmla="*/ 0 w 190"/>
              <a:gd name="T49" fmla="*/ 168519 h 208"/>
              <a:gd name="T50" fmla="*/ 0 w 190"/>
              <a:gd name="T51" fmla="*/ 182562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chemeClr val="bg1"/>
          </a:solidFill>
          <a:ln w="9525">
            <a:solidFill>
              <a:schemeClr val="bg2"/>
            </a:solidFill>
            <a:round/>
            <a:headEnd/>
            <a:tailEnd/>
          </a:ln>
        </p:spPr>
        <p:txBody>
          <a:bodyPr/>
          <a:lstStyle/>
          <a:p>
            <a:endParaRPr lang="en-US" dirty="0"/>
          </a:p>
        </p:txBody>
      </p:sp>
      <p:sp>
        <p:nvSpPr>
          <p:cNvPr id="18655" name="Freeform 222"/>
          <p:cNvSpPr>
            <a:spLocks noChangeAspect="1"/>
          </p:cNvSpPr>
          <p:nvPr/>
        </p:nvSpPr>
        <p:spPr bwMode="auto">
          <a:xfrm>
            <a:off x="5584825" y="2990850"/>
            <a:ext cx="314325" cy="252413"/>
          </a:xfrm>
          <a:custGeom>
            <a:avLst/>
            <a:gdLst>
              <a:gd name="T0" fmla="*/ 300933 w 399"/>
              <a:gd name="T1" fmla="*/ 42069 h 288"/>
              <a:gd name="T2" fmla="*/ 300933 w 399"/>
              <a:gd name="T3" fmla="*/ 42069 h 288"/>
              <a:gd name="T4" fmla="*/ 287540 w 399"/>
              <a:gd name="T5" fmla="*/ 42069 h 288"/>
              <a:gd name="T6" fmla="*/ 259968 w 399"/>
              <a:gd name="T7" fmla="*/ 56968 h 288"/>
              <a:gd name="T8" fmla="*/ 233183 w 399"/>
              <a:gd name="T9" fmla="*/ 70115 h 288"/>
              <a:gd name="T10" fmla="*/ 233183 w 399"/>
              <a:gd name="T11" fmla="*/ 99037 h 288"/>
              <a:gd name="T12" fmla="*/ 219003 w 399"/>
              <a:gd name="T13" fmla="*/ 126207 h 288"/>
              <a:gd name="T14" fmla="*/ 205611 w 399"/>
              <a:gd name="T15" fmla="*/ 126207 h 288"/>
              <a:gd name="T16" fmla="*/ 205611 w 399"/>
              <a:gd name="T17" fmla="*/ 141106 h 288"/>
              <a:gd name="T18" fmla="*/ 192219 w 399"/>
              <a:gd name="T19" fmla="*/ 154252 h 288"/>
              <a:gd name="T20" fmla="*/ 192219 w 399"/>
              <a:gd name="T21" fmla="*/ 183175 h 288"/>
              <a:gd name="T22" fmla="*/ 137862 w 399"/>
              <a:gd name="T23" fmla="*/ 196321 h 288"/>
              <a:gd name="T24" fmla="*/ 123682 w 399"/>
              <a:gd name="T25" fmla="*/ 210344 h 288"/>
              <a:gd name="T26" fmla="*/ 123682 w 399"/>
              <a:gd name="T27" fmla="*/ 238390 h 288"/>
              <a:gd name="T28" fmla="*/ 42540 w 399"/>
              <a:gd name="T29" fmla="*/ 252413 h 288"/>
              <a:gd name="T30" fmla="*/ 14968 w 399"/>
              <a:gd name="T31" fmla="*/ 238390 h 288"/>
              <a:gd name="T32" fmla="*/ 28360 w 399"/>
              <a:gd name="T33" fmla="*/ 210344 h 288"/>
              <a:gd name="T34" fmla="*/ 28360 w 399"/>
              <a:gd name="T35" fmla="*/ 196321 h 288"/>
              <a:gd name="T36" fmla="*/ 0 w 399"/>
              <a:gd name="T37" fmla="*/ 183175 h 288"/>
              <a:gd name="T38" fmla="*/ 0 w 399"/>
              <a:gd name="T39" fmla="*/ 126207 h 288"/>
              <a:gd name="T40" fmla="*/ 14968 w 399"/>
              <a:gd name="T41" fmla="*/ 99037 h 288"/>
              <a:gd name="T42" fmla="*/ 14968 w 399"/>
              <a:gd name="T43" fmla="*/ 84138 h 288"/>
              <a:gd name="T44" fmla="*/ 55933 w 399"/>
              <a:gd name="T45" fmla="*/ 84138 h 288"/>
              <a:gd name="T46" fmla="*/ 55933 w 399"/>
              <a:gd name="T47" fmla="*/ 70115 h 288"/>
              <a:gd name="T48" fmla="*/ 82717 w 399"/>
              <a:gd name="T49" fmla="*/ 70115 h 288"/>
              <a:gd name="T50" fmla="*/ 96897 w 399"/>
              <a:gd name="T51" fmla="*/ 42069 h 288"/>
              <a:gd name="T52" fmla="*/ 110289 w 399"/>
              <a:gd name="T53" fmla="*/ 42069 h 288"/>
              <a:gd name="T54" fmla="*/ 110289 w 399"/>
              <a:gd name="T55" fmla="*/ 28046 h 288"/>
              <a:gd name="T56" fmla="*/ 164646 w 399"/>
              <a:gd name="T57" fmla="*/ 42069 h 288"/>
              <a:gd name="T58" fmla="*/ 192219 w 399"/>
              <a:gd name="T59" fmla="*/ 42069 h 288"/>
              <a:gd name="T60" fmla="*/ 192219 w 399"/>
              <a:gd name="T61" fmla="*/ 28046 h 288"/>
              <a:gd name="T62" fmla="*/ 205611 w 399"/>
              <a:gd name="T63" fmla="*/ 28046 h 288"/>
              <a:gd name="T64" fmla="*/ 219003 w 399"/>
              <a:gd name="T65" fmla="*/ 0 h 288"/>
              <a:gd name="T66" fmla="*/ 233183 w 399"/>
              <a:gd name="T67" fmla="*/ 14899 h 288"/>
              <a:gd name="T68" fmla="*/ 246576 w 399"/>
              <a:gd name="T69" fmla="*/ 56968 h 288"/>
              <a:gd name="T70" fmla="*/ 273360 w 399"/>
              <a:gd name="T71" fmla="*/ 28046 h 288"/>
              <a:gd name="T72" fmla="*/ 314325 w 399"/>
              <a:gd name="T73" fmla="*/ 42069 h 288"/>
              <a:gd name="T74" fmla="*/ 300933 w 399"/>
              <a:gd name="T75" fmla="*/ 42069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chemeClr val="bg1"/>
          </a:solidFill>
          <a:ln w="9525">
            <a:solidFill>
              <a:schemeClr val="bg2"/>
            </a:solidFill>
            <a:round/>
            <a:headEnd/>
            <a:tailEnd/>
          </a:ln>
        </p:spPr>
        <p:txBody>
          <a:bodyPr/>
          <a:lstStyle/>
          <a:p>
            <a:endParaRPr lang="en-US" dirty="0"/>
          </a:p>
        </p:txBody>
      </p:sp>
      <p:sp>
        <p:nvSpPr>
          <p:cNvPr id="18656" name="Freeform 223"/>
          <p:cNvSpPr>
            <a:spLocks noChangeAspect="1"/>
          </p:cNvSpPr>
          <p:nvPr/>
        </p:nvSpPr>
        <p:spPr bwMode="auto">
          <a:xfrm>
            <a:off x="5132388" y="2849563"/>
            <a:ext cx="153987" cy="57150"/>
          </a:xfrm>
          <a:custGeom>
            <a:avLst/>
            <a:gdLst>
              <a:gd name="T0" fmla="*/ 43309 w 192"/>
              <a:gd name="T1" fmla="*/ 57150 h 63"/>
              <a:gd name="T2" fmla="*/ 43309 w 192"/>
              <a:gd name="T3" fmla="*/ 57150 h 63"/>
              <a:gd name="T4" fmla="*/ 43309 w 192"/>
              <a:gd name="T5" fmla="*/ 43543 h 63"/>
              <a:gd name="T6" fmla="*/ 43309 w 192"/>
              <a:gd name="T7" fmla="*/ 29029 h 63"/>
              <a:gd name="T8" fmla="*/ 0 w 192"/>
              <a:gd name="T9" fmla="*/ 0 h 63"/>
              <a:gd name="T10" fmla="*/ 70577 w 192"/>
              <a:gd name="T11" fmla="*/ 0 h 63"/>
              <a:gd name="T12" fmla="*/ 98648 w 192"/>
              <a:gd name="T13" fmla="*/ 13607 h 63"/>
              <a:gd name="T14" fmla="*/ 125916 w 192"/>
              <a:gd name="T15" fmla="*/ 13607 h 63"/>
              <a:gd name="T16" fmla="*/ 153987 w 192"/>
              <a:gd name="T17" fmla="*/ 43543 h 63"/>
              <a:gd name="T18" fmla="*/ 140353 w 192"/>
              <a:gd name="T19" fmla="*/ 43543 h 63"/>
              <a:gd name="T20" fmla="*/ 153987 w 192"/>
              <a:gd name="T21" fmla="*/ 57150 h 63"/>
              <a:gd name="T22" fmla="*/ 125916 w 192"/>
              <a:gd name="T23" fmla="*/ 57150 h 63"/>
              <a:gd name="T24" fmla="*/ 112282 w 192"/>
              <a:gd name="T25" fmla="*/ 57150 h 63"/>
              <a:gd name="T26" fmla="*/ 84212 w 192"/>
              <a:gd name="T27" fmla="*/ 57150 h 63"/>
              <a:gd name="T28" fmla="*/ 43309 w 192"/>
              <a:gd name="T29" fmla="*/ 57150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bg1"/>
          </a:solidFill>
          <a:ln w="9525">
            <a:solidFill>
              <a:schemeClr val="bg2"/>
            </a:solidFill>
            <a:round/>
            <a:headEnd/>
            <a:tailEnd/>
          </a:ln>
        </p:spPr>
        <p:txBody>
          <a:bodyPr/>
          <a:lstStyle/>
          <a:p>
            <a:endParaRPr lang="en-US" dirty="0"/>
          </a:p>
        </p:txBody>
      </p:sp>
      <p:sp>
        <p:nvSpPr>
          <p:cNvPr id="18657" name="Freeform 224"/>
          <p:cNvSpPr>
            <a:spLocks noChangeAspect="1"/>
          </p:cNvSpPr>
          <p:nvPr/>
        </p:nvSpPr>
        <p:spPr bwMode="auto">
          <a:xfrm>
            <a:off x="4830763" y="2890838"/>
            <a:ext cx="411162" cy="169862"/>
          </a:xfrm>
          <a:custGeom>
            <a:avLst/>
            <a:gdLst>
              <a:gd name="T0" fmla="*/ 411162 w 520"/>
              <a:gd name="T1" fmla="*/ 56028 h 191"/>
              <a:gd name="T2" fmla="*/ 411162 w 520"/>
              <a:gd name="T3" fmla="*/ 56028 h 191"/>
              <a:gd name="T4" fmla="*/ 397720 w 520"/>
              <a:gd name="T5" fmla="*/ 56028 h 191"/>
              <a:gd name="T6" fmla="*/ 383488 w 520"/>
              <a:gd name="T7" fmla="*/ 13340 h 191"/>
              <a:gd name="T8" fmla="*/ 343162 w 520"/>
              <a:gd name="T9" fmla="*/ 13340 h 191"/>
              <a:gd name="T10" fmla="*/ 302046 w 520"/>
              <a:gd name="T11" fmla="*/ 28459 h 191"/>
              <a:gd name="T12" fmla="*/ 247488 w 520"/>
              <a:gd name="T13" fmla="*/ 28459 h 191"/>
              <a:gd name="T14" fmla="*/ 206372 w 520"/>
              <a:gd name="T15" fmla="*/ 0 h 191"/>
              <a:gd name="T16" fmla="*/ 165255 w 520"/>
              <a:gd name="T17" fmla="*/ 0 h 191"/>
              <a:gd name="T18" fmla="*/ 124139 w 520"/>
              <a:gd name="T19" fmla="*/ 28459 h 191"/>
              <a:gd name="T20" fmla="*/ 97256 w 520"/>
              <a:gd name="T21" fmla="*/ 28459 h 191"/>
              <a:gd name="T22" fmla="*/ 69581 w 520"/>
              <a:gd name="T23" fmla="*/ 28459 h 191"/>
              <a:gd name="T24" fmla="*/ 56139 w 520"/>
              <a:gd name="T25" fmla="*/ 0 h 191"/>
              <a:gd name="T26" fmla="*/ 28465 w 520"/>
              <a:gd name="T27" fmla="*/ 0 h 191"/>
              <a:gd name="T28" fmla="*/ 15023 w 520"/>
              <a:gd name="T29" fmla="*/ 13340 h 191"/>
              <a:gd name="T30" fmla="*/ 0 w 520"/>
              <a:gd name="T31" fmla="*/ 42688 h 191"/>
              <a:gd name="T32" fmla="*/ 15023 w 520"/>
              <a:gd name="T33" fmla="*/ 42688 h 191"/>
              <a:gd name="T34" fmla="*/ 15023 w 520"/>
              <a:gd name="T35" fmla="*/ 56028 h 191"/>
              <a:gd name="T36" fmla="*/ 42698 w 520"/>
              <a:gd name="T37" fmla="*/ 28459 h 191"/>
              <a:gd name="T38" fmla="*/ 69581 w 520"/>
              <a:gd name="T39" fmla="*/ 28459 h 191"/>
              <a:gd name="T40" fmla="*/ 83023 w 520"/>
              <a:gd name="T41" fmla="*/ 42688 h 191"/>
              <a:gd name="T42" fmla="*/ 69581 w 520"/>
              <a:gd name="T43" fmla="*/ 42688 h 191"/>
              <a:gd name="T44" fmla="*/ 69581 w 520"/>
              <a:gd name="T45" fmla="*/ 56028 h 191"/>
              <a:gd name="T46" fmla="*/ 28465 w 520"/>
              <a:gd name="T47" fmla="*/ 56028 h 191"/>
              <a:gd name="T48" fmla="*/ 15023 w 520"/>
              <a:gd name="T49" fmla="*/ 56028 h 191"/>
              <a:gd name="T50" fmla="*/ 15023 w 520"/>
              <a:gd name="T51" fmla="*/ 85376 h 191"/>
              <a:gd name="T52" fmla="*/ 28465 w 520"/>
              <a:gd name="T53" fmla="*/ 71146 h 191"/>
              <a:gd name="T54" fmla="*/ 28465 w 520"/>
              <a:gd name="T55" fmla="*/ 98716 h 191"/>
              <a:gd name="T56" fmla="*/ 15023 w 520"/>
              <a:gd name="T57" fmla="*/ 98716 h 191"/>
              <a:gd name="T58" fmla="*/ 15023 w 520"/>
              <a:gd name="T59" fmla="*/ 113834 h 191"/>
              <a:gd name="T60" fmla="*/ 28465 w 520"/>
              <a:gd name="T61" fmla="*/ 113834 h 191"/>
              <a:gd name="T62" fmla="*/ 28465 w 520"/>
              <a:gd name="T63" fmla="*/ 127174 h 191"/>
              <a:gd name="T64" fmla="*/ 42698 w 520"/>
              <a:gd name="T65" fmla="*/ 141403 h 191"/>
              <a:gd name="T66" fmla="*/ 28465 w 520"/>
              <a:gd name="T67" fmla="*/ 141403 h 191"/>
              <a:gd name="T68" fmla="*/ 56139 w 520"/>
              <a:gd name="T69" fmla="*/ 141403 h 191"/>
              <a:gd name="T70" fmla="*/ 56139 w 520"/>
              <a:gd name="T71" fmla="*/ 156522 h 191"/>
              <a:gd name="T72" fmla="*/ 83023 w 520"/>
              <a:gd name="T73" fmla="*/ 169862 h 191"/>
              <a:gd name="T74" fmla="*/ 110697 w 520"/>
              <a:gd name="T75" fmla="*/ 156522 h 191"/>
              <a:gd name="T76" fmla="*/ 124139 w 520"/>
              <a:gd name="T77" fmla="*/ 156522 h 191"/>
              <a:gd name="T78" fmla="*/ 151814 w 520"/>
              <a:gd name="T79" fmla="*/ 169862 h 191"/>
              <a:gd name="T80" fmla="*/ 165255 w 520"/>
              <a:gd name="T81" fmla="*/ 169862 h 191"/>
              <a:gd name="T82" fmla="*/ 192930 w 520"/>
              <a:gd name="T83" fmla="*/ 156522 h 191"/>
              <a:gd name="T84" fmla="*/ 219814 w 520"/>
              <a:gd name="T85" fmla="*/ 156522 h 191"/>
              <a:gd name="T86" fmla="*/ 219814 w 520"/>
              <a:gd name="T87" fmla="*/ 141403 h 191"/>
              <a:gd name="T88" fmla="*/ 219814 w 520"/>
              <a:gd name="T89" fmla="*/ 169862 h 191"/>
              <a:gd name="T90" fmla="*/ 233255 w 520"/>
              <a:gd name="T91" fmla="*/ 169862 h 191"/>
              <a:gd name="T92" fmla="*/ 233255 w 520"/>
              <a:gd name="T93" fmla="*/ 156522 h 191"/>
              <a:gd name="T94" fmla="*/ 274372 w 520"/>
              <a:gd name="T95" fmla="*/ 141403 h 191"/>
              <a:gd name="T96" fmla="*/ 288604 w 520"/>
              <a:gd name="T97" fmla="*/ 156522 h 191"/>
              <a:gd name="T98" fmla="*/ 328930 w 520"/>
              <a:gd name="T99" fmla="*/ 141403 h 191"/>
              <a:gd name="T100" fmla="*/ 370046 w 520"/>
              <a:gd name="T101" fmla="*/ 141403 h 191"/>
              <a:gd name="T102" fmla="*/ 370046 w 520"/>
              <a:gd name="T103" fmla="*/ 127174 h 191"/>
              <a:gd name="T104" fmla="*/ 411162 w 520"/>
              <a:gd name="T105" fmla="*/ 141403 h 191"/>
              <a:gd name="T106" fmla="*/ 397720 w 520"/>
              <a:gd name="T107" fmla="*/ 71146 h 191"/>
              <a:gd name="T108" fmla="*/ 411162 w 520"/>
              <a:gd name="T109" fmla="*/ 56028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chemeClr val="bg1"/>
          </a:solidFill>
          <a:ln w="9525">
            <a:solidFill>
              <a:schemeClr val="bg2"/>
            </a:solidFill>
            <a:prstDash val="solid"/>
            <a:round/>
            <a:headEnd/>
            <a:tailEnd/>
          </a:ln>
        </p:spPr>
        <p:txBody>
          <a:bodyPr/>
          <a:lstStyle/>
          <a:p>
            <a:endParaRPr lang="en-US" dirty="0"/>
          </a:p>
        </p:txBody>
      </p:sp>
      <p:sp>
        <p:nvSpPr>
          <p:cNvPr id="18658" name="Freeform 225"/>
          <p:cNvSpPr>
            <a:spLocks noChangeAspect="1"/>
          </p:cNvSpPr>
          <p:nvPr/>
        </p:nvSpPr>
        <p:spPr bwMode="auto">
          <a:xfrm>
            <a:off x="5026025" y="3133725"/>
            <a:ext cx="93663" cy="109538"/>
          </a:xfrm>
          <a:custGeom>
            <a:avLst/>
            <a:gdLst>
              <a:gd name="T0" fmla="*/ 93663 w 119"/>
              <a:gd name="T1" fmla="*/ 26738 h 127"/>
              <a:gd name="T2" fmla="*/ 93663 w 119"/>
              <a:gd name="T3" fmla="*/ 26738 h 127"/>
              <a:gd name="T4" fmla="*/ 93663 w 119"/>
              <a:gd name="T5" fmla="*/ 0 h 127"/>
              <a:gd name="T6" fmla="*/ 79495 w 119"/>
              <a:gd name="T7" fmla="*/ 0 h 127"/>
              <a:gd name="T8" fmla="*/ 38567 w 119"/>
              <a:gd name="T9" fmla="*/ 26738 h 127"/>
              <a:gd name="T10" fmla="*/ 11806 w 119"/>
              <a:gd name="T11" fmla="*/ 26738 h 127"/>
              <a:gd name="T12" fmla="*/ 11806 w 119"/>
              <a:gd name="T13" fmla="*/ 41400 h 127"/>
              <a:gd name="T14" fmla="*/ 11806 w 119"/>
              <a:gd name="T15" fmla="*/ 68138 h 127"/>
              <a:gd name="T16" fmla="*/ 0 w 119"/>
              <a:gd name="T17" fmla="*/ 109538 h 127"/>
              <a:gd name="T18" fmla="*/ 25187 w 119"/>
              <a:gd name="T19" fmla="*/ 109538 h 127"/>
              <a:gd name="T20" fmla="*/ 38567 w 119"/>
              <a:gd name="T21" fmla="*/ 95738 h 127"/>
              <a:gd name="T22" fmla="*/ 52735 w 119"/>
              <a:gd name="T23" fmla="*/ 95738 h 127"/>
              <a:gd name="T24" fmla="*/ 66115 w 119"/>
              <a:gd name="T25" fmla="*/ 68138 h 127"/>
              <a:gd name="T26" fmla="*/ 52735 w 119"/>
              <a:gd name="T27" fmla="*/ 54338 h 127"/>
              <a:gd name="T28" fmla="*/ 93663 w 119"/>
              <a:gd name="T29" fmla="*/ 26738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chemeClr val="bg1"/>
          </a:solidFill>
          <a:ln w="9525">
            <a:solidFill>
              <a:schemeClr val="bg2"/>
            </a:solidFill>
            <a:round/>
            <a:headEnd/>
            <a:tailEnd/>
          </a:ln>
        </p:spPr>
        <p:txBody>
          <a:bodyPr/>
          <a:lstStyle/>
          <a:p>
            <a:endParaRPr lang="en-US" dirty="0"/>
          </a:p>
        </p:txBody>
      </p:sp>
      <p:sp>
        <p:nvSpPr>
          <p:cNvPr id="18659" name="Freeform 226"/>
          <p:cNvSpPr>
            <a:spLocks noChangeAspect="1"/>
          </p:cNvSpPr>
          <p:nvPr/>
        </p:nvSpPr>
        <p:spPr bwMode="auto">
          <a:xfrm>
            <a:off x="5367338" y="3328988"/>
            <a:ext cx="133350" cy="69850"/>
          </a:xfrm>
          <a:custGeom>
            <a:avLst/>
            <a:gdLst>
              <a:gd name="T0" fmla="*/ 107142 w 173"/>
              <a:gd name="T1" fmla="*/ 56753 h 80"/>
              <a:gd name="T2" fmla="*/ 107142 w 173"/>
              <a:gd name="T3" fmla="*/ 56753 h 80"/>
              <a:gd name="T4" fmla="*/ 133350 w 173"/>
              <a:gd name="T5" fmla="*/ 27940 h 80"/>
              <a:gd name="T6" fmla="*/ 133350 w 173"/>
              <a:gd name="T7" fmla="*/ 14843 h 80"/>
              <a:gd name="T8" fmla="*/ 120246 w 173"/>
              <a:gd name="T9" fmla="*/ 0 h 80"/>
              <a:gd name="T10" fmla="*/ 80164 w 173"/>
              <a:gd name="T11" fmla="*/ 41910 h 80"/>
              <a:gd name="T12" fmla="*/ 40082 w 173"/>
              <a:gd name="T13" fmla="*/ 41910 h 80"/>
              <a:gd name="T14" fmla="*/ 13875 w 173"/>
              <a:gd name="T15" fmla="*/ 41910 h 80"/>
              <a:gd name="T16" fmla="*/ 0 w 173"/>
              <a:gd name="T17" fmla="*/ 56753 h 80"/>
              <a:gd name="T18" fmla="*/ 13875 w 173"/>
              <a:gd name="T19" fmla="*/ 69850 h 80"/>
              <a:gd name="T20" fmla="*/ 26978 w 173"/>
              <a:gd name="T21" fmla="*/ 69850 h 80"/>
              <a:gd name="T22" fmla="*/ 40082 w 173"/>
              <a:gd name="T23" fmla="*/ 69850 h 80"/>
              <a:gd name="T24" fmla="*/ 53957 w 173"/>
              <a:gd name="T25" fmla="*/ 69850 h 80"/>
              <a:gd name="T26" fmla="*/ 67060 w 173"/>
              <a:gd name="T27" fmla="*/ 69850 h 80"/>
              <a:gd name="T28" fmla="*/ 80164 w 173"/>
              <a:gd name="T29" fmla="*/ 69850 h 80"/>
              <a:gd name="T30" fmla="*/ 80164 w 173"/>
              <a:gd name="T31" fmla="*/ 56753 h 80"/>
              <a:gd name="T32" fmla="*/ 93268 w 173"/>
              <a:gd name="T33" fmla="*/ 56753 h 80"/>
              <a:gd name="T34" fmla="*/ 107142 w 173"/>
              <a:gd name="T35" fmla="*/ 56753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chemeClr val="bg1"/>
          </a:solidFill>
          <a:ln w="9525">
            <a:solidFill>
              <a:schemeClr val="bg2"/>
            </a:solidFill>
            <a:round/>
            <a:headEnd/>
            <a:tailEnd/>
          </a:ln>
        </p:spPr>
        <p:txBody>
          <a:bodyPr/>
          <a:lstStyle/>
          <a:p>
            <a:endParaRPr lang="en-US" dirty="0"/>
          </a:p>
        </p:txBody>
      </p:sp>
      <p:sp>
        <p:nvSpPr>
          <p:cNvPr id="18660" name="Freeform 227"/>
          <p:cNvSpPr>
            <a:spLocks noChangeAspect="1"/>
          </p:cNvSpPr>
          <p:nvPr/>
        </p:nvSpPr>
        <p:spPr bwMode="auto">
          <a:xfrm>
            <a:off x="5487988" y="3314700"/>
            <a:ext cx="12700" cy="30163"/>
          </a:xfrm>
          <a:custGeom>
            <a:avLst/>
            <a:gdLst>
              <a:gd name="T0" fmla="*/ 12700 w 17"/>
              <a:gd name="T1" fmla="*/ 30163 h 33"/>
              <a:gd name="T2" fmla="*/ 12700 w 17"/>
              <a:gd name="T3" fmla="*/ 30163 h 33"/>
              <a:gd name="T4" fmla="*/ 0 w 17"/>
              <a:gd name="T5" fmla="*/ 14624 h 33"/>
              <a:gd name="T6" fmla="*/ 0 w 17"/>
              <a:gd name="T7" fmla="*/ 0 h 33"/>
              <a:gd name="T8" fmla="*/ 12700 w 17"/>
              <a:gd name="T9" fmla="*/ 0 h 33"/>
              <a:gd name="T10" fmla="*/ 12700 w 17"/>
              <a:gd name="T11" fmla="*/ 30163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chemeClr val="bg1"/>
          </a:solidFill>
          <a:ln w="9525">
            <a:solidFill>
              <a:schemeClr val="bg2"/>
            </a:solidFill>
            <a:prstDash val="solid"/>
            <a:round/>
            <a:headEnd/>
            <a:tailEnd/>
          </a:ln>
        </p:spPr>
        <p:txBody>
          <a:bodyPr/>
          <a:lstStyle/>
          <a:p>
            <a:endParaRPr lang="en-US" dirty="0"/>
          </a:p>
        </p:txBody>
      </p:sp>
      <p:sp>
        <p:nvSpPr>
          <p:cNvPr id="18661" name="Freeform 228"/>
          <p:cNvSpPr>
            <a:spLocks noChangeAspect="1"/>
          </p:cNvSpPr>
          <p:nvPr/>
        </p:nvSpPr>
        <p:spPr bwMode="auto">
          <a:xfrm>
            <a:off x="5200650" y="3527425"/>
            <a:ext cx="219075" cy="112713"/>
          </a:xfrm>
          <a:custGeom>
            <a:avLst/>
            <a:gdLst>
              <a:gd name="T0" fmla="*/ 0 w 279"/>
              <a:gd name="T1" fmla="*/ 28834 h 129"/>
              <a:gd name="T2" fmla="*/ 0 w 279"/>
              <a:gd name="T3" fmla="*/ 28834 h 129"/>
              <a:gd name="T4" fmla="*/ 13349 w 279"/>
              <a:gd name="T5" fmla="*/ 13980 h 129"/>
              <a:gd name="T6" fmla="*/ 54180 w 279"/>
              <a:gd name="T7" fmla="*/ 55046 h 129"/>
              <a:gd name="T8" fmla="*/ 68314 w 279"/>
              <a:gd name="T9" fmla="*/ 83879 h 129"/>
              <a:gd name="T10" fmla="*/ 164110 w 279"/>
              <a:gd name="T11" fmla="*/ 13980 h 129"/>
              <a:gd name="T12" fmla="*/ 219075 w 279"/>
              <a:gd name="T13" fmla="*/ 0 h 129"/>
              <a:gd name="T14" fmla="*/ 219075 w 279"/>
              <a:gd name="T15" fmla="*/ 13980 h 129"/>
              <a:gd name="T16" fmla="*/ 204941 w 279"/>
              <a:gd name="T17" fmla="*/ 28834 h 129"/>
              <a:gd name="T18" fmla="*/ 204941 w 279"/>
              <a:gd name="T19" fmla="*/ 41940 h 129"/>
              <a:gd name="T20" fmla="*/ 150761 w 279"/>
              <a:gd name="T21" fmla="*/ 55046 h 129"/>
              <a:gd name="T22" fmla="*/ 96581 w 279"/>
              <a:gd name="T23" fmla="*/ 96986 h 129"/>
              <a:gd name="T24" fmla="*/ 68314 w 279"/>
              <a:gd name="T25" fmla="*/ 96986 h 129"/>
              <a:gd name="T26" fmla="*/ 40831 w 279"/>
              <a:gd name="T27" fmla="*/ 112713 h 129"/>
              <a:gd name="T28" fmla="*/ 13349 w 279"/>
              <a:gd name="T29" fmla="*/ 112713 h 129"/>
              <a:gd name="T30" fmla="*/ 0 w 279"/>
              <a:gd name="T31" fmla="*/ 2883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chemeClr val="bg1"/>
          </a:solidFill>
          <a:ln w="9525">
            <a:solidFill>
              <a:schemeClr val="bg2"/>
            </a:solidFill>
            <a:round/>
            <a:headEnd/>
            <a:tailEnd/>
          </a:ln>
        </p:spPr>
        <p:txBody>
          <a:bodyPr/>
          <a:lstStyle/>
          <a:p>
            <a:endParaRPr lang="en-US" dirty="0"/>
          </a:p>
        </p:txBody>
      </p:sp>
      <p:sp>
        <p:nvSpPr>
          <p:cNvPr id="18662" name="Freeform 229"/>
          <p:cNvSpPr>
            <a:spLocks noChangeAspect="1"/>
          </p:cNvSpPr>
          <p:nvPr/>
        </p:nvSpPr>
        <p:spPr bwMode="auto">
          <a:xfrm>
            <a:off x="4464050" y="2862263"/>
            <a:ext cx="11113" cy="58737"/>
          </a:xfrm>
          <a:custGeom>
            <a:avLst/>
            <a:gdLst>
              <a:gd name="T0" fmla="*/ 0 w 18"/>
              <a:gd name="T1" fmla="*/ 15362 h 65"/>
              <a:gd name="T2" fmla="*/ 0 w 18"/>
              <a:gd name="T3" fmla="*/ 15362 h 65"/>
              <a:gd name="T4" fmla="*/ 0 w 18"/>
              <a:gd name="T5" fmla="*/ 43375 h 65"/>
              <a:gd name="T6" fmla="*/ 11113 w 18"/>
              <a:gd name="T7" fmla="*/ 58737 h 65"/>
              <a:gd name="T8" fmla="*/ 11113 w 18"/>
              <a:gd name="T9" fmla="*/ 0 h 65"/>
              <a:gd name="T10" fmla="*/ 0 w 18"/>
              <a:gd name="T11" fmla="*/ 15362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663" name="Freeform 230"/>
          <p:cNvSpPr>
            <a:spLocks noChangeAspect="1"/>
          </p:cNvSpPr>
          <p:nvPr/>
        </p:nvSpPr>
        <p:spPr bwMode="auto">
          <a:xfrm>
            <a:off x="4449763" y="2921000"/>
            <a:ext cx="41275" cy="69850"/>
          </a:xfrm>
          <a:custGeom>
            <a:avLst/>
            <a:gdLst>
              <a:gd name="T0" fmla="*/ 0 w 52"/>
              <a:gd name="T1" fmla="*/ 0 h 79"/>
              <a:gd name="T2" fmla="*/ 0 w 52"/>
              <a:gd name="T3" fmla="*/ 0 h 79"/>
              <a:gd name="T4" fmla="*/ 13494 w 52"/>
              <a:gd name="T5" fmla="*/ 56587 h 79"/>
              <a:gd name="T6" fmla="*/ 13494 w 52"/>
              <a:gd name="T7" fmla="*/ 69850 h 79"/>
              <a:gd name="T8" fmla="*/ 27781 w 52"/>
              <a:gd name="T9" fmla="*/ 56587 h 79"/>
              <a:gd name="T10" fmla="*/ 41275 w 52"/>
              <a:gd name="T11" fmla="*/ 14147 h 79"/>
              <a:gd name="T12" fmla="*/ 27781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664" name="Freeform 231"/>
          <p:cNvSpPr>
            <a:spLocks noChangeAspect="1"/>
          </p:cNvSpPr>
          <p:nvPr/>
        </p:nvSpPr>
        <p:spPr bwMode="auto">
          <a:xfrm>
            <a:off x="4545013" y="3006725"/>
            <a:ext cx="69850" cy="41275"/>
          </a:xfrm>
          <a:custGeom>
            <a:avLst/>
            <a:gdLst>
              <a:gd name="T0" fmla="*/ 0 w 88"/>
              <a:gd name="T1" fmla="*/ 0 h 48"/>
              <a:gd name="T2" fmla="*/ 0 w 88"/>
              <a:gd name="T3" fmla="*/ 0 h 48"/>
              <a:gd name="T4" fmla="*/ 0 w 88"/>
              <a:gd name="T5" fmla="*/ 12898 h 48"/>
              <a:gd name="T6" fmla="*/ 54769 w 88"/>
              <a:gd name="T7" fmla="*/ 41275 h 48"/>
              <a:gd name="T8" fmla="*/ 69850 w 88"/>
              <a:gd name="T9" fmla="*/ 0 h 48"/>
              <a:gd name="T10" fmla="*/ 41275 w 88"/>
              <a:gd name="T11" fmla="*/ 0 h 48"/>
              <a:gd name="T12" fmla="*/ 13494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665" name="Freeform 232"/>
          <p:cNvSpPr>
            <a:spLocks noChangeAspect="1"/>
          </p:cNvSpPr>
          <p:nvPr/>
        </p:nvSpPr>
        <p:spPr bwMode="auto">
          <a:xfrm>
            <a:off x="4737100" y="3006725"/>
            <a:ext cx="39688" cy="41275"/>
          </a:xfrm>
          <a:custGeom>
            <a:avLst/>
            <a:gdLst>
              <a:gd name="T0" fmla="*/ 0 w 52"/>
              <a:gd name="T1" fmla="*/ 12898 h 48"/>
              <a:gd name="T2" fmla="*/ 0 w 52"/>
              <a:gd name="T3" fmla="*/ 12898 h 48"/>
              <a:gd name="T4" fmla="*/ 12975 w 52"/>
              <a:gd name="T5" fmla="*/ 12898 h 48"/>
              <a:gd name="T6" fmla="*/ 12975 w 52"/>
              <a:gd name="T7" fmla="*/ 41275 h 48"/>
              <a:gd name="T8" fmla="*/ 25950 w 52"/>
              <a:gd name="T9" fmla="*/ 41275 h 48"/>
              <a:gd name="T10" fmla="*/ 39688 w 52"/>
              <a:gd name="T11" fmla="*/ 41275 h 48"/>
              <a:gd name="T12" fmla="*/ 25950 w 52"/>
              <a:gd name="T13" fmla="*/ 12898 h 48"/>
              <a:gd name="T14" fmla="*/ 39688 w 52"/>
              <a:gd name="T15" fmla="*/ 26657 h 48"/>
              <a:gd name="T16" fmla="*/ 39688 w 52"/>
              <a:gd name="T17" fmla="*/ 12898 h 48"/>
              <a:gd name="T18" fmla="*/ 12975 w 52"/>
              <a:gd name="T19" fmla="*/ 0 h 48"/>
              <a:gd name="T20" fmla="*/ 0 w 52"/>
              <a:gd name="T21" fmla="*/ 1289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666" name="Freeform 233"/>
          <p:cNvSpPr>
            <a:spLocks noChangeAspect="1"/>
          </p:cNvSpPr>
          <p:nvPr/>
        </p:nvSpPr>
        <p:spPr bwMode="auto">
          <a:xfrm>
            <a:off x="4792663" y="3074988"/>
            <a:ext cx="52387" cy="15875"/>
          </a:xfrm>
          <a:custGeom>
            <a:avLst/>
            <a:gdLst>
              <a:gd name="T0" fmla="*/ 0 w 71"/>
              <a:gd name="T1" fmla="*/ 15875 h 17"/>
              <a:gd name="T2" fmla="*/ 0 w 71"/>
              <a:gd name="T3" fmla="*/ 15875 h 17"/>
              <a:gd name="T4" fmla="*/ 26562 w 71"/>
              <a:gd name="T5" fmla="*/ 15875 h 17"/>
              <a:gd name="T6" fmla="*/ 52387 w 71"/>
              <a:gd name="T7" fmla="*/ 15875 h 17"/>
              <a:gd name="T8" fmla="*/ 39844 w 71"/>
              <a:gd name="T9" fmla="*/ 15875 h 17"/>
              <a:gd name="T10" fmla="*/ 0 w 71"/>
              <a:gd name="T11" fmla="*/ 0 h 17"/>
              <a:gd name="T12" fmla="*/ 0 w 71"/>
              <a:gd name="T13" fmla="*/ 15875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667" name="Freeform 234"/>
          <p:cNvSpPr>
            <a:spLocks noChangeAspect="1"/>
          </p:cNvSpPr>
          <p:nvPr/>
        </p:nvSpPr>
        <p:spPr bwMode="auto">
          <a:xfrm>
            <a:off x="4968875" y="3074988"/>
            <a:ext cx="55563" cy="26987"/>
          </a:xfrm>
          <a:custGeom>
            <a:avLst/>
            <a:gdLst>
              <a:gd name="T0" fmla="*/ 0 w 70"/>
              <a:gd name="T1" fmla="*/ 14337 h 32"/>
              <a:gd name="T2" fmla="*/ 0 w 70"/>
              <a:gd name="T3" fmla="*/ 14337 h 32"/>
              <a:gd name="T4" fmla="*/ 14288 w 70"/>
              <a:gd name="T5" fmla="*/ 26987 h 32"/>
              <a:gd name="T6" fmla="*/ 27782 w 70"/>
              <a:gd name="T7" fmla="*/ 26987 h 32"/>
              <a:gd name="T8" fmla="*/ 41275 w 70"/>
              <a:gd name="T9" fmla="*/ 14337 h 32"/>
              <a:gd name="T10" fmla="*/ 55563 w 70"/>
              <a:gd name="T11" fmla="*/ 0 h 32"/>
              <a:gd name="T12" fmla="*/ 0 w 70"/>
              <a:gd name="T13" fmla="*/ 14337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668" name="Line 235"/>
          <p:cNvSpPr>
            <a:spLocks noChangeAspect="1" noChangeShapeType="1"/>
          </p:cNvSpPr>
          <p:nvPr/>
        </p:nvSpPr>
        <p:spPr bwMode="auto">
          <a:xfrm flipV="1">
            <a:off x="4883150" y="3052763"/>
            <a:ext cx="11113" cy="44450"/>
          </a:xfrm>
          <a:prstGeom prst="line">
            <a:avLst/>
          </a:prstGeom>
          <a:noFill/>
          <a:ln w="9525">
            <a:solidFill>
              <a:schemeClr val="bg2"/>
            </a:solidFill>
            <a:round/>
            <a:headEnd/>
            <a:tailEnd/>
          </a:ln>
        </p:spPr>
        <p:txBody>
          <a:bodyPr/>
          <a:lstStyle/>
          <a:p>
            <a:endParaRPr lang="en-US" dirty="0"/>
          </a:p>
        </p:txBody>
      </p:sp>
      <p:sp>
        <p:nvSpPr>
          <p:cNvPr id="18669" name="Freeform 236"/>
          <p:cNvSpPr>
            <a:spLocks noChangeAspect="1"/>
          </p:cNvSpPr>
          <p:nvPr/>
        </p:nvSpPr>
        <p:spPr bwMode="auto">
          <a:xfrm>
            <a:off x="5243513" y="2947988"/>
            <a:ext cx="26987" cy="28575"/>
          </a:xfrm>
          <a:custGeom>
            <a:avLst/>
            <a:gdLst>
              <a:gd name="T0" fmla="*/ 26987 w 35"/>
              <a:gd name="T1" fmla="*/ 28575 h 33"/>
              <a:gd name="T2" fmla="*/ 26987 w 35"/>
              <a:gd name="T3" fmla="*/ 28575 h 33"/>
              <a:gd name="T4" fmla="*/ 13108 w 35"/>
              <a:gd name="T5" fmla="*/ 28575 h 33"/>
              <a:gd name="T6" fmla="*/ 0 w 35"/>
              <a:gd name="T7" fmla="*/ 0 h 33"/>
              <a:gd name="T8" fmla="*/ 26987 w 35"/>
              <a:gd name="T9" fmla="*/ 14720 h 33"/>
              <a:gd name="T10" fmla="*/ 26987 w 35"/>
              <a:gd name="T11" fmla="*/ 28575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chemeClr val="bg1"/>
          </a:solidFill>
          <a:ln w="9525">
            <a:solidFill>
              <a:schemeClr val="bg2"/>
            </a:solidFill>
            <a:prstDash val="solid"/>
            <a:round/>
            <a:headEnd/>
            <a:tailEnd/>
          </a:ln>
        </p:spPr>
        <p:txBody>
          <a:bodyPr/>
          <a:lstStyle/>
          <a:p>
            <a:endParaRPr lang="en-US" dirty="0"/>
          </a:p>
        </p:txBody>
      </p:sp>
      <p:sp>
        <p:nvSpPr>
          <p:cNvPr id="18670" name="Freeform 237"/>
          <p:cNvSpPr>
            <a:spLocks noChangeAspect="1"/>
          </p:cNvSpPr>
          <p:nvPr/>
        </p:nvSpPr>
        <p:spPr bwMode="auto">
          <a:xfrm>
            <a:off x="5037138" y="3032125"/>
            <a:ext cx="163512" cy="127000"/>
          </a:xfrm>
          <a:custGeom>
            <a:avLst/>
            <a:gdLst>
              <a:gd name="T0" fmla="*/ 0 w 207"/>
              <a:gd name="T1" fmla="*/ 127000 h 144"/>
              <a:gd name="T2" fmla="*/ 0 w 207"/>
              <a:gd name="T3" fmla="*/ 127000 h 144"/>
              <a:gd name="T4" fmla="*/ 13429 w 207"/>
              <a:gd name="T5" fmla="*/ 112889 h 144"/>
              <a:gd name="T6" fmla="*/ 26857 w 207"/>
              <a:gd name="T7" fmla="*/ 84667 h 144"/>
              <a:gd name="T8" fmla="*/ 13429 w 207"/>
              <a:gd name="T9" fmla="*/ 70556 h 144"/>
              <a:gd name="T10" fmla="*/ 13429 w 207"/>
              <a:gd name="T11" fmla="*/ 28222 h 144"/>
              <a:gd name="T12" fmla="*/ 26857 w 207"/>
              <a:gd name="T13" fmla="*/ 28222 h 144"/>
              <a:gd name="T14" fmla="*/ 26857 w 207"/>
              <a:gd name="T15" fmla="*/ 14993 h 144"/>
              <a:gd name="T16" fmla="*/ 67933 w 207"/>
              <a:gd name="T17" fmla="*/ 0 h 144"/>
              <a:gd name="T18" fmla="*/ 82151 w 207"/>
              <a:gd name="T19" fmla="*/ 14993 h 144"/>
              <a:gd name="T20" fmla="*/ 122437 w 207"/>
              <a:gd name="T21" fmla="*/ 0 h 144"/>
              <a:gd name="T22" fmla="*/ 163512 w 207"/>
              <a:gd name="T23" fmla="*/ 0 h 144"/>
              <a:gd name="T24" fmla="*/ 136655 w 207"/>
              <a:gd name="T25" fmla="*/ 14993 h 144"/>
              <a:gd name="T26" fmla="*/ 122437 w 207"/>
              <a:gd name="T27" fmla="*/ 70556 h 144"/>
              <a:gd name="T28" fmla="*/ 82151 w 207"/>
              <a:gd name="T29" fmla="*/ 99660 h 144"/>
              <a:gd name="T30" fmla="*/ 67933 w 207"/>
              <a:gd name="T31" fmla="*/ 99660 h 144"/>
              <a:gd name="T32" fmla="*/ 26857 w 207"/>
              <a:gd name="T33" fmla="*/ 127000 h 144"/>
              <a:gd name="T34" fmla="*/ 0 w 207"/>
              <a:gd name="T35" fmla="*/ 127000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chemeClr val="bg1"/>
          </a:solidFill>
          <a:ln w="9525">
            <a:solidFill>
              <a:schemeClr val="bg2"/>
            </a:solidFill>
            <a:round/>
            <a:headEnd/>
            <a:tailEnd/>
          </a:ln>
        </p:spPr>
        <p:txBody>
          <a:bodyPr/>
          <a:lstStyle/>
          <a:p>
            <a:endParaRPr lang="en-US" dirty="0"/>
          </a:p>
        </p:txBody>
      </p:sp>
      <p:sp>
        <p:nvSpPr>
          <p:cNvPr id="18671" name="Freeform 238"/>
          <p:cNvSpPr>
            <a:spLocks noChangeAspect="1"/>
          </p:cNvSpPr>
          <p:nvPr/>
        </p:nvSpPr>
        <p:spPr bwMode="auto">
          <a:xfrm>
            <a:off x="5010150" y="3146425"/>
            <a:ext cx="41275" cy="96838"/>
          </a:xfrm>
          <a:custGeom>
            <a:avLst/>
            <a:gdLst>
              <a:gd name="T0" fmla="*/ 27781 w 52"/>
              <a:gd name="T1" fmla="*/ 13834 h 112"/>
              <a:gd name="T2" fmla="*/ 27781 w 52"/>
              <a:gd name="T3" fmla="*/ 13834 h 112"/>
              <a:gd name="T4" fmla="*/ 27781 w 52"/>
              <a:gd name="T5" fmla="*/ 28533 h 112"/>
              <a:gd name="T6" fmla="*/ 27781 w 52"/>
              <a:gd name="T7" fmla="*/ 55336 h 112"/>
              <a:gd name="T8" fmla="*/ 14288 w 52"/>
              <a:gd name="T9" fmla="*/ 96838 h 112"/>
              <a:gd name="T10" fmla="*/ 0 w 52"/>
              <a:gd name="T11" fmla="*/ 41502 h 112"/>
              <a:gd name="T12" fmla="*/ 14288 w 52"/>
              <a:gd name="T13" fmla="*/ 28533 h 112"/>
              <a:gd name="T14" fmla="*/ 27781 w 52"/>
              <a:gd name="T15" fmla="*/ 0 h 112"/>
              <a:gd name="T16" fmla="*/ 41275 w 52"/>
              <a:gd name="T17" fmla="*/ 0 h 112"/>
              <a:gd name="T18" fmla="*/ 27781 w 52"/>
              <a:gd name="T19" fmla="*/ 13834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chemeClr val="bg1"/>
          </a:solidFill>
          <a:ln w="9525">
            <a:solidFill>
              <a:schemeClr val="bg2"/>
            </a:solidFill>
            <a:prstDash val="solid"/>
            <a:round/>
            <a:headEnd/>
            <a:tailEnd/>
          </a:ln>
        </p:spPr>
        <p:txBody>
          <a:bodyPr/>
          <a:lstStyle/>
          <a:p>
            <a:endParaRPr lang="en-US" dirty="0"/>
          </a:p>
        </p:txBody>
      </p:sp>
      <p:sp>
        <p:nvSpPr>
          <p:cNvPr id="18672" name="Freeform 239"/>
          <p:cNvSpPr>
            <a:spLocks noChangeAspect="1"/>
          </p:cNvSpPr>
          <p:nvPr/>
        </p:nvSpPr>
        <p:spPr bwMode="auto">
          <a:xfrm>
            <a:off x="5119688" y="3017838"/>
            <a:ext cx="204787" cy="225425"/>
          </a:xfrm>
          <a:custGeom>
            <a:avLst/>
            <a:gdLst>
              <a:gd name="T0" fmla="*/ 122556 w 259"/>
              <a:gd name="T1" fmla="*/ 14089 h 256"/>
              <a:gd name="T2" fmla="*/ 122556 w 259"/>
              <a:gd name="T3" fmla="*/ 14089 h 256"/>
              <a:gd name="T4" fmla="*/ 135998 w 259"/>
              <a:gd name="T5" fmla="*/ 42267 h 256"/>
              <a:gd name="T6" fmla="*/ 150230 w 259"/>
              <a:gd name="T7" fmla="*/ 42267 h 256"/>
              <a:gd name="T8" fmla="*/ 150230 w 259"/>
              <a:gd name="T9" fmla="*/ 71326 h 256"/>
              <a:gd name="T10" fmla="*/ 135998 w 259"/>
              <a:gd name="T11" fmla="*/ 98623 h 256"/>
              <a:gd name="T12" fmla="*/ 150230 w 259"/>
              <a:gd name="T13" fmla="*/ 126802 h 256"/>
              <a:gd name="T14" fmla="*/ 177113 w 259"/>
              <a:gd name="T15" fmla="*/ 140891 h 256"/>
              <a:gd name="T16" fmla="*/ 190555 w 259"/>
              <a:gd name="T17" fmla="*/ 183158 h 256"/>
              <a:gd name="T18" fmla="*/ 204787 w 259"/>
              <a:gd name="T19" fmla="*/ 198127 h 256"/>
              <a:gd name="T20" fmla="*/ 204787 w 259"/>
              <a:gd name="T21" fmla="*/ 211336 h 256"/>
              <a:gd name="T22" fmla="*/ 177113 w 259"/>
              <a:gd name="T23" fmla="*/ 211336 h 256"/>
              <a:gd name="T24" fmla="*/ 163671 w 259"/>
              <a:gd name="T25" fmla="*/ 225425 h 256"/>
              <a:gd name="T26" fmla="*/ 135998 w 259"/>
              <a:gd name="T27" fmla="*/ 211336 h 256"/>
              <a:gd name="T28" fmla="*/ 122556 w 259"/>
              <a:gd name="T29" fmla="*/ 225425 h 256"/>
              <a:gd name="T30" fmla="*/ 94882 w 259"/>
              <a:gd name="T31" fmla="*/ 211336 h 256"/>
              <a:gd name="T32" fmla="*/ 94882 w 259"/>
              <a:gd name="T33" fmla="*/ 198127 h 256"/>
              <a:gd name="T34" fmla="*/ 81440 w 259"/>
              <a:gd name="T35" fmla="*/ 183158 h 256"/>
              <a:gd name="T36" fmla="*/ 40325 w 259"/>
              <a:gd name="T37" fmla="*/ 155860 h 256"/>
              <a:gd name="T38" fmla="*/ 0 w 259"/>
              <a:gd name="T39" fmla="*/ 140891 h 256"/>
              <a:gd name="T40" fmla="*/ 0 w 259"/>
              <a:gd name="T41" fmla="*/ 113593 h 256"/>
              <a:gd name="T42" fmla="*/ 40325 w 259"/>
              <a:gd name="T43" fmla="*/ 84534 h 256"/>
              <a:gd name="T44" fmla="*/ 54557 w 259"/>
              <a:gd name="T45" fmla="*/ 29059 h 256"/>
              <a:gd name="T46" fmla="*/ 81440 w 259"/>
              <a:gd name="T47" fmla="*/ 14089 h 256"/>
              <a:gd name="T48" fmla="*/ 81440 w 259"/>
              <a:gd name="T49" fmla="*/ 0 h 256"/>
              <a:gd name="T50" fmla="*/ 122556 w 259"/>
              <a:gd name="T51" fmla="*/ 14089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chemeClr val="bg1"/>
          </a:solidFill>
          <a:ln w="9525">
            <a:solidFill>
              <a:schemeClr val="bg2"/>
            </a:solidFill>
            <a:prstDash val="solid"/>
            <a:round/>
            <a:headEnd/>
            <a:tailEnd/>
          </a:ln>
        </p:spPr>
        <p:txBody>
          <a:bodyPr/>
          <a:lstStyle/>
          <a:p>
            <a:endParaRPr lang="en-US" dirty="0"/>
          </a:p>
        </p:txBody>
      </p:sp>
      <p:sp>
        <p:nvSpPr>
          <p:cNvPr id="18673" name="Freeform 240"/>
          <p:cNvSpPr>
            <a:spLocks noChangeAspect="1"/>
          </p:cNvSpPr>
          <p:nvPr/>
        </p:nvSpPr>
        <p:spPr bwMode="auto">
          <a:xfrm>
            <a:off x="5037138" y="3101975"/>
            <a:ext cx="30162" cy="44450"/>
          </a:xfrm>
          <a:custGeom>
            <a:avLst/>
            <a:gdLst>
              <a:gd name="T0" fmla="*/ 14243 w 36"/>
              <a:gd name="T1" fmla="*/ 44450 h 48"/>
              <a:gd name="T2" fmla="*/ 14243 w 36"/>
              <a:gd name="T3" fmla="*/ 44450 h 48"/>
              <a:gd name="T4" fmla="*/ 0 w 36"/>
              <a:gd name="T5" fmla="*/ 44450 h 48"/>
              <a:gd name="T6" fmla="*/ 14243 w 36"/>
              <a:gd name="T7" fmla="*/ 0 h 48"/>
              <a:gd name="T8" fmla="*/ 30162 w 36"/>
              <a:gd name="T9" fmla="*/ 14817 h 48"/>
              <a:gd name="T10" fmla="*/ 14243 w 36"/>
              <a:gd name="T11" fmla="*/ 44450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chemeClr val="bg1"/>
          </a:solidFill>
          <a:ln w="9525">
            <a:solidFill>
              <a:schemeClr val="bg2"/>
            </a:solidFill>
            <a:prstDash val="solid"/>
            <a:round/>
            <a:headEnd/>
            <a:tailEnd/>
          </a:ln>
        </p:spPr>
        <p:txBody>
          <a:bodyPr/>
          <a:lstStyle/>
          <a:p>
            <a:endParaRPr lang="en-US" dirty="0"/>
          </a:p>
        </p:txBody>
      </p:sp>
      <p:sp>
        <p:nvSpPr>
          <p:cNvPr id="18674" name="Freeform 241"/>
          <p:cNvSpPr>
            <a:spLocks noChangeAspect="1"/>
          </p:cNvSpPr>
          <p:nvPr/>
        </p:nvSpPr>
        <p:spPr bwMode="auto">
          <a:xfrm>
            <a:off x="5283200" y="3230563"/>
            <a:ext cx="41275" cy="26987"/>
          </a:xfrm>
          <a:custGeom>
            <a:avLst/>
            <a:gdLst>
              <a:gd name="T0" fmla="*/ 0 w 52"/>
              <a:gd name="T1" fmla="*/ 13085 h 33"/>
              <a:gd name="T2" fmla="*/ 0 w 52"/>
              <a:gd name="T3" fmla="*/ 13085 h 33"/>
              <a:gd name="T4" fmla="*/ 13494 w 52"/>
              <a:gd name="T5" fmla="*/ 0 h 33"/>
              <a:gd name="T6" fmla="*/ 41275 w 52"/>
              <a:gd name="T7" fmla="*/ 0 h 33"/>
              <a:gd name="T8" fmla="*/ 26988 w 52"/>
              <a:gd name="T9" fmla="*/ 13085 h 33"/>
              <a:gd name="T10" fmla="*/ 41275 w 52"/>
              <a:gd name="T11" fmla="*/ 26987 h 33"/>
              <a:gd name="T12" fmla="*/ 0 w 52"/>
              <a:gd name="T13" fmla="*/ 13085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chemeClr val="bg1"/>
          </a:solidFill>
          <a:ln w="9525">
            <a:solidFill>
              <a:schemeClr val="bg2"/>
            </a:solidFill>
            <a:prstDash val="solid"/>
            <a:round/>
            <a:headEnd/>
            <a:tailEnd/>
          </a:ln>
        </p:spPr>
        <p:txBody>
          <a:bodyPr/>
          <a:lstStyle/>
          <a:p>
            <a:endParaRPr lang="en-US" dirty="0"/>
          </a:p>
        </p:txBody>
      </p:sp>
      <p:sp>
        <p:nvSpPr>
          <p:cNvPr id="18675" name="Freeform 242"/>
          <p:cNvSpPr>
            <a:spLocks noChangeAspect="1"/>
          </p:cNvSpPr>
          <p:nvPr/>
        </p:nvSpPr>
        <p:spPr bwMode="auto">
          <a:xfrm>
            <a:off x="4781550" y="2397125"/>
            <a:ext cx="206375" cy="184150"/>
          </a:xfrm>
          <a:custGeom>
            <a:avLst/>
            <a:gdLst>
              <a:gd name="T0" fmla="*/ 192032 w 259"/>
              <a:gd name="T1" fmla="*/ 155955 h 209"/>
              <a:gd name="T2" fmla="*/ 192032 w 259"/>
              <a:gd name="T3" fmla="*/ 155955 h 209"/>
              <a:gd name="T4" fmla="*/ 178486 w 259"/>
              <a:gd name="T5" fmla="*/ 126878 h 209"/>
              <a:gd name="T6" fmla="*/ 178486 w 259"/>
              <a:gd name="T7" fmla="*/ 113662 h 209"/>
              <a:gd name="T8" fmla="*/ 192032 w 259"/>
              <a:gd name="T9" fmla="*/ 126878 h 209"/>
              <a:gd name="T10" fmla="*/ 206375 w 259"/>
              <a:gd name="T11" fmla="*/ 99564 h 209"/>
              <a:gd name="T12" fmla="*/ 192032 w 259"/>
              <a:gd name="T13" fmla="*/ 99564 h 209"/>
              <a:gd name="T14" fmla="*/ 164941 w 259"/>
              <a:gd name="T15" fmla="*/ 58153 h 209"/>
              <a:gd name="T16" fmla="*/ 164941 w 259"/>
              <a:gd name="T17" fmla="*/ 29076 h 209"/>
              <a:gd name="T18" fmla="*/ 151395 w 259"/>
              <a:gd name="T19" fmla="*/ 15860 h 209"/>
              <a:gd name="T20" fmla="*/ 109960 w 259"/>
              <a:gd name="T21" fmla="*/ 0 h 209"/>
              <a:gd name="T22" fmla="*/ 82072 w 259"/>
              <a:gd name="T23" fmla="*/ 29076 h 209"/>
              <a:gd name="T24" fmla="*/ 82072 w 259"/>
              <a:gd name="T25" fmla="*/ 42293 h 209"/>
              <a:gd name="T26" fmla="*/ 54980 w 259"/>
              <a:gd name="T27" fmla="*/ 58153 h 209"/>
              <a:gd name="T28" fmla="*/ 54980 w 259"/>
              <a:gd name="T29" fmla="*/ 84586 h 209"/>
              <a:gd name="T30" fmla="*/ 40638 w 259"/>
              <a:gd name="T31" fmla="*/ 84586 h 209"/>
              <a:gd name="T32" fmla="*/ 13546 w 259"/>
              <a:gd name="T33" fmla="*/ 99564 h 209"/>
              <a:gd name="T34" fmla="*/ 0 w 259"/>
              <a:gd name="T35" fmla="*/ 99564 h 209"/>
              <a:gd name="T36" fmla="*/ 13546 w 259"/>
              <a:gd name="T37" fmla="*/ 126878 h 209"/>
              <a:gd name="T38" fmla="*/ 0 w 259"/>
              <a:gd name="T39" fmla="*/ 155955 h 209"/>
              <a:gd name="T40" fmla="*/ 0 w 259"/>
              <a:gd name="T41" fmla="*/ 184150 h 209"/>
              <a:gd name="T42" fmla="*/ 27092 w 259"/>
              <a:gd name="T43" fmla="*/ 169171 h 209"/>
              <a:gd name="T44" fmla="*/ 54980 w 259"/>
              <a:gd name="T45" fmla="*/ 169171 h 209"/>
              <a:gd name="T46" fmla="*/ 96415 w 259"/>
              <a:gd name="T47" fmla="*/ 184150 h 209"/>
              <a:gd name="T48" fmla="*/ 109960 w 259"/>
              <a:gd name="T49" fmla="*/ 184150 h 209"/>
              <a:gd name="T50" fmla="*/ 123506 w 259"/>
              <a:gd name="T51" fmla="*/ 184150 h 209"/>
              <a:gd name="T52" fmla="*/ 137052 w 259"/>
              <a:gd name="T53" fmla="*/ 184150 h 209"/>
              <a:gd name="T54" fmla="*/ 164941 w 259"/>
              <a:gd name="T55" fmla="*/ 184150 h 209"/>
              <a:gd name="T56" fmla="*/ 178486 w 259"/>
              <a:gd name="T57" fmla="*/ 155955 h 209"/>
              <a:gd name="T58" fmla="*/ 192032 w 259"/>
              <a:gd name="T59" fmla="*/ 155955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chemeClr val="bg1"/>
          </a:solidFill>
          <a:ln w="9525">
            <a:solidFill>
              <a:schemeClr val="bg2"/>
            </a:solidFill>
            <a:round/>
            <a:headEnd/>
            <a:tailEnd/>
          </a:ln>
        </p:spPr>
        <p:txBody>
          <a:bodyPr/>
          <a:lstStyle/>
          <a:p>
            <a:endParaRPr lang="en-US" dirty="0"/>
          </a:p>
        </p:txBody>
      </p:sp>
      <p:sp>
        <p:nvSpPr>
          <p:cNvPr id="18676" name="Freeform 243"/>
          <p:cNvSpPr>
            <a:spLocks noChangeAspect="1"/>
          </p:cNvSpPr>
          <p:nvPr/>
        </p:nvSpPr>
        <p:spPr bwMode="auto">
          <a:xfrm>
            <a:off x="4751388" y="2552700"/>
            <a:ext cx="398462" cy="266700"/>
          </a:xfrm>
          <a:custGeom>
            <a:avLst/>
            <a:gdLst>
              <a:gd name="T0" fmla="*/ 165564 w 503"/>
              <a:gd name="T1" fmla="*/ 239414 h 303"/>
              <a:gd name="T2" fmla="*/ 165564 w 503"/>
              <a:gd name="T3" fmla="*/ 239414 h 303"/>
              <a:gd name="T4" fmla="*/ 137046 w 503"/>
              <a:gd name="T5" fmla="*/ 239414 h 303"/>
              <a:gd name="T6" fmla="*/ 137046 w 503"/>
              <a:gd name="T7" fmla="*/ 224450 h 303"/>
              <a:gd name="T8" fmla="*/ 152097 w 503"/>
              <a:gd name="T9" fmla="*/ 197164 h 303"/>
              <a:gd name="T10" fmla="*/ 179823 w 503"/>
              <a:gd name="T11" fmla="*/ 197164 h 303"/>
              <a:gd name="T12" fmla="*/ 179823 w 503"/>
              <a:gd name="T13" fmla="*/ 182201 h 303"/>
              <a:gd name="T14" fmla="*/ 165564 w 503"/>
              <a:gd name="T15" fmla="*/ 154915 h 303"/>
              <a:gd name="T16" fmla="*/ 165564 w 503"/>
              <a:gd name="T17" fmla="*/ 139951 h 303"/>
              <a:gd name="T18" fmla="*/ 123579 w 503"/>
              <a:gd name="T19" fmla="*/ 126749 h 303"/>
              <a:gd name="T20" fmla="*/ 95853 w 503"/>
              <a:gd name="T21" fmla="*/ 139951 h 303"/>
              <a:gd name="T22" fmla="*/ 68127 w 503"/>
              <a:gd name="T23" fmla="*/ 154915 h 303"/>
              <a:gd name="T24" fmla="*/ 54660 w 503"/>
              <a:gd name="T25" fmla="*/ 154915 h 303"/>
              <a:gd name="T26" fmla="*/ 13467 w 503"/>
              <a:gd name="T27" fmla="*/ 154915 h 303"/>
              <a:gd name="T28" fmla="*/ 0 w 503"/>
              <a:gd name="T29" fmla="*/ 139951 h 303"/>
              <a:gd name="T30" fmla="*/ 13467 w 503"/>
              <a:gd name="T31" fmla="*/ 112665 h 303"/>
              <a:gd name="T32" fmla="*/ 27726 w 503"/>
              <a:gd name="T33" fmla="*/ 84499 h 303"/>
              <a:gd name="T34" fmla="*/ 41193 w 503"/>
              <a:gd name="T35" fmla="*/ 70416 h 303"/>
              <a:gd name="T36" fmla="*/ 27726 w 503"/>
              <a:gd name="T37" fmla="*/ 28166 h 303"/>
              <a:gd name="T38" fmla="*/ 54660 w 503"/>
              <a:gd name="T39" fmla="*/ 13203 h 303"/>
              <a:gd name="T40" fmla="*/ 82386 w 503"/>
              <a:gd name="T41" fmla="*/ 13203 h 303"/>
              <a:gd name="T42" fmla="*/ 123579 w 503"/>
              <a:gd name="T43" fmla="*/ 28166 h 303"/>
              <a:gd name="T44" fmla="*/ 137046 w 503"/>
              <a:gd name="T45" fmla="*/ 28166 h 303"/>
              <a:gd name="T46" fmla="*/ 152097 w 503"/>
              <a:gd name="T47" fmla="*/ 28166 h 303"/>
              <a:gd name="T48" fmla="*/ 165564 w 503"/>
              <a:gd name="T49" fmla="*/ 28166 h 303"/>
              <a:gd name="T50" fmla="*/ 193290 w 503"/>
              <a:gd name="T51" fmla="*/ 28166 h 303"/>
              <a:gd name="T52" fmla="*/ 206757 w 503"/>
              <a:gd name="T53" fmla="*/ 0 h 303"/>
              <a:gd name="T54" fmla="*/ 220224 w 503"/>
              <a:gd name="T55" fmla="*/ 0 h 303"/>
              <a:gd name="T56" fmla="*/ 261416 w 503"/>
              <a:gd name="T57" fmla="*/ 0 h 303"/>
              <a:gd name="T58" fmla="*/ 275676 w 503"/>
              <a:gd name="T59" fmla="*/ 13203 h 303"/>
              <a:gd name="T60" fmla="*/ 261416 w 503"/>
              <a:gd name="T61" fmla="*/ 13203 h 303"/>
              <a:gd name="T62" fmla="*/ 275676 w 503"/>
              <a:gd name="T63" fmla="*/ 28166 h 303"/>
              <a:gd name="T64" fmla="*/ 289142 w 503"/>
              <a:gd name="T65" fmla="*/ 28166 h 303"/>
              <a:gd name="T66" fmla="*/ 302609 w 503"/>
              <a:gd name="T67" fmla="*/ 55452 h 303"/>
              <a:gd name="T68" fmla="*/ 316076 w 503"/>
              <a:gd name="T69" fmla="*/ 70416 h 303"/>
              <a:gd name="T70" fmla="*/ 330335 w 503"/>
              <a:gd name="T71" fmla="*/ 55452 h 303"/>
              <a:gd name="T72" fmla="*/ 398462 w 503"/>
              <a:gd name="T73" fmla="*/ 97702 h 303"/>
              <a:gd name="T74" fmla="*/ 384995 w 503"/>
              <a:gd name="T75" fmla="*/ 154915 h 303"/>
              <a:gd name="T76" fmla="*/ 370736 w 503"/>
              <a:gd name="T77" fmla="*/ 139951 h 303"/>
              <a:gd name="T78" fmla="*/ 357269 w 503"/>
              <a:gd name="T79" fmla="*/ 154915 h 303"/>
              <a:gd name="T80" fmla="*/ 357269 w 503"/>
              <a:gd name="T81" fmla="*/ 182201 h 303"/>
              <a:gd name="T82" fmla="*/ 343802 w 503"/>
              <a:gd name="T83" fmla="*/ 182201 h 303"/>
              <a:gd name="T84" fmla="*/ 275676 w 503"/>
              <a:gd name="T85" fmla="*/ 224450 h 303"/>
              <a:gd name="T86" fmla="*/ 302609 w 503"/>
              <a:gd name="T87" fmla="*/ 239414 h 303"/>
              <a:gd name="T88" fmla="*/ 316076 w 503"/>
              <a:gd name="T89" fmla="*/ 239414 h 303"/>
              <a:gd name="T90" fmla="*/ 302609 w 503"/>
              <a:gd name="T91" fmla="*/ 239414 h 303"/>
              <a:gd name="T92" fmla="*/ 261416 w 503"/>
              <a:gd name="T93" fmla="*/ 266700 h 303"/>
              <a:gd name="T94" fmla="*/ 247950 w 503"/>
              <a:gd name="T95" fmla="*/ 266700 h 303"/>
              <a:gd name="T96" fmla="*/ 247950 w 503"/>
              <a:gd name="T97" fmla="*/ 253497 h 303"/>
              <a:gd name="T98" fmla="*/ 234483 w 503"/>
              <a:gd name="T99" fmla="*/ 239414 h 303"/>
              <a:gd name="T100" fmla="*/ 261416 w 503"/>
              <a:gd name="T101" fmla="*/ 224450 h 303"/>
              <a:gd name="T102" fmla="*/ 220224 w 503"/>
              <a:gd name="T103" fmla="*/ 211247 h 303"/>
              <a:gd name="T104" fmla="*/ 220224 w 503"/>
              <a:gd name="T105" fmla="*/ 197164 h 303"/>
              <a:gd name="T106" fmla="*/ 193290 w 503"/>
              <a:gd name="T107" fmla="*/ 197164 h 303"/>
              <a:gd name="T108" fmla="*/ 179823 w 503"/>
              <a:gd name="T109" fmla="*/ 224450 h 303"/>
              <a:gd name="T110" fmla="*/ 165564 w 503"/>
              <a:gd name="T111" fmla="*/ 224450 h 303"/>
              <a:gd name="T112" fmla="*/ 165564 w 503"/>
              <a:gd name="T113" fmla="*/ 239414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chemeClr val="bg1"/>
          </a:solidFill>
          <a:ln w="9525">
            <a:solidFill>
              <a:schemeClr val="bg2"/>
            </a:solidFill>
            <a:round/>
            <a:headEnd/>
            <a:tailEnd/>
          </a:ln>
        </p:spPr>
        <p:txBody>
          <a:bodyPr/>
          <a:lstStyle/>
          <a:p>
            <a:endParaRPr lang="en-US" dirty="0"/>
          </a:p>
        </p:txBody>
      </p:sp>
      <p:sp>
        <p:nvSpPr>
          <p:cNvPr id="18677" name="Freeform 244"/>
          <p:cNvSpPr>
            <a:spLocks noChangeAspect="1"/>
          </p:cNvSpPr>
          <p:nvPr/>
        </p:nvSpPr>
        <p:spPr bwMode="auto">
          <a:xfrm>
            <a:off x="4741863" y="2327275"/>
            <a:ext cx="152400" cy="96838"/>
          </a:xfrm>
          <a:custGeom>
            <a:avLst/>
            <a:gdLst>
              <a:gd name="T0" fmla="*/ 68981 w 190"/>
              <a:gd name="T1" fmla="*/ 0 h 111"/>
              <a:gd name="T2" fmla="*/ 68981 w 190"/>
              <a:gd name="T3" fmla="*/ 0 h 111"/>
              <a:gd name="T4" fmla="*/ 68981 w 190"/>
              <a:gd name="T5" fmla="*/ 41876 h 111"/>
              <a:gd name="T6" fmla="*/ 55345 w 190"/>
              <a:gd name="T7" fmla="*/ 41876 h 111"/>
              <a:gd name="T8" fmla="*/ 41709 w 190"/>
              <a:gd name="T9" fmla="*/ 41876 h 111"/>
              <a:gd name="T10" fmla="*/ 27272 w 190"/>
              <a:gd name="T11" fmla="*/ 13086 h 111"/>
              <a:gd name="T12" fmla="*/ 13636 w 190"/>
              <a:gd name="T13" fmla="*/ 26172 h 111"/>
              <a:gd name="T14" fmla="*/ 0 w 190"/>
              <a:gd name="T15" fmla="*/ 54962 h 111"/>
              <a:gd name="T16" fmla="*/ 0 w 190"/>
              <a:gd name="T17" fmla="*/ 83752 h 111"/>
              <a:gd name="T18" fmla="*/ 13636 w 190"/>
              <a:gd name="T19" fmla="*/ 68048 h 111"/>
              <a:gd name="T20" fmla="*/ 68981 w 190"/>
              <a:gd name="T21" fmla="*/ 68048 h 111"/>
              <a:gd name="T22" fmla="*/ 82617 w 190"/>
              <a:gd name="T23" fmla="*/ 68048 h 111"/>
              <a:gd name="T24" fmla="*/ 124326 w 190"/>
              <a:gd name="T25" fmla="*/ 96838 h 111"/>
              <a:gd name="T26" fmla="*/ 152400 w 190"/>
              <a:gd name="T27" fmla="*/ 68048 h 111"/>
              <a:gd name="T28" fmla="*/ 138764 w 190"/>
              <a:gd name="T29" fmla="*/ 41876 h 111"/>
              <a:gd name="T30" fmla="*/ 138764 w 190"/>
              <a:gd name="T31" fmla="*/ 26172 h 111"/>
              <a:gd name="T32" fmla="*/ 138764 w 190"/>
              <a:gd name="T33" fmla="*/ 13086 h 111"/>
              <a:gd name="T34" fmla="*/ 110691 w 190"/>
              <a:gd name="T35" fmla="*/ 13086 h 111"/>
              <a:gd name="T36" fmla="*/ 82617 w 190"/>
              <a:gd name="T37" fmla="*/ 0 h 111"/>
              <a:gd name="T38" fmla="*/ 68981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chemeClr val="bg1"/>
          </a:solidFill>
          <a:ln w="9525">
            <a:solidFill>
              <a:schemeClr val="bg2"/>
            </a:solidFill>
            <a:round/>
            <a:headEnd/>
            <a:tailEnd/>
          </a:ln>
        </p:spPr>
        <p:txBody>
          <a:bodyPr/>
          <a:lstStyle/>
          <a:p>
            <a:endParaRPr lang="en-US" dirty="0"/>
          </a:p>
        </p:txBody>
      </p:sp>
      <p:sp>
        <p:nvSpPr>
          <p:cNvPr id="18678" name="Freeform 245"/>
          <p:cNvSpPr>
            <a:spLocks noChangeAspect="1"/>
          </p:cNvSpPr>
          <p:nvPr/>
        </p:nvSpPr>
        <p:spPr bwMode="auto">
          <a:xfrm>
            <a:off x="4740275" y="2397125"/>
            <a:ext cx="122238" cy="100013"/>
          </a:xfrm>
          <a:custGeom>
            <a:avLst/>
            <a:gdLst>
              <a:gd name="T0" fmla="*/ 0 w 155"/>
              <a:gd name="T1" fmla="*/ 42483 h 113"/>
              <a:gd name="T2" fmla="*/ 0 w 155"/>
              <a:gd name="T3" fmla="*/ 42483 h 113"/>
              <a:gd name="T4" fmla="*/ 0 w 155"/>
              <a:gd name="T5" fmla="*/ 29207 h 113"/>
              <a:gd name="T6" fmla="*/ 0 w 155"/>
              <a:gd name="T7" fmla="*/ 15931 h 113"/>
              <a:gd name="T8" fmla="*/ 13407 w 155"/>
              <a:gd name="T9" fmla="*/ 0 h 113"/>
              <a:gd name="T10" fmla="*/ 67822 w 155"/>
              <a:gd name="T11" fmla="*/ 0 h 113"/>
              <a:gd name="T12" fmla="*/ 81229 w 155"/>
              <a:gd name="T13" fmla="*/ 0 h 113"/>
              <a:gd name="T14" fmla="*/ 122238 w 155"/>
              <a:gd name="T15" fmla="*/ 29207 h 113"/>
              <a:gd name="T16" fmla="*/ 122238 w 155"/>
              <a:gd name="T17" fmla="*/ 42483 h 113"/>
              <a:gd name="T18" fmla="*/ 95424 w 155"/>
              <a:gd name="T19" fmla="*/ 58415 h 113"/>
              <a:gd name="T20" fmla="*/ 95424 w 155"/>
              <a:gd name="T21" fmla="*/ 84967 h 113"/>
              <a:gd name="T22" fmla="*/ 81229 w 155"/>
              <a:gd name="T23" fmla="*/ 84967 h 113"/>
              <a:gd name="T24" fmla="*/ 54416 w 155"/>
              <a:gd name="T25" fmla="*/ 100013 h 113"/>
              <a:gd name="T26" fmla="*/ 41009 w 155"/>
              <a:gd name="T27" fmla="*/ 100013 h 113"/>
              <a:gd name="T28" fmla="*/ 26813 w 155"/>
              <a:gd name="T29" fmla="*/ 84967 h 113"/>
              <a:gd name="T30" fmla="*/ 26813 w 155"/>
              <a:gd name="T31" fmla="*/ 42483 h 113"/>
              <a:gd name="T32" fmla="*/ 0 w 155"/>
              <a:gd name="T33" fmla="*/ 42483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chemeClr val="bg1"/>
          </a:solidFill>
          <a:ln w="9525">
            <a:solidFill>
              <a:schemeClr val="bg2"/>
            </a:solidFill>
            <a:round/>
            <a:headEnd/>
            <a:tailEnd/>
          </a:ln>
        </p:spPr>
        <p:txBody>
          <a:bodyPr/>
          <a:lstStyle/>
          <a:p>
            <a:endParaRPr lang="en-US" dirty="0"/>
          </a:p>
        </p:txBody>
      </p:sp>
      <p:sp>
        <p:nvSpPr>
          <p:cNvPr id="18679" name="Freeform 246"/>
          <p:cNvSpPr>
            <a:spLocks noChangeAspect="1"/>
          </p:cNvSpPr>
          <p:nvPr/>
        </p:nvSpPr>
        <p:spPr bwMode="auto">
          <a:xfrm>
            <a:off x="4795838" y="2270125"/>
            <a:ext cx="98425" cy="69850"/>
          </a:xfrm>
          <a:custGeom>
            <a:avLst/>
            <a:gdLst>
              <a:gd name="T0" fmla="*/ 13828 w 121"/>
              <a:gd name="T1" fmla="*/ 56915 h 81"/>
              <a:gd name="T2" fmla="*/ 13828 w 121"/>
              <a:gd name="T3" fmla="*/ 56915 h 81"/>
              <a:gd name="T4" fmla="*/ 0 w 121"/>
              <a:gd name="T5" fmla="*/ 41393 h 81"/>
              <a:gd name="T6" fmla="*/ 0 w 121"/>
              <a:gd name="T7" fmla="*/ 15522 h 81"/>
              <a:gd name="T8" fmla="*/ 13828 w 121"/>
              <a:gd name="T9" fmla="*/ 0 h 81"/>
              <a:gd name="T10" fmla="*/ 42298 w 121"/>
              <a:gd name="T11" fmla="*/ 0 h 81"/>
              <a:gd name="T12" fmla="*/ 98425 w 121"/>
              <a:gd name="T13" fmla="*/ 0 h 81"/>
              <a:gd name="T14" fmla="*/ 84597 w 121"/>
              <a:gd name="T15" fmla="*/ 15522 h 81"/>
              <a:gd name="T16" fmla="*/ 69955 w 121"/>
              <a:gd name="T17" fmla="*/ 15522 h 81"/>
              <a:gd name="T18" fmla="*/ 84597 w 121"/>
              <a:gd name="T19" fmla="*/ 56915 h 81"/>
              <a:gd name="T20" fmla="*/ 84597 w 121"/>
              <a:gd name="T21" fmla="*/ 69850 h 81"/>
              <a:gd name="T22" fmla="*/ 56127 w 121"/>
              <a:gd name="T23" fmla="*/ 69850 h 81"/>
              <a:gd name="T24" fmla="*/ 27657 w 121"/>
              <a:gd name="T25" fmla="*/ 56915 h 81"/>
              <a:gd name="T26" fmla="*/ 13828 w 121"/>
              <a:gd name="T27" fmla="*/ 56915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chemeClr val="bg1"/>
          </a:solidFill>
          <a:ln w="9525">
            <a:solidFill>
              <a:schemeClr val="bg2"/>
            </a:solidFill>
            <a:round/>
            <a:headEnd/>
            <a:tailEnd/>
          </a:ln>
        </p:spPr>
        <p:txBody>
          <a:bodyPr/>
          <a:lstStyle/>
          <a:p>
            <a:endParaRPr lang="en-US" dirty="0"/>
          </a:p>
        </p:txBody>
      </p:sp>
      <p:sp>
        <p:nvSpPr>
          <p:cNvPr id="18680" name="Freeform 247"/>
          <p:cNvSpPr>
            <a:spLocks noChangeAspect="1"/>
          </p:cNvSpPr>
          <p:nvPr/>
        </p:nvSpPr>
        <p:spPr bwMode="auto">
          <a:xfrm>
            <a:off x="4845050" y="2678113"/>
            <a:ext cx="84138" cy="100012"/>
          </a:xfrm>
          <a:custGeom>
            <a:avLst/>
            <a:gdLst>
              <a:gd name="T0" fmla="*/ 0 w 104"/>
              <a:gd name="T1" fmla="*/ 13515 h 111"/>
              <a:gd name="T2" fmla="*/ 0 w 104"/>
              <a:gd name="T3" fmla="*/ 13515 h 111"/>
              <a:gd name="T4" fmla="*/ 13753 w 104"/>
              <a:gd name="T5" fmla="*/ 13515 h 111"/>
              <a:gd name="T6" fmla="*/ 42069 w 104"/>
              <a:gd name="T7" fmla="*/ 56764 h 111"/>
              <a:gd name="T8" fmla="*/ 42069 w 104"/>
              <a:gd name="T9" fmla="*/ 100012 h 111"/>
              <a:gd name="T10" fmla="*/ 55822 w 104"/>
              <a:gd name="T11" fmla="*/ 72081 h 111"/>
              <a:gd name="T12" fmla="*/ 84138 w 104"/>
              <a:gd name="T13" fmla="*/ 72081 h 111"/>
              <a:gd name="T14" fmla="*/ 84138 w 104"/>
              <a:gd name="T15" fmla="*/ 56764 h 111"/>
              <a:gd name="T16" fmla="*/ 69576 w 104"/>
              <a:gd name="T17" fmla="*/ 28832 h 111"/>
              <a:gd name="T18" fmla="*/ 69576 w 104"/>
              <a:gd name="T19" fmla="*/ 13515 h 111"/>
              <a:gd name="T20" fmla="*/ 28316 w 104"/>
              <a:gd name="T21" fmla="*/ 0 h 111"/>
              <a:gd name="T22" fmla="*/ 0 w 104"/>
              <a:gd name="T23" fmla="*/ 13515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chemeClr val="bg1"/>
          </a:solidFill>
          <a:ln w="9525">
            <a:solidFill>
              <a:schemeClr val="bg2"/>
            </a:solidFill>
            <a:round/>
            <a:headEnd/>
            <a:tailEnd/>
          </a:ln>
        </p:spPr>
        <p:txBody>
          <a:bodyPr/>
          <a:lstStyle/>
          <a:p>
            <a:endParaRPr lang="en-US" dirty="0"/>
          </a:p>
        </p:txBody>
      </p:sp>
      <p:sp>
        <p:nvSpPr>
          <p:cNvPr id="18681" name="Freeform 248"/>
          <p:cNvSpPr>
            <a:spLocks noChangeAspect="1"/>
          </p:cNvSpPr>
          <p:nvPr/>
        </p:nvSpPr>
        <p:spPr bwMode="auto">
          <a:xfrm>
            <a:off x="4710113" y="2693988"/>
            <a:ext cx="204787" cy="155575"/>
          </a:xfrm>
          <a:custGeom>
            <a:avLst/>
            <a:gdLst>
              <a:gd name="T0" fmla="*/ 27462 w 261"/>
              <a:gd name="T1" fmla="*/ 113385 h 177"/>
              <a:gd name="T2" fmla="*/ 27462 w 261"/>
              <a:gd name="T3" fmla="*/ 113385 h 177"/>
              <a:gd name="T4" fmla="*/ 54139 w 261"/>
              <a:gd name="T5" fmla="*/ 113385 h 177"/>
              <a:gd name="T6" fmla="*/ 54139 w 261"/>
              <a:gd name="T7" fmla="*/ 126570 h 177"/>
              <a:gd name="T8" fmla="*/ 68262 w 261"/>
              <a:gd name="T9" fmla="*/ 141512 h 177"/>
              <a:gd name="T10" fmla="*/ 81601 w 261"/>
              <a:gd name="T11" fmla="*/ 141512 h 177"/>
              <a:gd name="T12" fmla="*/ 122401 w 261"/>
              <a:gd name="T13" fmla="*/ 155575 h 177"/>
              <a:gd name="T14" fmla="*/ 149079 w 261"/>
              <a:gd name="T15" fmla="*/ 126570 h 177"/>
              <a:gd name="T16" fmla="*/ 191448 w 261"/>
              <a:gd name="T17" fmla="*/ 141512 h 177"/>
              <a:gd name="T18" fmla="*/ 191448 w 261"/>
              <a:gd name="T19" fmla="*/ 126570 h 177"/>
              <a:gd name="T20" fmla="*/ 204787 w 261"/>
              <a:gd name="T21" fmla="*/ 113385 h 177"/>
              <a:gd name="T22" fmla="*/ 204787 w 261"/>
              <a:gd name="T23" fmla="*/ 99322 h 177"/>
              <a:gd name="T24" fmla="*/ 178110 w 261"/>
              <a:gd name="T25" fmla="*/ 99322 h 177"/>
              <a:gd name="T26" fmla="*/ 178110 w 261"/>
              <a:gd name="T27" fmla="*/ 84380 h 177"/>
              <a:gd name="T28" fmla="*/ 178110 w 261"/>
              <a:gd name="T29" fmla="*/ 42190 h 177"/>
              <a:gd name="T30" fmla="*/ 149079 w 261"/>
              <a:gd name="T31" fmla="*/ 0 h 177"/>
              <a:gd name="T32" fmla="*/ 135740 w 261"/>
              <a:gd name="T33" fmla="*/ 0 h 177"/>
              <a:gd name="T34" fmla="*/ 109063 w 261"/>
              <a:gd name="T35" fmla="*/ 14942 h 177"/>
              <a:gd name="T36" fmla="*/ 94940 w 261"/>
              <a:gd name="T37" fmla="*/ 14942 h 177"/>
              <a:gd name="T38" fmla="*/ 54139 w 261"/>
              <a:gd name="T39" fmla="*/ 14942 h 177"/>
              <a:gd name="T40" fmla="*/ 40800 w 261"/>
              <a:gd name="T41" fmla="*/ 14942 h 177"/>
              <a:gd name="T42" fmla="*/ 27462 w 261"/>
              <a:gd name="T43" fmla="*/ 71195 h 177"/>
              <a:gd name="T44" fmla="*/ 0 w 261"/>
              <a:gd name="T45" fmla="*/ 71195 h 177"/>
              <a:gd name="T46" fmla="*/ 27462 w 261"/>
              <a:gd name="T47" fmla="*/ 113385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chemeClr val="bg1"/>
          </a:solidFill>
          <a:ln w="9525">
            <a:solidFill>
              <a:schemeClr val="bg2"/>
            </a:solidFill>
            <a:round/>
            <a:headEnd/>
            <a:tailEnd/>
          </a:ln>
        </p:spPr>
        <p:txBody>
          <a:bodyPr/>
          <a:lstStyle/>
          <a:p>
            <a:endParaRPr lang="en-US" dirty="0"/>
          </a:p>
        </p:txBody>
      </p:sp>
      <p:sp>
        <p:nvSpPr>
          <p:cNvPr id="18682" name="Freeform 249"/>
          <p:cNvSpPr>
            <a:spLocks noChangeAspect="1"/>
          </p:cNvSpPr>
          <p:nvPr/>
        </p:nvSpPr>
        <p:spPr bwMode="auto">
          <a:xfrm>
            <a:off x="4710113" y="2906713"/>
            <a:ext cx="134937" cy="111125"/>
          </a:xfrm>
          <a:custGeom>
            <a:avLst/>
            <a:gdLst>
              <a:gd name="T0" fmla="*/ 26987 w 175"/>
              <a:gd name="T1" fmla="*/ 14759 h 128"/>
              <a:gd name="T2" fmla="*/ 26987 w 175"/>
              <a:gd name="T3" fmla="*/ 14759 h 128"/>
              <a:gd name="T4" fmla="*/ 68625 w 175"/>
              <a:gd name="T5" fmla="*/ 0 h 128"/>
              <a:gd name="T6" fmla="*/ 94841 w 175"/>
              <a:gd name="T7" fmla="*/ 0 h 128"/>
              <a:gd name="T8" fmla="*/ 121829 w 175"/>
              <a:gd name="T9" fmla="*/ 14759 h 128"/>
              <a:gd name="T10" fmla="*/ 134937 w 175"/>
              <a:gd name="T11" fmla="*/ 0 h 128"/>
              <a:gd name="T12" fmla="*/ 121829 w 175"/>
              <a:gd name="T13" fmla="*/ 28649 h 128"/>
              <a:gd name="T14" fmla="*/ 94841 w 175"/>
              <a:gd name="T15" fmla="*/ 14759 h 128"/>
              <a:gd name="T16" fmla="*/ 81733 w 175"/>
              <a:gd name="T17" fmla="*/ 28649 h 128"/>
              <a:gd name="T18" fmla="*/ 81733 w 175"/>
              <a:gd name="T19" fmla="*/ 41672 h 128"/>
              <a:gd name="T20" fmla="*/ 68625 w 175"/>
              <a:gd name="T21" fmla="*/ 41672 h 128"/>
              <a:gd name="T22" fmla="*/ 53204 w 175"/>
              <a:gd name="T23" fmla="*/ 28649 h 128"/>
              <a:gd name="T24" fmla="*/ 53204 w 175"/>
              <a:gd name="T25" fmla="*/ 41672 h 128"/>
              <a:gd name="T26" fmla="*/ 68625 w 175"/>
              <a:gd name="T27" fmla="*/ 70321 h 128"/>
              <a:gd name="T28" fmla="*/ 94841 w 175"/>
              <a:gd name="T29" fmla="*/ 98103 h 128"/>
              <a:gd name="T30" fmla="*/ 81733 w 175"/>
              <a:gd name="T31" fmla="*/ 98103 h 128"/>
              <a:gd name="T32" fmla="*/ 81733 w 175"/>
              <a:gd name="T33" fmla="*/ 111125 h 128"/>
              <a:gd name="T34" fmla="*/ 53204 w 175"/>
              <a:gd name="T35" fmla="*/ 98103 h 128"/>
              <a:gd name="T36" fmla="*/ 26987 w 175"/>
              <a:gd name="T37" fmla="*/ 98103 h 128"/>
              <a:gd name="T38" fmla="*/ 0 w 175"/>
              <a:gd name="T39" fmla="*/ 56431 h 128"/>
              <a:gd name="T40" fmla="*/ 26987 w 175"/>
              <a:gd name="T41" fmla="*/ 28649 h 128"/>
              <a:gd name="T42" fmla="*/ 26987 w 175"/>
              <a:gd name="T43" fmla="*/ 14759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chemeClr val="bg1"/>
          </a:solidFill>
          <a:ln w="9525">
            <a:solidFill>
              <a:schemeClr val="bg2"/>
            </a:solidFill>
            <a:prstDash val="solid"/>
            <a:round/>
            <a:headEnd/>
            <a:tailEnd/>
          </a:ln>
        </p:spPr>
        <p:txBody>
          <a:bodyPr/>
          <a:lstStyle/>
          <a:p>
            <a:endParaRPr lang="en-US" dirty="0"/>
          </a:p>
        </p:txBody>
      </p:sp>
      <p:sp>
        <p:nvSpPr>
          <p:cNvPr id="18683" name="Freeform 250"/>
          <p:cNvSpPr>
            <a:spLocks noChangeAspect="1"/>
          </p:cNvSpPr>
          <p:nvPr/>
        </p:nvSpPr>
        <p:spPr bwMode="auto">
          <a:xfrm>
            <a:off x="4764088" y="2819400"/>
            <a:ext cx="136525" cy="101600"/>
          </a:xfrm>
          <a:custGeom>
            <a:avLst/>
            <a:gdLst>
              <a:gd name="T0" fmla="*/ 136525 w 173"/>
              <a:gd name="T1" fmla="*/ 15285 h 113"/>
              <a:gd name="T2" fmla="*/ 136525 w 173"/>
              <a:gd name="T3" fmla="*/ 15285 h 113"/>
              <a:gd name="T4" fmla="*/ 136525 w 173"/>
              <a:gd name="T5" fmla="*/ 29671 h 113"/>
              <a:gd name="T6" fmla="*/ 123109 w 173"/>
              <a:gd name="T7" fmla="*/ 29671 h 113"/>
              <a:gd name="T8" fmla="*/ 109694 w 173"/>
              <a:gd name="T9" fmla="*/ 58442 h 113"/>
              <a:gd name="T10" fmla="*/ 123109 w 173"/>
              <a:gd name="T11" fmla="*/ 72828 h 113"/>
              <a:gd name="T12" fmla="*/ 95489 w 173"/>
              <a:gd name="T13" fmla="*/ 72828 h 113"/>
              <a:gd name="T14" fmla="*/ 82073 w 173"/>
              <a:gd name="T15" fmla="*/ 86315 h 113"/>
              <a:gd name="T16" fmla="*/ 68657 w 173"/>
              <a:gd name="T17" fmla="*/ 101600 h 113"/>
              <a:gd name="T18" fmla="*/ 41036 w 173"/>
              <a:gd name="T19" fmla="*/ 86315 h 113"/>
              <a:gd name="T20" fmla="*/ 14205 w 173"/>
              <a:gd name="T21" fmla="*/ 86315 h 113"/>
              <a:gd name="T22" fmla="*/ 14205 w 173"/>
              <a:gd name="T23" fmla="*/ 72828 h 113"/>
              <a:gd name="T24" fmla="*/ 0 w 173"/>
              <a:gd name="T25" fmla="*/ 58442 h 113"/>
              <a:gd name="T26" fmla="*/ 14205 w 173"/>
              <a:gd name="T27" fmla="*/ 43158 h 113"/>
              <a:gd name="T28" fmla="*/ 0 w 173"/>
              <a:gd name="T29" fmla="*/ 15285 h 113"/>
              <a:gd name="T30" fmla="*/ 0 w 173"/>
              <a:gd name="T31" fmla="*/ 0 h 113"/>
              <a:gd name="T32" fmla="*/ 14205 w 173"/>
              <a:gd name="T33" fmla="*/ 15285 h 113"/>
              <a:gd name="T34" fmla="*/ 27621 w 173"/>
              <a:gd name="T35" fmla="*/ 15285 h 113"/>
              <a:gd name="T36" fmla="*/ 68657 w 173"/>
              <a:gd name="T37" fmla="*/ 29671 h 113"/>
              <a:gd name="T38" fmla="*/ 95489 w 173"/>
              <a:gd name="T39" fmla="*/ 0 h 113"/>
              <a:gd name="T40" fmla="*/ 136525 w 173"/>
              <a:gd name="T41" fmla="*/ 15285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chemeClr val="bg1"/>
          </a:solidFill>
          <a:ln w="9525">
            <a:solidFill>
              <a:schemeClr val="bg2"/>
            </a:solidFill>
            <a:round/>
            <a:headEnd/>
            <a:tailEnd/>
          </a:ln>
        </p:spPr>
        <p:txBody>
          <a:bodyPr/>
          <a:lstStyle/>
          <a:p>
            <a:endParaRPr lang="en-US" dirty="0"/>
          </a:p>
        </p:txBody>
      </p:sp>
      <p:sp>
        <p:nvSpPr>
          <p:cNvPr id="18684" name="Freeform 251"/>
          <p:cNvSpPr>
            <a:spLocks noChangeAspect="1"/>
          </p:cNvSpPr>
          <p:nvPr/>
        </p:nvSpPr>
        <p:spPr bwMode="auto">
          <a:xfrm>
            <a:off x="4586288" y="2454275"/>
            <a:ext cx="206375" cy="212725"/>
          </a:xfrm>
          <a:custGeom>
            <a:avLst/>
            <a:gdLst>
              <a:gd name="T0" fmla="*/ 178486 w 259"/>
              <a:gd name="T1" fmla="*/ 212725 h 239"/>
              <a:gd name="T2" fmla="*/ 178486 w 259"/>
              <a:gd name="T3" fmla="*/ 212725 h 239"/>
              <a:gd name="T4" fmla="*/ 192829 w 259"/>
              <a:gd name="T5" fmla="*/ 184243 h 239"/>
              <a:gd name="T6" fmla="*/ 206375 w 259"/>
              <a:gd name="T7" fmla="*/ 170002 h 239"/>
              <a:gd name="T8" fmla="*/ 192829 w 259"/>
              <a:gd name="T9" fmla="*/ 127279 h 239"/>
              <a:gd name="T10" fmla="*/ 192829 w 259"/>
              <a:gd name="T11" fmla="*/ 98797 h 239"/>
              <a:gd name="T12" fmla="*/ 206375 w 259"/>
              <a:gd name="T13" fmla="*/ 69425 h 239"/>
              <a:gd name="T14" fmla="*/ 192829 w 259"/>
              <a:gd name="T15" fmla="*/ 41833 h 239"/>
              <a:gd name="T16" fmla="*/ 178486 w 259"/>
              <a:gd name="T17" fmla="*/ 26702 h 239"/>
              <a:gd name="T18" fmla="*/ 151395 w 259"/>
              <a:gd name="T19" fmla="*/ 26702 h 239"/>
              <a:gd name="T20" fmla="*/ 109960 w 259"/>
              <a:gd name="T21" fmla="*/ 13351 h 239"/>
              <a:gd name="T22" fmla="*/ 109960 w 259"/>
              <a:gd name="T23" fmla="*/ 26702 h 239"/>
              <a:gd name="T24" fmla="*/ 96415 w 259"/>
              <a:gd name="T25" fmla="*/ 26702 h 239"/>
              <a:gd name="T26" fmla="*/ 82072 w 259"/>
              <a:gd name="T27" fmla="*/ 0 h 239"/>
              <a:gd name="T28" fmla="*/ 0 w 259"/>
              <a:gd name="T29" fmla="*/ 41833 h 239"/>
              <a:gd name="T30" fmla="*/ 13546 w 259"/>
              <a:gd name="T31" fmla="*/ 154871 h 239"/>
              <a:gd name="T32" fmla="*/ 13546 w 259"/>
              <a:gd name="T33" fmla="*/ 141520 h 239"/>
              <a:gd name="T34" fmla="*/ 27092 w 259"/>
              <a:gd name="T35" fmla="*/ 154871 h 239"/>
              <a:gd name="T36" fmla="*/ 54980 w 259"/>
              <a:gd name="T37" fmla="*/ 170002 h 239"/>
              <a:gd name="T38" fmla="*/ 68526 w 259"/>
              <a:gd name="T39" fmla="*/ 170002 h 239"/>
              <a:gd name="T40" fmla="*/ 96415 w 259"/>
              <a:gd name="T41" fmla="*/ 197594 h 239"/>
              <a:gd name="T42" fmla="*/ 109960 w 259"/>
              <a:gd name="T43" fmla="*/ 197594 h 239"/>
              <a:gd name="T44" fmla="*/ 123506 w 259"/>
              <a:gd name="T45" fmla="*/ 212725 h 239"/>
              <a:gd name="T46" fmla="*/ 151395 w 259"/>
              <a:gd name="T47" fmla="*/ 197594 h 239"/>
              <a:gd name="T48" fmla="*/ 178486 w 259"/>
              <a:gd name="T49" fmla="*/ 212725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chemeClr val="bg1"/>
          </a:solidFill>
          <a:ln w="9525">
            <a:solidFill>
              <a:schemeClr val="bg2"/>
            </a:solidFill>
            <a:round/>
            <a:headEnd/>
            <a:tailEnd/>
          </a:ln>
        </p:spPr>
        <p:txBody>
          <a:bodyPr/>
          <a:lstStyle/>
          <a:p>
            <a:endParaRPr lang="en-US" dirty="0"/>
          </a:p>
        </p:txBody>
      </p:sp>
      <p:sp>
        <p:nvSpPr>
          <p:cNvPr id="18685" name="Freeform 252"/>
          <p:cNvSpPr>
            <a:spLocks noChangeAspect="1"/>
          </p:cNvSpPr>
          <p:nvPr/>
        </p:nvSpPr>
        <p:spPr bwMode="auto">
          <a:xfrm>
            <a:off x="4695825" y="2878138"/>
            <a:ext cx="41275" cy="84137"/>
          </a:xfrm>
          <a:custGeom>
            <a:avLst/>
            <a:gdLst>
              <a:gd name="T0" fmla="*/ 0 w 52"/>
              <a:gd name="T1" fmla="*/ 0 h 96"/>
              <a:gd name="T2" fmla="*/ 0 w 52"/>
              <a:gd name="T3" fmla="*/ 0 h 96"/>
              <a:gd name="T4" fmla="*/ 13494 w 52"/>
              <a:gd name="T5" fmla="*/ 0 h 96"/>
              <a:gd name="T6" fmla="*/ 26988 w 52"/>
              <a:gd name="T7" fmla="*/ 14023 h 96"/>
              <a:gd name="T8" fmla="*/ 26988 w 52"/>
              <a:gd name="T9" fmla="*/ 27169 h 96"/>
              <a:gd name="T10" fmla="*/ 41275 w 52"/>
              <a:gd name="T11" fmla="*/ 42069 h 96"/>
              <a:gd name="T12" fmla="*/ 41275 w 52"/>
              <a:gd name="T13" fmla="*/ 56091 h 96"/>
              <a:gd name="T14" fmla="*/ 13494 w 52"/>
              <a:gd name="T15" fmla="*/ 84137 h 96"/>
              <a:gd name="T16" fmla="*/ 0 w 52"/>
              <a:gd name="T17" fmla="*/ 69238 h 96"/>
              <a:gd name="T18" fmla="*/ 0 w 52"/>
              <a:gd name="T19" fmla="*/ 27169 h 96"/>
              <a:gd name="T20" fmla="*/ 0 w 52"/>
              <a:gd name="T21" fmla="*/ 14023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chemeClr val="bg1"/>
          </a:solidFill>
          <a:ln w="9525">
            <a:solidFill>
              <a:schemeClr val="bg2"/>
            </a:solidFill>
            <a:round/>
            <a:headEnd/>
            <a:tailEnd/>
          </a:ln>
        </p:spPr>
        <p:txBody>
          <a:bodyPr/>
          <a:lstStyle/>
          <a:p>
            <a:endParaRPr lang="en-US" dirty="0"/>
          </a:p>
        </p:txBody>
      </p:sp>
      <p:sp>
        <p:nvSpPr>
          <p:cNvPr id="18686" name="Freeform 253"/>
          <p:cNvSpPr>
            <a:spLocks noChangeAspect="1"/>
          </p:cNvSpPr>
          <p:nvPr/>
        </p:nvSpPr>
        <p:spPr bwMode="auto">
          <a:xfrm>
            <a:off x="4629150" y="2678113"/>
            <a:ext cx="134938" cy="100012"/>
          </a:xfrm>
          <a:custGeom>
            <a:avLst/>
            <a:gdLst>
              <a:gd name="T0" fmla="*/ 53510 w 174"/>
              <a:gd name="T1" fmla="*/ 100012 h 111"/>
              <a:gd name="T2" fmla="*/ 53510 w 174"/>
              <a:gd name="T3" fmla="*/ 100012 h 111"/>
              <a:gd name="T4" fmla="*/ 79877 w 174"/>
              <a:gd name="T5" fmla="*/ 86497 h 111"/>
              <a:gd name="T6" fmla="*/ 108571 w 174"/>
              <a:gd name="T7" fmla="*/ 86497 h 111"/>
              <a:gd name="T8" fmla="*/ 121754 w 174"/>
              <a:gd name="T9" fmla="*/ 28832 h 111"/>
              <a:gd name="T10" fmla="*/ 134938 w 174"/>
              <a:gd name="T11" fmla="*/ 28832 h 111"/>
              <a:gd name="T12" fmla="*/ 121754 w 174"/>
              <a:gd name="T13" fmla="*/ 13515 h 111"/>
              <a:gd name="T14" fmla="*/ 93836 w 174"/>
              <a:gd name="T15" fmla="*/ 0 h 111"/>
              <a:gd name="T16" fmla="*/ 39551 w 174"/>
              <a:gd name="T17" fmla="*/ 28832 h 111"/>
              <a:gd name="T18" fmla="*/ 13184 w 174"/>
              <a:gd name="T19" fmla="*/ 28832 h 111"/>
              <a:gd name="T20" fmla="*/ 0 w 174"/>
              <a:gd name="T21" fmla="*/ 56764 h 111"/>
              <a:gd name="T22" fmla="*/ 0 w 174"/>
              <a:gd name="T23" fmla="*/ 72081 h 111"/>
              <a:gd name="T24" fmla="*/ 39551 w 174"/>
              <a:gd name="T25" fmla="*/ 100012 h 111"/>
              <a:gd name="T26" fmla="*/ 53510 w 174"/>
              <a:gd name="T27" fmla="*/ 100012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chemeClr val="bg1"/>
          </a:solidFill>
          <a:ln w="9525">
            <a:solidFill>
              <a:schemeClr val="bg2"/>
            </a:solidFill>
            <a:round/>
            <a:headEnd/>
            <a:tailEnd/>
          </a:ln>
        </p:spPr>
        <p:txBody>
          <a:bodyPr/>
          <a:lstStyle/>
          <a:p>
            <a:endParaRPr lang="en-US" dirty="0"/>
          </a:p>
        </p:txBody>
      </p:sp>
      <p:sp>
        <p:nvSpPr>
          <p:cNvPr id="18687" name="Freeform 254"/>
          <p:cNvSpPr>
            <a:spLocks noChangeAspect="1"/>
          </p:cNvSpPr>
          <p:nvPr/>
        </p:nvSpPr>
        <p:spPr bwMode="auto">
          <a:xfrm>
            <a:off x="4614863" y="2778125"/>
            <a:ext cx="80962" cy="84138"/>
          </a:xfrm>
          <a:custGeom>
            <a:avLst/>
            <a:gdLst>
              <a:gd name="T0" fmla="*/ 67728 w 104"/>
              <a:gd name="T1" fmla="*/ 84138 h 96"/>
              <a:gd name="T2" fmla="*/ 67728 w 104"/>
              <a:gd name="T3" fmla="*/ 84138 h 96"/>
              <a:gd name="T4" fmla="*/ 53715 w 104"/>
              <a:gd name="T5" fmla="*/ 84138 h 96"/>
              <a:gd name="T6" fmla="*/ 67728 w 104"/>
              <a:gd name="T7" fmla="*/ 70991 h 96"/>
              <a:gd name="T8" fmla="*/ 80962 w 104"/>
              <a:gd name="T9" fmla="*/ 70991 h 96"/>
              <a:gd name="T10" fmla="*/ 80962 w 104"/>
              <a:gd name="T11" fmla="*/ 56968 h 96"/>
              <a:gd name="T12" fmla="*/ 80962 w 104"/>
              <a:gd name="T13" fmla="*/ 42069 h 96"/>
              <a:gd name="T14" fmla="*/ 80962 w 104"/>
              <a:gd name="T15" fmla="*/ 28922 h 96"/>
              <a:gd name="T16" fmla="*/ 67728 w 104"/>
              <a:gd name="T17" fmla="*/ 28922 h 96"/>
              <a:gd name="T18" fmla="*/ 67728 w 104"/>
              <a:gd name="T19" fmla="*/ 14899 h 96"/>
              <a:gd name="T20" fmla="*/ 27247 w 104"/>
              <a:gd name="T21" fmla="*/ 0 h 96"/>
              <a:gd name="T22" fmla="*/ 14013 w 104"/>
              <a:gd name="T23" fmla="*/ 14899 h 96"/>
              <a:gd name="T24" fmla="*/ 14013 w 104"/>
              <a:gd name="T25" fmla="*/ 0 h 96"/>
              <a:gd name="T26" fmla="*/ 0 w 104"/>
              <a:gd name="T27" fmla="*/ 14899 h 96"/>
              <a:gd name="T28" fmla="*/ 14013 w 104"/>
              <a:gd name="T29" fmla="*/ 28922 h 96"/>
              <a:gd name="T30" fmla="*/ 40481 w 104"/>
              <a:gd name="T31" fmla="*/ 70991 h 96"/>
              <a:gd name="T32" fmla="*/ 67728 w 104"/>
              <a:gd name="T33" fmla="*/ 84138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chemeClr val="bg1"/>
          </a:solidFill>
          <a:ln w="9525">
            <a:solidFill>
              <a:schemeClr val="bg2"/>
            </a:solidFill>
            <a:round/>
            <a:headEnd/>
            <a:tailEnd/>
          </a:ln>
        </p:spPr>
        <p:txBody>
          <a:bodyPr/>
          <a:lstStyle/>
          <a:p>
            <a:endParaRPr lang="en-US" dirty="0"/>
          </a:p>
        </p:txBody>
      </p:sp>
      <p:sp>
        <p:nvSpPr>
          <p:cNvPr id="18688" name="Freeform 255"/>
          <p:cNvSpPr>
            <a:spLocks noChangeAspect="1"/>
          </p:cNvSpPr>
          <p:nvPr/>
        </p:nvSpPr>
        <p:spPr bwMode="auto">
          <a:xfrm>
            <a:off x="4683125" y="2763838"/>
            <a:ext cx="93663" cy="127000"/>
          </a:xfrm>
          <a:custGeom>
            <a:avLst/>
            <a:gdLst>
              <a:gd name="T0" fmla="*/ 13159 w 121"/>
              <a:gd name="T1" fmla="*/ 42333 h 144"/>
              <a:gd name="T2" fmla="*/ 13159 w 121"/>
              <a:gd name="T3" fmla="*/ 42333 h 144"/>
              <a:gd name="T4" fmla="*/ 13159 w 121"/>
              <a:gd name="T5" fmla="*/ 28222 h 144"/>
              <a:gd name="T6" fmla="*/ 0 w 121"/>
              <a:gd name="T7" fmla="*/ 13229 h 144"/>
              <a:gd name="T8" fmla="*/ 26319 w 121"/>
              <a:gd name="T9" fmla="*/ 0 h 144"/>
              <a:gd name="T10" fmla="*/ 53411 w 121"/>
              <a:gd name="T11" fmla="*/ 42333 h 144"/>
              <a:gd name="T12" fmla="*/ 79730 w 121"/>
              <a:gd name="T13" fmla="*/ 42333 h 144"/>
              <a:gd name="T14" fmla="*/ 79730 w 121"/>
              <a:gd name="T15" fmla="*/ 55562 h 144"/>
              <a:gd name="T16" fmla="*/ 79730 w 121"/>
              <a:gd name="T17" fmla="*/ 70556 h 144"/>
              <a:gd name="T18" fmla="*/ 93663 w 121"/>
              <a:gd name="T19" fmla="*/ 97896 h 144"/>
              <a:gd name="T20" fmla="*/ 79730 w 121"/>
              <a:gd name="T21" fmla="*/ 112889 h 144"/>
              <a:gd name="T22" fmla="*/ 53411 w 121"/>
              <a:gd name="T23" fmla="*/ 112889 h 144"/>
              <a:gd name="T24" fmla="*/ 39478 w 121"/>
              <a:gd name="T25" fmla="*/ 127000 h 144"/>
              <a:gd name="T26" fmla="*/ 26319 w 121"/>
              <a:gd name="T27" fmla="*/ 112889 h 144"/>
              <a:gd name="T28" fmla="*/ 26319 w 121"/>
              <a:gd name="T29" fmla="*/ 97896 h 144"/>
              <a:gd name="T30" fmla="*/ 13159 w 121"/>
              <a:gd name="T31" fmla="*/ 84667 h 144"/>
              <a:gd name="T32" fmla="*/ 13159 w 121"/>
              <a:gd name="T33" fmla="*/ 70556 h 144"/>
              <a:gd name="T34" fmla="*/ 13159 w 121"/>
              <a:gd name="T35" fmla="*/ 55562 h 144"/>
              <a:gd name="T36" fmla="*/ 13159 w 121"/>
              <a:gd name="T37" fmla="*/ 42333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chemeClr val="bg1"/>
          </a:solidFill>
          <a:ln w="9525">
            <a:solidFill>
              <a:schemeClr val="bg2"/>
            </a:solidFill>
            <a:prstDash val="solid"/>
            <a:round/>
            <a:headEnd/>
            <a:tailEnd/>
          </a:ln>
        </p:spPr>
        <p:txBody>
          <a:bodyPr/>
          <a:lstStyle/>
          <a:p>
            <a:endParaRPr lang="en-US" dirty="0"/>
          </a:p>
        </p:txBody>
      </p:sp>
      <p:sp>
        <p:nvSpPr>
          <p:cNvPr id="18689" name="Freeform 256"/>
          <p:cNvSpPr>
            <a:spLocks noChangeAspect="1"/>
          </p:cNvSpPr>
          <p:nvPr/>
        </p:nvSpPr>
        <p:spPr bwMode="auto">
          <a:xfrm>
            <a:off x="4725988" y="2878138"/>
            <a:ext cx="50800" cy="42862"/>
          </a:xfrm>
          <a:custGeom>
            <a:avLst/>
            <a:gdLst>
              <a:gd name="T0" fmla="*/ 13063 w 70"/>
              <a:gd name="T1" fmla="*/ 42862 h 48"/>
              <a:gd name="T2" fmla="*/ 13063 w 70"/>
              <a:gd name="T3" fmla="*/ 42862 h 48"/>
              <a:gd name="T4" fmla="*/ 0 w 70"/>
              <a:gd name="T5" fmla="*/ 27682 h 48"/>
              <a:gd name="T6" fmla="*/ 0 w 70"/>
              <a:gd name="T7" fmla="*/ 14287 h 48"/>
              <a:gd name="T8" fmla="*/ 13063 w 70"/>
              <a:gd name="T9" fmla="*/ 0 h 48"/>
              <a:gd name="T10" fmla="*/ 37737 w 70"/>
              <a:gd name="T11" fmla="*/ 0 h 48"/>
              <a:gd name="T12" fmla="*/ 50800 w 70"/>
              <a:gd name="T13" fmla="*/ 14287 h 48"/>
              <a:gd name="T14" fmla="*/ 50800 w 70"/>
              <a:gd name="T15" fmla="*/ 27682 h 48"/>
              <a:gd name="T16" fmla="*/ 13063 w 70"/>
              <a:gd name="T17" fmla="*/ 42862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chemeClr val="bg1"/>
          </a:solidFill>
          <a:ln w="9525">
            <a:solidFill>
              <a:schemeClr val="bg2"/>
            </a:solidFill>
            <a:prstDash val="solid"/>
            <a:round/>
            <a:headEnd/>
            <a:tailEnd/>
          </a:ln>
        </p:spPr>
        <p:txBody>
          <a:bodyPr/>
          <a:lstStyle/>
          <a:p>
            <a:endParaRPr lang="en-US" dirty="0"/>
          </a:p>
        </p:txBody>
      </p:sp>
      <p:sp>
        <p:nvSpPr>
          <p:cNvPr id="18690" name="Freeform 257"/>
          <p:cNvSpPr>
            <a:spLocks noChangeAspect="1"/>
          </p:cNvSpPr>
          <p:nvPr/>
        </p:nvSpPr>
        <p:spPr bwMode="auto">
          <a:xfrm>
            <a:off x="4532313" y="2593975"/>
            <a:ext cx="149225" cy="84138"/>
          </a:xfrm>
          <a:custGeom>
            <a:avLst/>
            <a:gdLst>
              <a:gd name="T0" fmla="*/ 149225 w 188"/>
              <a:gd name="T1" fmla="*/ 55216 h 96"/>
              <a:gd name="T2" fmla="*/ 149225 w 188"/>
              <a:gd name="T3" fmla="*/ 55216 h 96"/>
              <a:gd name="T4" fmla="*/ 121444 w 188"/>
              <a:gd name="T5" fmla="*/ 28046 h 96"/>
              <a:gd name="T6" fmla="*/ 107950 w 188"/>
              <a:gd name="T7" fmla="*/ 28046 h 96"/>
              <a:gd name="T8" fmla="*/ 81756 w 188"/>
              <a:gd name="T9" fmla="*/ 13147 h 96"/>
              <a:gd name="T10" fmla="*/ 68263 w 188"/>
              <a:gd name="T11" fmla="*/ 0 h 96"/>
              <a:gd name="T12" fmla="*/ 68263 w 188"/>
              <a:gd name="T13" fmla="*/ 13147 h 96"/>
              <a:gd name="T14" fmla="*/ 54769 w 188"/>
              <a:gd name="T15" fmla="*/ 0 h 96"/>
              <a:gd name="T16" fmla="*/ 26988 w 188"/>
              <a:gd name="T17" fmla="*/ 13147 h 96"/>
              <a:gd name="T18" fmla="*/ 0 w 188"/>
              <a:gd name="T19" fmla="*/ 28046 h 96"/>
              <a:gd name="T20" fmla="*/ 13494 w 188"/>
              <a:gd name="T21" fmla="*/ 55216 h 96"/>
              <a:gd name="T22" fmla="*/ 40481 w 188"/>
              <a:gd name="T23" fmla="*/ 84138 h 96"/>
              <a:gd name="T24" fmla="*/ 68263 w 188"/>
              <a:gd name="T25" fmla="*/ 84138 h 96"/>
              <a:gd name="T26" fmla="*/ 68263 w 188"/>
              <a:gd name="T27" fmla="*/ 70115 h 96"/>
              <a:gd name="T28" fmla="*/ 107950 w 188"/>
              <a:gd name="T29" fmla="*/ 84138 h 96"/>
              <a:gd name="T30" fmla="*/ 149225 w 188"/>
              <a:gd name="T31" fmla="*/ 5521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chemeClr val="bg1"/>
          </a:solidFill>
          <a:ln w="9525">
            <a:solidFill>
              <a:schemeClr val="bg2"/>
            </a:solidFill>
            <a:round/>
            <a:headEnd/>
            <a:tailEnd/>
          </a:ln>
        </p:spPr>
        <p:txBody>
          <a:bodyPr/>
          <a:lstStyle/>
          <a:p>
            <a:endParaRPr lang="en-US" dirty="0"/>
          </a:p>
        </p:txBody>
      </p:sp>
      <p:sp>
        <p:nvSpPr>
          <p:cNvPr id="18691" name="Freeform 258"/>
          <p:cNvSpPr>
            <a:spLocks noChangeAspect="1"/>
          </p:cNvSpPr>
          <p:nvPr/>
        </p:nvSpPr>
        <p:spPr bwMode="auto">
          <a:xfrm>
            <a:off x="4641850" y="2651125"/>
            <a:ext cx="122238" cy="58738"/>
          </a:xfrm>
          <a:custGeom>
            <a:avLst/>
            <a:gdLst>
              <a:gd name="T0" fmla="*/ 0 w 157"/>
              <a:gd name="T1" fmla="*/ 29821 h 65"/>
              <a:gd name="T2" fmla="*/ 0 w 157"/>
              <a:gd name="T3" fmla="*/ 29821 h 65"/>
              <a:gd name="T4" fmla="*/ 0 w 157"/>
              <a:gd name="T5" fmla="*/ 58738 h 65"/>
              <a:gd name="T6" fmla="*/ 26472 w 157"/>
              <a:gd name="T7" fmla="*/ 58738 h 65"/>
              <a:gd name="T8" fmla="*/ 81752 w 157"/>
              <a:gd name="T9" fmla="*/ 29821 h 65"/>
              <a:gd name="T10" fmla="*/ 109002 w 157"/>
              <a:gd name="T11" fmla="*/ 43376 h 65"/>
              <a:gd name="T12" fmla="*/ 122238 w 157"/>
              <a:gd name="T13" fmla="*/ 15362 h 65"/>
              <a:gd name="T14" fmla="*/ 95766 w 157"/>
              <a:gd name="T15" fmla="*/ 0 h 65"/>
              <a:gd name="T16" fmla="*/ 68516 w 157"/>
              <a:gd name="T17" fmla="*/ 15362 h 65"/>
              <a:gd name="T18" fmla="*/ 55280 w 157"/>
              <a:gd name="T19" fmla="*/ 0 h 65"/>
              <a:gd name="T20" fmla="*/ 42044 w 157"/>
              <a:gd name="T21" fmla="*/ 0 h 65"/>
              <a:gd name="T22" fmla="*/ 0 w 157"/>
              <a:gd name="T23" fmla="*/ 29821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chemeClr val="bg1"/>
          </a:solidFill>
          <a:ln w="9525">
            <a:solidFill>
              <a:schemeClr val="bg2"/>
            </a:solidFill>
            <a:round/>
            <a:headEnd/>
            <a:tailEnd/>
          </a:ln>
        </p:spPr>
        <p:txBody>
          <a:bodyPr/>
          <a:lstStyle/>
          <a:p>
            <a:endParaRPr lang="en-US" dirty="0"/>
          </a:p>
        </p:txBody>
      </p:sp>
      <p:sp>
        <p:nvSpPr>
          <p:cNvPr id="18692" name="Freeform 259"/>
          <p:cNvSpPr>
            <a:spLocks noChangeAspect="1"/>
          </p:cNvSpPr>
          <p:nvPr/>
        </p:nvSpPr>
        <p:spPr bwMode="auto">
          <a:xfrm>
            <a:off x="4575175" y="2751138"/>
            <a:ext cx="120650" cy="127000"/>
          </a:xfrm>
          <a:custGeom>
            <a:avLst/>
            <a:gdLst>
              <a:gd name="T0" fmla="*/ 54138 w 156"/>
              <a:gd name="T1" fmla="*/ 0 h 144"/>
              <a:gd name="T2" fmla="*/ 54138 w 156"/>
              <a:gd name="T3" fmla="*/ 0 h 144"/>
              <a:gd name="T4" fmla="*/ 93581 w 156"/>
              <a:gd name="T5" fmla="*/ 27340 h 144"/>
              <a:gd name="T6" fmla="*/ 107502 w 156"/>
              <a:gd name="T7" fmla="*/ 27340 h 144"/>
              <a:gd name="T8" fmla="*/ 120650 w 156"/>
              <a:gd name="T9" fmla="*/ 42333 h 144"/>
              <a:gd name="T10" fmla="*/ 120650 w 156"/>
              <a:gd name="T11" fmla="*/ 56444 h 144"/>
              <a:gd name="T12" fmla="*/ 107502 w 156"/>
              <a:gd name="T13" fmla="*/ 56444 h 144"/>
              <a:gd name="T14" fmla="*/ 107502 w 156"/>
              <a:gd name="T15" fmla="*/ 42333 h 144"/>
              <a:gd name="T16" fmla="*/ 67286 w 156"/>
              <a:gd name="T17" fmla="*/ 27340 h 144"/>
              <a:gd name="T18" fmla="*/ 54138 w 156"/>
              <a:gd name="T19" fmla="*/ 42333 h 144"/>
              <a:gd name="T20" fmla="*/ 54138 w 156"/>
              <a:gd name="T21" fmla="*/ 27340 h 144"/>
              <a:gd name="T22" fmla="*/ 40217 w 156"/>
              <a:gd name="T23" fmla="*/ 42333 h 144"/>
              <a:gd name="T24" fmla="*/ 54138 w 156"/>
              <a:gd name="T25" fmla="*/ 56444 h 144"/>
              <a:gd name="T26" fmla="*/ 80433 w 156"/>
              <a:gd name="T27" fmla="*/ 98778 h 144"/>
              <a:gd name="T28" fmla="*/ 107502 w 156"/>
              <a:gd name="T29" fmla="*/ 112007 h 144"/>
              <a:gd name="T30" fmla="*/ 93581 w 156"/>
              <a:gd name="T31" fmla="*/ 127000 h 144"/>
              <a:gd name="T32" fmla="*/ 67286 w 156"/>
              <a:gd name="T33" fmla="*/ 98778 h 144"/>
              <a:gd name="T34" fmla="*/ 54138 w 156"/>
              <a:gd name="T35" fmla="*/ 98778 h 144"/>
              <a:gd name="T36" fmla="*/ 27069 w 156"/>
              <a:gd name="T37" fmla="*/ 69674 h 144"/>
              <a:gd name="T38" fmla="*/ 40217 w 156"/>
              <a:gd name="T39" fmla="*/ 69674 h 144"/>
              <a:gd name="T40" fmla="*/ 27069 w 156"/>
              <a:gd name="T41" fmla="*/ 69674 h 144"/>
              <a:gd name="T42" fmla="*/ 27069 w 156"/>
              <a:gd name="T43" fmla="*/ 42333 h 144"/>
              <a:gd name="T44" fmla="*/ 13921 w 156"/>
              <a:gd name="T45" fmla="*/ 42333 h 144"/>
              <a:gd name="T46" fmla="*/ 0 w 156"/>
              <a:gd name="T47" fmla="*/ 56444 h 144"/>
              <a:gd name="T48" fmla="*/ 0 w 156"/>
              <a:gd name="T49" fmla="*/ 42333 h 144"/>
              <a:gd name="T50" fmla="*/ 0 w 156"/>
              <a:gd name="T51" fmla="*/ 27340 h 144"/>
              <a:gd name="T52" fmla="*/ 13921 w 156"/>
              <a:gd name="T53" fmla="*/ 27340 h 144"/>
              <a:gd name="T54" fmla="*/ 27069 w 156"/>
              <a:gd name="T55" fmla="*/ 27340 h 144"/>
              <a:gd name="T56" fmla="*/ 40217 w 156"/>
              <a:gd name="T57" fmla="*/ 0 h 144"/>
              <a:gd name="T58" fmla="*/ 54138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chemeClr val="bg1"/>
          </a:solidFill>
          <a:ln w="9525">
            <a:solidFill>
              <a:schemeClr val="bg2"/>
            </a:solidFill>
            <a:prstDash val="solid"/>
            <a:round/>
            <a:headEnd/>
            <a:tailEnd/>
          </a:ln>
        </p:spPr>
        <p:txBody>
          <a:bodyPr/>
          <a:lstStyle/>
          <a:p>
            <a:endParaRPr lang="en-US" dirty="0"/>
          </a:p>
        </p:txBody>
      </p:sp>
      <p:sp>
        <p:nvSpPr>
          <p:cNvPr id="18693" name="Freeform 260"/>
          <p:cNvSpPr>
            <a:spLocks noChangeAspect="1"/>
          </p:cNvSpPr>
          <p:nvPr/>
        </p:nvSpPr>
        <p:spPr bwMode="auto">
          <a:xfrm>
            <a:off x="4667250" y="2849563"/>
            <a:ext cx="42863" cy="41275"/>
          </a:xfrm>
          <a:custGeom>
            <a:avLst/>
            <a:gdLst>
              <a:gd name="T0" fmla="*/ 0 w 52"/>
              <a:gd name="T1" fmla="*/ 27517 h 48"/>
              <a:gd name="T2" fmla="*/ 0 w 52"/>
              <a:gd name="T3" fmla="*/ 27517 h 48"/>
              <a:gd name="T4" fmla="*/ 28850 w 52"/>
              <a:gd name="T5" fmla="*/ 41275 h 48"/>
              <a:gd name="T6" fmla="*/ 28850 w 52"/>
              <a:gd name="T7" fmla="*/ 27517 h 48"/>
              <a:gd name="T8" fmla="*/ 42863 w 52"/>
              <a:gd name="T9" fmla="*/ 27517 h 48"/>
              <a:gd name="T10" fmla="*/ 42863 w 52"/>
              <a:gd name="T11" fmla="*/ 12898 h 48"/>
              <a:gd name="T12" fmla="*/ 28850 w 52"/>
              <a:gd name="T13" fmla="*/ 0 h 48"/>
              <a:gd name="T14" fmla="*/ 14837 w 52"/>
              <a:gd name="T15" fmla="*/ 0 h 48"/>
              <a:gd name="T16" fmla="*/ 0 w 52"/>
              <a:gd name="T17" fmla="*/ 12898 h 48"/>
              <a:gd name="T18" fmla="*/ 14837 w 52"/>
              <a:gd name="T19" fmla="*/ 12898 h 48"/>
              <a:gd name="T20" fmla="*/ 0 w 52"/>
              <a:gd name="T21" fmla="*/ 2751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chemeClr val="bg1"/>
          </a:solidFill>
          <a:ln w="9525">
            <a:solidFill>
              <a:schemeClr val="bg2"/>
            </a:solidFill>
            <a:prstDash val="solid"/>
            <a:round/>
            <a:headEnd/>
            <a:tailEnd/>
          </a:ln>
        </p:spPr>
        <p:txBody>
          <a:bodyPr/>
          <a:lstStyle/>
          <a:p>
            <a:endParaRPr lang="en-US" dirty="0"/>
          </a:p>
        </p:txBody>
      </p:sp>
      <p:sp>
        <p:nvSpPr>
          <p:cNvPr id="18694" name="Freeform 261"/>
          <p:cNvSpPr>
            <a:spLocks noChangeAspect="1"/>
          </p:cNvSpPr>
          <p:nvPr/>
        </p:nvSpPr>
        <p:spPr bwMode="auto">
          <a:xfrm>
            <a:off x="4105275" y="2438400"/>
            <a:ext cx="58738" cy="58738"/>
          </a:xfrm>
          <a:custGeom>
            <a:avLst/>
            <a:gdLst>
              <a:gd name="T0" fmla="*/ 44674 w 71"/>
              <a:gd name="T1" fmla="*/ 58738 h 65"/>
              <a:gd name="T2" fmla="*/ 44674 w 71"/>
              <a:gd name="T3" fmla="*/ 43376 h 65"/>
              <a:gd name="T4" fmla="*/ 14891 w 71"/>
              <a:gd name="T5" fmla="*/ 43376 h 65"/>
              <a:gd name="T6" fmla="*/ 0 w 71"/>
              <a:gd name="T7" fmla="*/ 29821 h 65"/>
              <a:gd name="T8" fmla="*/ 14891 w 71"/>
              <a:gd name="T9" fmla="*/ 0 h 65"/>
              <a:gd name="T10" fmla="*/ 44674 w 71"/>
              <a:gd name="T11" fmla="*/ 16266 h 65"/>
              <a:gd name="T12" fmla="*/ 58738 w 71"/>
              <a:gd name="T13" fmla="*/ 43376 h 65"/>
              <a:gd name="T14" fmla="*/ 44674 w 71"/>
              <a:gd name="T15" fmla="*/ 58738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chemeClr val="bg1"/>
          </a:solidFill>
          <a:ln w="9525">
            <a:solidFill>
              <a:schemeClr val="bg2"/>
            </a:solidFill>
            <a:prstDash val="solid"/>
            <a:round/>
            <a:headEnd/>
            <a:tailEnd/>
          </a:ln>
        </p:spPr>
        <p:txBody>
          <a:bodyPr/>
          <a:lstStyle/>
          <a:p>
            <a:endParaRPr lang="en-US" dirty="0"/>
          </a:p>
        </p:txBody>
      </p:sp>
      <p:sp>
        <p:nvSpPr>
          <p:cNvPr id="18695" name="Freeform 262"/>
          <p:cNvSpPr>
            <a:spLocks noChangeAspect="1"/>
          </p:cNvSpPr>
          <p:nvPr/>
        </p:nvSpPr>
        <p:spPr bwMode="auto">
          <a:xfrm>
            <a:off x="4056063" y="2438400"/>
            <a:ext cx="92075" cy="142875"/>
          </a:xfrm>
          <a:custGeom>
            <a:avLst/>
            <a:gdLst>
              <a:gd name="T0" fmla="*/ 66542 w 119"/>
              <a:gd name="T1" fmla="*/ 0 h 161"/>
              <a:gd name="T2" fmla="*/ 53388 w 119"/>
              <a:gd name="T3" fmla="*/ 29285 h 161"/>
              <a:gd name="T4" fmla="*/ 66542 w 119"/>
              <a:gd name="T5" fmla="*/ 42596 h 161"/>
              <a:gd name="T6" fmla="*/ 92075 w 119"/>
              <a:gd name="T7" fmla="*/ 42596 h 161"/>
              <a:gd name="T8" fmla="*/ 92075 w 119"/>
              <a:gd name="T9" fmla="*/ 57682 h 161"/>
              <a:gd name="T10" fmla="*/ 92075 w 119"/>
              <a:gd name="T11" fmla="*/ 85193 h 161"/>
              <a:gd name="T12" fmla="*/ 78921 w 119"/>
              <a:gd name="T13" fmla="*/ 127789 h 161"/>
              <a:gd name="T14" fmla="*/ 13154 w 119"/>
              <a:gd name="T15" fmla="*/ 142875 h 161"/>
              <a:gd name="T16" fmla="*/ 0 w 119"/>
              <a:gd name="T17" fmla="*/ 127789 h 161"/>
              <a:gd name="T18" fmla="*/ 13154 w 119"/>
              <a:gd name="T19" fmla="*/ 127789 h 161"/>
              <a:gd name="T20" fmla="*/ 27081 w 119"/>
              <a:gd name="T21" fmla="*/ 85193 h 161"/>
              <a:gd name="T22" fmla="*/ 13154 w 119"/>
              <a:gd name="T23" fmla="*/ 71881 h 161"/>
              <a:gd name="T24" fmla="*/ 27081 w 119"/>
              <a:gd name="T25" fmla="*/ 57682 h 161"/>
              <a:gd name="T26" fmla="*/ 13154 w 119"/>
              <a:gd name="T27" fmla="*/ 57682 h 161"/>
              <a:gd name="T28" fmla="*/ 13154 w 119"/>
              <a:gd name="T29" fmla="*/ 42596 h 161"/>
              <a:gd name="T30" fmla="*/ 40234 w 119"/>
              <a:gd name="T31" fmla="*/ 42596 h 161"/>
              <a:gd name="T32" fmla="*/ 53388 w 119"/>
              <a:gd name="T33" fmla="*/ 29285 h 161"/>
              <a:gd name="T34" fmla="*/ 40234 w 119"/>
              <a:gd name="T35" fmla="*/ 29285 h 161"/>
              <a:gd name="T36" fmla="*/ 40234 w 119"/>
              <a:gd name="T37" fmla="*/ 15974 h 161"/>
              <a:gd name="T38" fmla="*/ 66542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chemeClr val="bg1"/>
          </a:solidFill>
          <a:ln w="9525">
            <a:solidFill>
              <a:schemeClr val="bg2"/>
            </a:solidFill>
            <a:prstDash val="solid"/>
            <a:round/>
            <a:headEnd/>
            <a:tailEnd/>
          </a:ln>
        </p:spPr>
        <p:txBody>
          <a:bodyPr/>
          <a:lstStyle/>
          <a:p>
            <a:endParaRPr lang="en-US" dirty="0"/>
          </a:p>
        </p:txBody>
      </p:sp>
      <p:sp>
        <p:nvSpPr>
          <p:cNvPr id="18696" name="Freeform 263"/>
          <p:cNvSpPr>
            <a:spLocks noChangeAspect="1"/>
          </p:cNvSpPr>
          <p:nvPr/>
        </p:nvSpPr>
        <p:spPr bwMode="auto">
          <a:xfrm>
            <a:off x="4081463" y="2835275"/>
            <a:ext cx="257175" cy="225425"/>
          </a:xfrm>
          <a:custGeom>
            <a:avLst/>
            <a:gdLst>
              <a:gd name="T0" fmla="*/ 13329 w 328"/>
              <a:gd name="T1" fmla="*/ 56577 h 255"/>
              <a:gd name="T2" fmla="*/ 13329 w 328"/>
              <a:gd name="T3" fmla="*/ 56577 h 255"/>
              <a:gd name="T4" fmla="*/ 67430 w 328"/>
              <a:gd name="T5" fmla="*/ 56577 h 255"/>
              <a:gd name="T6" fmla="*/ 67430 w 328"/>
              <a:gd name="T7" fmla="*/ 69838 h 255"/>
              <a:gd name="T8" fmla="*/ 54101 w 328"/>
              <a:gd name="T9" fmla="*/ 84866 h 255"/>
              <a:gd name="T10" fmla="*/ 54101 w 328"/>
              <a:gd name="T11" fmla="*/ 112270 h 255"/>
              <a:gd name="T12" fmla="*/ 39988 w 328"/>
              <a:gd name="T13" fmla="*/ 127299 h 255"/>
              <a:gd name="T14" fmla="*/ 54101 w 328"/>
              <a:gd name="T15" fmla="*/ 169732 h 255"/>
              <a:gd name="T16" fmla="*/ 39988 w 328"/>
              <a:gd name="T17" fmla="*/ 197136 h 255"/>
              <a:gd name="T18" fmla="*/ 80759 w 328"/>
              <a:gd name="T19" fmla="*/ 225425 h 255"/>
              <a:gd name="T20" fmla="*/ 94872 w 328"/>
              <a:gd name="T21" fmla="*/ 212165 h 255"/>
              <a:gd name="T22" fmla="*/ 148973 w 328"/>
              <a:gd name="T23" fmla="*/ 212165 h 255"/>
              <a:gd name="T24" fmla="*/ 203074 w 328"/>
              <a:gd name="T25" fmla="*/ 154703 h 255"/>
              <a:gd name="T26" fmla="*/ 188961 w 328"/>
              <a:gd name="T27" fmla="*/ 127299 h 255"/>
              <a:gd name="T28" fmla="*/ 216403 w 328"/>
              <a:gd name="T29" fmla="*/ 84866 h 255"/>
              <a:gd name="T30" fmla="*/ 257175 w 328"/>
              <a:gd name="T31" fmla="*/ 56577 h 255"/>
              <a:gd name="T32" fmla="*/ 257175 w 328"/>
              <a:gd name="T33" fmla="*/ 42433 h 255"/>
              <a:gd name="T34" fmla="*/ 188961 w 328"/>
              <a:gd name="T35" fmla="*/ 27405 h 255"/>
              <a:gd name="T36" fmla="*/ 162303 w 328"/>
              <a:gd name="T37" fmla="*/ 14144 h 255"/>
              <a:gd name="T38" fmla="*/ 148973 w 328"/>
              <a:gd name="T39" fmla="*/ 14144 h 255"/>
              <a:gd name="T40" fmla="*/ 121531 w 328"/>
              <a:gd name="T41" fmla="*/ 14144 h 255"/>
              <a:gd name="T42" fmla="*/ 108202 w 328"/>
              <a:gd name="T43" fmla="*/ 14144 h 255"/>
              <a:gd name="T44" fmla="*/ 26658 w 328"/>
              <a:gd name="T45" fmla="*/ 0 h 255"/>
              <a:gd name="T46" fmla="*/ 13329 w 328"/>
              <a:gd name="T47" fmla="*/ 14144 h 255"/>
              <a:gd name="T48" fmla="*/ 0 w 328"/>
              <a:gd name="T49" fmla="*/ 14144 h 255"/>
              <a:gd name="T50" fmla="*/ 0 w 328"/>
              <a:gd name="T51" fmla="*/ 27405 h 255"/>
              <a:gd name="T52" fmla="*/ 13329 w 328"/>
              <a:gd name="T53" fmla="*/ 56577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chemeClr val="bg1"/>
          </a:solidFill>
          <a:ln w="9525">
            <a:solidFill>
              <a:schemeClr val="bg2"/>
            </a:solidFill>
            <a:prstDash val="solid"/>
            <a:round/>
            <a:headEnd/>
            <a:tailEnd/>
          </a:ln>
        </p:spPr>
        <p:txBody>
          <a:bodyPr/>
          <a:lstStyle/>
          <a:p>
            <a:endParaRPr lang="en-US" dirty="0"/>
          </a:p>
        </p:txBody>
      </p:sp>
      <p:sp>
        <p:nvSpPr>
          <p:cNvPr id="18697" name="Freeform 264"/>
          <p:cNvSpPr>
            <a:spLocks noChangeAspect="1"/>
          </p:cNvSpPr>
          <p:nvPr/>
        </p:nvSpPr>
        <p:spPr bwMode="auto">
          <a:xfrm>
            <a:off x="4081463" y="2890838"/>
            <a:ext cx="66675" cy="141287"/>
          </a:xfrm>
          <a:custGeom>
            <a:avLst/>
            <a:gdLst>
              <a:gd name="T0" fmla="*/ 39687 w 84"/>
              <a:gd name="T1" fmla="*/ 141287 h 159"/>
              <a:gd name="T2" fmla="*/ 39687 w 84"/>
              <a:gd name="T3" fmla="*/ 141287 h 159"/>
              <a:gd name="T4" fmla="*/ 53181 w 84"/>
              <a:gd name="T5" fmla="*/ 113740 h 159"/>
              <a:gd name="T6" fmla="*/ 39687 w 84"/>
              <a:gd name="T7" fmla="*/ 71088 h 159"/>
              <a:gd name="T8" fmla="*/ 53181 w 84"/>
              <a:gd name="T9" fmla="*/ 55982 h 159"/>
              <a:gd name="T10" fmla="*/ 53181 w 84"/>
              <a:gd name="T11" fmla="*/ 28435 h 159"/>
              <a:gd name="T12" fmla="*/ 66675 w 84"/>
              <a:gd name="T13" fmla="*/ 13329 h 159"/>
              <a:gd name="T14" fmla="*/ 66675 w 84"/>
              <a:gd name="T15" fmla="*/ 0 h 159"/>
              <a:gd name="T16" fmla="*/ 13494 w 84"/>
              <a:gd name="T17" fmla="*/ 0 h 159"/>
              <a:gd name="T18" fmla="*/ 13494 w 84"/>
              <a:gd name="T19" fmla="*/ 28435 h 159"/>
              <a:gd name="T20" fmla="*/ 0 w 84"/>
              <a:gd name="T21" fmla="*/ 98634 h 159"/>
              <a:gd name="T22" fmla="*/ 13494 w 84"/>
              <a:gd name="T23" fmla="*/ 98634 h 159"/>
              <a:gd name="T24" fmla="*/ 0 w 84"/>
              <a:gd name="T25" fmla="*/ 141287 h 159"/>
              <a:gd name="T26" fmla="*/ 39687 w 84"/>
              <a:gd name="T27" fmla="*/ 141287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chemeClr val="bg1"/>
          </a:solidFill>
          <a:ln w="9525">
            <a:solidFill>
              <a:schemeClr val="bg2"/>
            </a:solidFill>
            <a:prstDash val="solid"/>
            <a:round/>
            <a:headEnd/>
            <a:tailEnd/>
          </a:ln>
        </p:spPr>
        <p:txBody>
          <a:bodyPr/>
          <a:lstStyle/>
          <a:p>
            <a:endParaRPr lang="en-US" dirty="0"/>
          </a:p>
        </p:txBody>
      </p:sp>
      <p:sp>
        <p:nvSpPr>
          <p:cNvPr id="18698" name="Freeform 265"/>
          <p:cNvSpPr>
            <a:spLocks noChangeAspect="1"/>
          </p:cNvSpPr>
          <p:nvPr/>
        </p:nvSpPr>
        <p:spPr bwMode="auto">
          <a:xfrm>
            <a:off x="4135438" y="2311400"/>
            <a:ext cx="177800" cy="325438"/>
          </a:xfrm>
          <a:custGeom>
            <a:avLst/>
            <a:gdLst>
              <a:gd name="T0" fmla="*/ 26988 w 224"/>
              <a:gd name="T1" fmla="*/ 325438 h 369"/>
              <a:gd name="T2" fmla="*/ 41275 w 224"/>
              <a:gd name="T3" fmla="*/ 311327 h 369"/>
              <a:gd name="T4" fmla="*/ 68263 w 224"/>
              <a:gd name="T5" fmla="*/ 325438 h 369"/>
              <a:gd name="T6" fmla="*/ 68263 w 224"/>
              <a:gd name="T7" fmla="*/ 311327 h 369"/>
              <a:gd name="T8" fmla="*/ 81756 w 224"/>
              <a:gd name="T9" fmla="*/ 296334 h 369"/>
              <a:gd name="T10" fmla="*/ 96044 w 224"/>
              <a:gd name="T11" fmla="*/ 311327 h 369"/>
              <a:gd name="T12" fmla="*/ 109538 w 224"/>
              <a:gd name="T13" fmla="*/ 296334 h 369"/>
              <a:gd name="T14" fmla="*/ 164306 w 224"/>
              <a:gd name="T15" fmla="*/ 296334 h 369"/>
              <a:gd name="T16" fmla="*/ 177800 w 224"/>
              <a:gd name="T17" fmla="*/ 283105 h 369"/>
              <a:gd name="T18" fmla="*/ 150813 w 224"/>
              <a:gd name="T19" fmla="*/ 283105 h 369"/>
              <a:gd name="T20" fmla="*/ 177800 w 224"/>
              <a:gd name="T21" fmla="*/ 240771 h 369"/>
              <a:gd name="T22" fmla="*/ 164306 w 224"/>
              <a:gd name="T23" fmla="*/ 226660 h 369"/>
              <a:gd name="T24" fmla="*/ 150813 w 224"/>
              <a:gd name="T25" fmla="*/ 226660 h 369"/>
              <a:gd name="T26" fmla="*/ 136525 w 224"/>
              <a:gd name="T27" fmla="*/ 226660 h 369"/>
              <a:gd name="T28" fmla="*/ 150813 w 224"/>
              <a:gd name="T29" fmla="*/ 211667 h 369"/>
              <a:gd name="T30" fmla="*/ 150813 w 224"/>
              <a:gd name="T31" fmla="*/ 198438 h 369"/>
              <a:gd name="T32" fmla="*/ 136525 w 224"/>
              <a:gd name="T33" fmla="*/ 169334 h 369"/>
              <a:gd name="T34" fmla="*/ 123031 w 224"/>
              <a:gd name="T35" fmla="*/ 156104 h 369"/>
              <a:gd name="T36" fmla="*/ 96044 w 224"/>
              <a:gd name="T37" fmla="*/ 113771 h 369"/>
              <a:gd name="T38" fmla="*/ 68263 w 224"/>
              <a:gd name="T39" fmla="*/ 100542 h 369"/>
              <a:gd name="T40" fmla="*/ 109538 w 224"/>
              <a:gd name="T41" fmla="*/ 42333 h 369"/>
              <a:gd name="T42" fmla="*/ 96044 w 224"/>
              <a:gd name="T43" fmla="*/ 29104 h 369"/>
              <a:gd name="T44" fmla="*/ 54769 w 224"/>
              <a:gd name="T45" fmla="*/ 42333 h 369"/>
              <a:gd name="T46" fmla="*/ 54769 w 224"/>
              <a:gd name="T47" fmla="*/ 15875 h 369"/>
              <a:gd name="T48" fmla="*/ 81756 w 224"/>
              <a:gd name="T49" fmla="*/ 0 h 369"/>
              <a:gd name="T50" fmla="*/ 68263 w 224"/>
              <a:gd name="T51" fmla="*/ 0 h 369"/>
              <a:gd name="T52" fmla="*/ 41275 w 224"/>
              <a:gd name="T53" fmla="*/ 0 h 369"/>
              <a:gd name="T54" fmla="*/ 13494 w 224"/>
              <a:gd name="T55" fmla="*/ 42333 h 369"/>
              <a:gd name="T56" fmla="*/ 0 w 224"/>
              <a:gd name="T57" fmla="*/ 42333 h 369"/>
              <a:gd name="T58" fmla="*/ 13494 w 224"/>
              <a:gd name="T59" fmla="*/ 58208 h 369"/>
              <a:gd name="T60" fmla="*/ 26988 w 224"/>
              <a:gd name="T61" fmla="*/ 58208 h 369"/>
              <a:gd name="T62" fmla="*/ 13494 w 224"/>
              <a:gd name="T63" fmla="*/ 84667 h 369"/>
              <a:gd name="T64" fmla="*/ 26988 w 224"/>
              <a:gd name="T65" fmla="*/ 84667 h 369"/>
              <a:gd name="T66" fmla="*/ 26988 w 224"/>
              <a:gd name="T67" fmla="*/ 100542 h 369"/>
              <a:gd name="T68" fmla="*/ 13494 w 224"/>
              <a:gd name="T69" fmla="*/ 113771 h 369"/>
              <a:gd name="T70" fmla="*/ 26988 w 224"/>
              <a:gd name="T71" fmla="*/ 113771 h 369"/>
              <a:gd name="T72" fmla="*/ 26988 w 224"/>
              <a:gd name="T73" fmla="*/ 127000 h 369"/>
              <a:gd name="T74" fmla="*/ 26988 w 224"/>
              <a:gd name="T75" fmla="*/ 113771 h 369"/>
              <a:gd name="T76" fmla="*/ 41275 w 224"/>
              <a:gd name="T77" fmla="*/ 127000 h 369"/>
              <a:gd name="T78" fmla="*/ 26988 w 224"/>
              <a:gd name="T79" fmla="*/ 142875 h 369"/>
              <a:gd name="T80" fmla="*/ 41275 w 224"/>
              <a:gd name="T81" fmla="*/ 156104 h 369"/>
              <a:gd name="T82" fmla="*/ 68263 w 224"/>
              <a:gd name="T83" fmla="*/ 142875 h 369"/>
              <a:gd name="T84" fmla="*/ 68263 w 224"/>
              <a:gd name="T85" fmla="*/ 156104 h 369"/>
              <a:gd name="T86" fmla="*/ 68263 w 224"/>
              <a:gd name="T87" fmla="*/ 169334 h 369"/>
              <a:gd name="T88" fmla="*/ 81756 w 224"/>
              <a:gd name="T89" fmla="*/ 169334 h 369"/>
              <a:gd name="T90" fmla="*/ 81756 w 224"/>
              <a:gd name="T91" fmla="*/ 198438 h 369"/>
              <a:gd name="T92" fmla="*/ 41275 w 224"/>
              <a:gd name="T93" fmla="*/ 198438 h 369"/>
              <a:gd name="T94" fmla="*/ 54769 w 224"/>
              <a:gd name="T95" fmla="*/ 211667 h 369"/>
              <a:gd name="T96" fmla="*/ 41275 w 224"/>
              <a:gd name="T97" fmla="*/ 226660 h 369"/>
              <a:gd name="T98" fmla="*/ 54769 w 224"/>
              <a:gd name="T99" fmla="*/ 226660 h 369"/>
              <a:gd name="T100" fmla="*/ 54769 w 224"/>
              <a:gd name="T101" fmla="*/ 240771 h 369"/>
              <a:gd name="T102" fmla="*/ 26988 w 224"/>
              <a:gd name="T103" fmla="*/ 254000 h 369"/>
              <a:gd name="T104" fmla="*/ 41275 w 224"/>
              <a:gd name="T105" fmla="*/ 268993 h 369"/>
              <a:gd name="T106" fmla="*/ 54769 w 224"/>
              <a:gd name="T107" fmla="*/ 268993 h 369"/>
              <a:gd name="T108" fmla="*/ 68263 w 224"/>
              <a:gd name="T109" fmla="*/ 283105 h 369"/>
              <a:gd name="T110" fmla="*/ 81756 w 224"/>
              <a:gd name="T111" fmla="*/ 268993 h 369"/>
              <a:gd name="T112" fmla="*/ 81756 w 224"/>
              <a:gd name="T113" fmla="*/ 283105 h 369"/>
              <a:gd name="T114" fmla="*/ 54769 w 224"/>
              <a:gd name="T115" fmla="*/ 283105 h 369"/>
              <a:gd name="T116" fmla="*/ 26988 w 224"/>
              <a:gd name="T117" fmla="*/ 325438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rgbClr val="000080"/>
          </a:solidFill>
          <a:ln w="9525">
            <a:solidFill>
              <a:schemeClr val="bg2"/>
            </a:solidFill>
            <a:prstDash val="solid"/>
            <a:round/>
            <a:headEnd/>
            <a:tailEnd/>
          </a:ln>
        </p:spPr>
        <p:txBody>
          <a:bodyPr/>
          <a:lstStyle/>
          <a:p>
            <a:endParaRPr lang="en-US" dirty="0"/>
          </a:p>
        </p:txBody>
      </p:sp>
      <p:sp>
        <p:nvSpPr>
          <p:cNvPr id="18699" name="Freeform 266"/>
          <p:cNvSpPr>
            <a:spLocks noChangeAspect="1"/>
          </p:cNvSpPr>
          <p:nvPr/>
        </p:nvSpPr>
        <p:spPr bwMode="auto">
          <a:xfrm>
            <a:off x="4325938" y="2947988"/>
            <a:ext cx="28575" cy="28575"/>
          </a:xfrm>
          <a:custGeom>
            <a:avLst/>
            <a:gdLst>
              <a:gd name="T0" fmla="*/ 0 w 34"/>
              <a:gd name="T1" fmla="*/ 14720 h 33"/>
              <a:gd name="T2" fmla="*/ 0 w 34"/>
              <a:gd name="T3" fmla="*/ 14720 h 33"/>
              <a:gd name="T4" fmla="*/ 14288 w 34"/>
              <a:gd name="T5" fmla="*/ 28575 h 33"/>
              <a:gd name="T6" fmla="*/ 28575 w 34"/>
              <a:gd name="T7" fmla="*/ 14720 h 33"/>
              <a:gd name="T8" fmla="*/ 14288 w 34"/>
              <a:gd name="T9" fmla="*/ 0 h 33"/>
              <a:gd name="T10" fmla="*/ 0 w 34"/>
              <a:gd name="T11" fmla="*/ 1472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chemeClr val="bg1"/>
          </a:solidFill>
          <a:ln w="9525">
            <a:solidFill>
              <a:schemeClr val="bg2"/>
            </a:solidFill>
            <a:prstDash val="solid"/>
            <a:round/>
            <a:headEnd/>
            <a:tailEnd/>
          </a:ln>
        </p:spPr>
        <p:txBody>
          <a:bodyPr/>
          <a:lstStyle/>
          <a:p>
            <a:endParaRPr lang="en-US" dirty="0"/>
          </a:p>
        </p:txBody>
      </p:sp>
      <p:sp>
        <p:nvSpPr>
          <p:cNvPr id="18700" name="Freeform 267"/>
          <p:cNvSpPr>
            <a:spLocks noChangeAspect="1"/>
          </p:cNvSpPr>
          <p:nvPr/>
        </p:nvSpPr>
        <p:spPr bwMode="auto">
          <a:xfrm>
            <a:off x="3916363" y="3257550"/>
            <a:ext cx="15875" cy="15875"/>
          </a:xfrm>
          <a:custGeom>
            <a:avLst/>
            <a:gdLst>
              <a:gd name="T0" fmla="*/ 0 w 20"/>
              <a:gd name="T1" fmla="*/ 0 h 15"/>
              <a:gd name="T2" fmla="*/ 0 w 20"/>
              <a:gd name="T3" fmla="*/ 0 h 15"/>
              <a:gd name="T4" fmla="*/ 0 w 20"/>
              <a:gd name="T5" fmla="*/ 15875 h 15"/>
              <a:gd name="T6" fmla="*/ 15875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chemeClr val="bg1"/>
          </a:solidFill>
          <a:ln w="9525">
            <a:solidFill>
              <a:schemeClr val="bg2"/>
            </a:solidFill>
            <a:prstDash val="solid"/>
            <a:round/>
            <a:headEnd/>
            <a:tailEnd/>
          </a:ln>
        </p:spPr>
        <p:txBody>
          <a:bodyPr/>
          <a:lstStyle/>
          <a:p>
            <a:endParaRPr lang="en-US" dirty="0"/>
          </a:p>
        </p:txBody>
      </p:sp>
      <p:sp>
        <p:nvSpPr>
          <p:cNvPr id="18701" name="Freeform 268"/>
          <p:cNvSpPr>
            <a:spLocks noChangeAspect="1"/>
          </p:cNvSpPr>
          <p:nvPr/>
        </p:nvSpPr>
        <p:spPr bwMode="auto">
          <a:xfrm>
            <a:off x="4175125" y="2593975"/>
            <a:ext cx="274638" cy="284163"/>
          </a:xfrm>
          <a:custGeom>
            <a:avLst/>
            <a:gdLst>
              <a:gd name="T0" fmla="*/ 164783 w 345"/>
              <a:gd name="T1" fmla="*/ 0 h 320"/>
              <a:gd name="T2" fmla="*/ 164783 w 345"/>
              <a:gd name="T3" fmla="*/ 0 h 320"/>
              <a:gd name="T4" fmla="*/ 136921 w 345"/>
              <a:gd name="T5" fmla="*/ 13320 h 320"/>
              <a:gd name="T6" fmla="*/ 136921 w 345"/>
              <a:gd name="T7" fmla="*/ 42624 h 320"/>
              <a:gd name="T8" fmla="*/ 109855 w 345"/>
              <a:gd name="T9" fmla="*/ 55945 h 320"/>
              <a:gd name="T10" fmla="*/ 95526 w 345"/>
              <a:gd name="T11" fmla="*/ 71041 h 320"/>
              <a:gd name="T12" fmla="*/ 81993 w 345"/>
              <a:gd name="T13" fmla="*/ 71041 h 320"/>
              <a:gd name="T14" fmla="*/ 68460 w 345"/>
              <a:gd name="T15" fmla="*/ 55945 h 320"/>
              <a:gd name="T16" fmla="*/ 54928 w 345"/>
              <a:gd name="T17" fmla="*/ 55945 h 320"/>
              <a:gd name="T18" fmla="*/ 68460 w 345"/>
              <a:gd name="T19" fmla="*/ 85249 h 320"/>
              <a:gd name="T20" fmla="*/ 40599 w 345"/>
              <a:gd name="T21" fmla="*/ 98569 h 320"/>
              <a:gd name="T22" fmla="*/ 40599 w 345"/>
              <a:gd name="T23" fmla="*/ 85249 h 320"/>
              <a:gd name="T24" fmla="*/ 0 w 345"/>
              <a:gd name="T25" fmla="*/ 98569 h 320"/>
              <a:gd name="T26" fmla="*/ 0 w 345"/>
              <a:gd name="T27" fmla="*/ 113665 h 320"/>
              <a:gd name="T28" fmla="*/ 54928 w 345"/>
              <a:gd name="T29" fmla="*/ 127873 h 320"/>
              <a:gd name="T30" fmla="*/ 81993 w 345"/>
              <a:gd name="T31" fmla="*/ 170498 h 320"/>
              <a:gd name="T32" fmla="*/ 81993 w 345"/>
              <a:gd name="T33" fmla="*/ 183818 h 320"/>
              <a:gd name="T34" fmla="*/ 68460 w 345"/>
              <a:gd name="T35" fmla="*/ 255747 h 320"/>
              <a:gd name="T36" fmla="*/ 95526 w 345"/>
              <a:gd name="T37" fmla="*/ 269067 h 320"/>
              <a:gd name="T38" fmla="*/ 164783 w 345"/>
              <a:gd name="T39" fmla="*/ 284163 h 320"/>
              <a:gd name="T40" fmla="*/ 164783 w 345"/>
              <a:gd name="T41" fmla="*/ 269067 h 320"/>
              <a:gd name="T42" fmla="*/ 191849 w 345"/>
              <a:gd name="T43" fmla="*/ 255747 h 320"/>
              <a:gd name="T44" fmla="*/ 233243 w 345"/>
              <a:gd name="T45" fmla="*/ 269067 h 320"/>
              <a:gd name="T46" fmla="*/ 247572 w 345"/>
              <a:gd name="T47" fmla="*/ 269067 h 320"/>
              <a:gd name="T48" fmla="*/ 261105 w 345"/>
              <a:gd name="T49" fmla="*/ 241539 h 320"/>
              <a:gd name="T50" fmla="*/ 247572 w 345"/>
              <a:gd name="T51" fmla="*/ 213122 h 320"/>
              <a:gd name="T52" fmla="*/ 247572 w 345"/>
              <a:gd name="T53" fmla="*/ 183818 h 320"/>
              <a:gd name="T54" fmla="*/ 247572 w 345"/>
              <a:gd name="T55" fmla="*/ 156290 h 320"/>
              <a:gd name="T56" fmla="*/ 233243 w 345"/>
              <a:gd name="T57" fmla="*/ 170498 h 320"/>
              <a:gd name="T58" fmla="*/ 233243 w 345"/>
              <a:gd name="T59" fmla="*/ 156290 h 320"/>
              <a:gd name="T60" fmla="*/ 247572 w 345"/>
              <a:gd name="T61" fmla="*/ 127873 h 320"/>
              <a:gd name="T62" fmla="*/ 261105 w 345"/>
              <a:gd name="T63" fmla="*/ 127873 h 320"/>
              <a:gd name="T64" fmla="*/ 274638 w 345"/>
              <a:gd name="T65" fmla="*/ 85249 h 320"/>
              <a:gd name="T66" fmla="*/ 233243 w 345"/>
              <a:gd name="T67" fmla="*/ 55945 h 320"/>
              <a:gd name="T68" fmla="*/ 219710 w 345"/>
              <a:gd name="T69" fmla="*/ 55945 h 320"/>
              <a:gd name="T70" fmla="*/ 206178 w 345"/>
              <a:gd name="T71" fmla="*/ 55945 h 320"/>
              <a:gd name="T72" fmla="*/ 206178 w 345"/>
              <a:gd name="T73" fmla="*/ 42624 h 320"/>
              <a:gd name="T74" fmla="*/ 191849 w 345"/>
              <a:gd name="T75" fmla="*/ 42624 h 320"/>
              <a:gd name="T76" fmla="*/ 191849 w 345"/>
              <a:gd name="T77" fmla="*/ 28416 h 320"/>
              <a:gd name="T78" fmla="*/ 164783 w 345"/>
              <a:gd name="T79" fmla="*/ 13320 h 320"/>
              <a:gd name="T80" fmla="*/ 164783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chemeClr val="bg1"/>
          </a:solidFill>
          <a:ln w="9525">
            <a:solidFill>
              <a:schemeClr val="bg2"/>
            </a:solidFill>
            <a:prstDash val="solid"/>
            <a:round/>
            <a:headEnd/>
            <a:tailEnd/>
          </a:ln>
        </p:spPr>
        <p:txBody>
          <a:bodyPr/>
          <a:lstStyle/>
          <a:p>
            <a:endParaRPr lang="en-US" dirty="0"/>
          </a:p>
        </p:txBody>
      </p:sp>
      <p:sp>
        <p:nvSpPr>
          <p:cNvPr id="18702" name="Freeform 269"/>
          <p:cNvSpPr>
            <a:spLocks noChangeAspect="1"/>
          </p:cNvSpPr>
          <p:nvPr/>
        </p:nvSpPr>
        <p:spPr bwMode="auto">
          <a:xfrm>
            <a:off x="3973513" y="3257550"/>
            <a:ext cx="11112" cy="15875"/>
          </a:xfrm>
          <a:custGeom>
            <a:avLst/>
            <a:gdLst>
              <a:gd name="T0" fmla="*/ 11112 w 16"/>
              <a:gd name="T1" fmla="*/ 0 h 15"/>
              <a:gd name="T2" fmla="*/ 11112 w 16"/>
              <a:gd name="T3" fmla="*/ 0 h 15"/>
              <a:gd name="T4" fmla="*/ 0 w 16"/>
              <a:gd name="T5" fmla="*/ 15875 h 15"/>
              <a:gd name="T6" fmla="*/ 11112 w 16"/>
              <a:gd name="T7" fmla="*/ 15875 h 15"/>
              <a:gd name="T8" fmla="*/ 11112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chemeClr val="bg1"/>
          </a:solidFill>
          <a:ln w="9525">
            <a:solidFill>
              <a:schemeClr val="bg2"/>
            </a:solidFill>
            <a:prstDash val="solid"/>
            <a:round/>
            <a:headEnd/>
            <a:tailEnd/>
          </a:ln>
        </p:spPr>
        <p:txBody>
          <a:bodyPr/>
          <a:lstStyle/>
          <a:p>
            <a:endParaRPr lang="en-US" dirty="0"/>
          </a:p>
        </p:txBody>
      </p:sp>
      <p:sp>
        <p:nvSpPr>
          <p:cNvPr id="18703" name="Freeform 270"/>
          <p:cNvSpPr>
            <a:spLocks noChangeAspect="1"/>
          </p:cNvSpPr>
          <p:nvPr/>
        </p:nvSpPr>
        <p:spPr bwMode="auto">
          <a:xfrm>
            <a:off x="4449763" y="2354263"/>
            <a:ext cx="68262" cy="100012"/>
          </a:xfrm>
          <a:custGeom>
            <a:avLst/>
            <a:gdLst>
              <a:gd name="T0" fmla="*/ 14738 w 88"/>
              <a:gd name="T1" fmla="*/ 100012 h 114"/>
              <a:gd name="T2" fmla="*/ 14738 w 88"/>
              <a:gd name="T3" fmla="*/ 100012 h 114"/>
              <a:gd name="T4" fmla="*/ 28701 w 88"/>
              <a:gd name="T5" fmla="*/ 100012 h 114"/>
              <a:gd name="T6" fmla="*/ 41888 w 88"/>
              <a:gd name="T7" fmla="*/ 100012 h 114"/>
              <a:gd name="T8" fmla="*/ 55075 w 88"/>
              <a:gd name="T9" fmla="*/ 57902 h 114"/>
              <a:gd name="T10" fmla="*/ 68262 w 88"/>
              <a:gd name="T11" fmla="*/ 57902 h 114"/>
              <a:gd name="T12" fmla="*/ 68262 w 88"/>
              <a:gd name="T13" fmla="*/ 42110 h 114"/>
              <a:gd name="T14" fmla="*/ 55075 w 88"/>
              <a:gd name="T15" fmla="*/ 42110 h 114"/>
              <a:gd name="T16" fmla="*/ 55075 w 88"/>
              <a:gd name="T17" fmla="*/ 0 h 114"/>
              <a:gd name="T18" fmla="*/ 14738 w 88"/>
              <a:gd name="T19" fmla="*/ 15791 h 114"/>
              <a:gd name="T20" fmla="*/ 0 w 88"/>
              <a:gd name="T21" fmla="*/ 42110 h 114"/>
              <a:gd name="T22" fmla="*/ 0 w 88"/>
              <a:gd name="T23" fmla="*/ 71061 h 114"/>
              <a:gd name="T24" fmla="*/ 14738 w 88"/>
              <a:gd name="T25" fmla="*/ 84221 h 114"/>
              <a:gd name="T26" fmla="*/ 14738 w 88"/>
              <a:gd name="T27" fmla="*/ 100012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chemeClr val="bg1"/>
          </a:solidFill>
          <a:ln w="9525">
            <a:solidFill>
              <a:schemeClr val="bg2"/>
            </a:solidFill>
            <a:round/>
            <a:headEnd/>
            <a:tailEnd/>
          </a:ln>
        </p:spPr>
        <p:txBody>
          <a:bodyPr/>
          <a:lstStyle/>
          <a:p>
            <a:endParaRPr lang="en-US" dirty="0"/>
          </a:p>
        </p:txBody>
      </p:sp>
      <p:sp>
        <p:nvSpPr>
          <p:cNvPr id="18704" name="Freeform 271"/>
          <p:cNvSpPr>
            <a:spLocks noChangeAspect="1"/>
          </p:cNvSpPr>
          <p:nvPr/>
        </p:nvSpPr>
        <p:spPr bwMode="auto">
          <a:xfrm>
            <a:off x="4354513" y="2509838"/>
            <a:ext cx="79375" cy="96837"/>
          </a:xfrm>
          <a:custGeom>
            <a:avLst/>
            <a:gdLst>
              <a:gd name="T0" fmla="*/ 52662 w 104"/>
              <a:gd name="T1" fmla="*/ 96837 h 111"/>
              <a:gd name="T2" fmla="*/ 52662 w 104"/>
              <a:gd name="T3" fmla="*/ 96837 h 111"/>
              <a:gd name="T4" fmla="*/ 52662 w 104"/>
              <a:gd name="T5" fmla="*/ 54962 h 111"/>
              <a:gd name="T6" fmla="*/ 66400 w 104"/>
              <a:gd name="T7" fmla="*/ 41875 h 111"/>
              <a:gd name="T8" fmla="*/ 79375 w 104"/>
              <a:gd name="T9" fmla="*/ 0 h 111"/>
              <a:gd name="T10" fmla="*/ 39688 w 104"/>
              <a:gd name="T11" fmla="*/ 13086 h 111"/>
              <a:gd name="T12" fmla="*/ 52662 w 104"/>
              <a:gd name="T13" fmla="*/ 41875 h 111"/>
              <a:gd name="T14" fmla="*/ 39688 w 104"/>
              <a:gd name="T15" fmla="*/ 41875 h 111"/>
              <a:gd name="T16" fmla="*/ 39688 w 104"/>
              <a:gd name="T17" fmla="*/ 27917 h 111"/>
              <a:gd name="T18" fmla="*/ 26713 w 104"/>
              <a:gd name="T19" fmla="*/ 27917 h 111"/>
              <a:gd name="T20" fmla="*/ 0 w 104"/>
              <a:gd name="T21" fmla="*/ 83751 h 111"/>
              <a:gd name="T22" fmla="*/ 39688 w 104"/>
              <a:gd name="T23" fmla="*/ 83751 h 111"/>
              <a:gd name="T24" fmla="*/ 52662 w 104"/>
              <a:gd name="T25" fmla="*/ 9683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noFill/>
          <a:ln w="9525">
            <a:solidFill>
              <a:schemeClr val="bg2"/>
            </a:solidFill>
            <a:prstDash val="solid"/>
            <a:round/>
            <a:headEnd/>
            <a:tailEnd/>
          </a:ln>
        </p:spPr>
        <p:txBody>
          <a:bodyPr/>
          <a:lstStyle/>
          <a:p>
            <a:endParaRPr lang="en-US" dirty="0"/>
          </a:p>
        </p:txBody>
      </p:sp>
      <p:sp>
        <p:nvSpPr>
          <p:cNvPr id="18705" name="Freeform 272"/>
          <p:cNvSpPr>
            <a:spLocks noChangeAspect="1"/>
          </p:cNvSpPr>
          <p:nvPr/>
        </p:nvSpPr>
        <p:spPr bwMode="auto">
          <a:xfrm>
            <a:off x="4337050" y="2593975"/>
            <a:ext cx="69850" cy="57150"/>
          </a:xfrm>
          <a:custGeom>
            <a:avLst/>
            <a:gdLst>
              <a:gd name="T0" fmla="*/ 56356 w 88"/>
              <a:gd name="T1" fmla="*/ 57150 h 63"/>
              <a:gd name="T2" fmla="*/ 56356 w 88"/>
              <a:gd name="T3" fmla="*/ 57150 h 63"/>
              <a:gd name="T4" fmla="*/ 42862 w 88"/>
              <a:gd name="T5" fmla="*/ 57150 h 63"/>
              <a:gd name="T6" fmla="*/ 42862 w 88"/>
              <a:gd name="T7" fmla="*/ 43543 h 63"/>
              <a:gd name="T8" fmla="*/ 28575 w 88"/>
              <a:gd name="T9" fmla="*/ 43543 h 63"/>
              <a:gd name="T10" fmla="*/ 28575 w 88"/>
              <a:gd name="T11" fmla="*/ 29029 h 63"/>
              <a:gd name="T12" fmla="*/ 0 w 88"/>
              <a:gd name="T13" fmla="*/ 13607 h 63"/>
              <a:gd name="T14" fmla="*/ 0 w 88"/>
              <a:gd name="T15" fmla="*/ 0 h 63"/>
              <a:gd name="T16" fmla="*/ 15081 w 88"/>
              <a:gd name="T17" fmla="*/ 0 h 63"/>
              <a:gd name="T18" fmla="*/ 56356 w 88"/>
              <a:gd name="T19" fmla="*/ 0 h 63"/>
              <a:gd name="T20" fmla="*/ 69850 w 88"/>
              <a:gd name="T21" fmla="*/ 13607 h 63"/>
              <a:gd name="T22" fmla="*/ 69850 w 88"/>
              <a:gd name="T23" fmla="*/ 43543 h 63"/>
              <a:gd name="T24" fmla="*/ 56356 w 88"/>
              <a:gd name="T25" fmla="*/ 43543 h 63"/>
              <a:gd name="T26" fmla="*/ 56356 w 88"/>
              <a:gd name="T27" fmla="*/ 57150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noFill/>
          <a:ln w="9525">
            <a:solidFill>
              <a:schemeClr val="bg2"/>
            </a:solidFill>
            <a:round/>
            <a:headEnd/>
            <a:tailEnd/>
          </a:ln>
        </p:spPr>
        <p:txBody>
          <a:bodyPr/>
          <a:lstStyle/>
          <a:p>
            <a:endParaRPr lang="en-US" dirty="0"/>
          </a:p>
        </p:txBody>
      </p:sp>
      <p:sp>
        <p:nvSpPr>
          <p:cNvPr id="18706" name="Freeform 273"/>
          <p:cNvSpPr>
            <a:spLocks noChangeAspect="1"/>
          </p:cNvSpPr>
          <p:nvPr/>
        </p:nvSpPr>
        <p:spPr bwMode="auto">
          <a:xfrm>
            <a:off x="4475163" y="2667000"/>
            <a:ext cx="166687" cy="84138"/>
          </a:xfrm>
          <a:custGeom>
            <a:avLst/>
            <a:gdLst>
              <a:gd name="T0" fmla="*/ 0 w 209"/>
              <a:gd name="T1" fmla="*/ 56092 h 96"/>
              <a:gd name="T2" fmla="*/ 0 w 209"/>
              <a:gd name="T3" fmla="*/ 56092 h 96"/>
              <a:gd name="T4" fmla="*/ 27117 w 209"/>
              <a:gd name="T5" fmla="*/ 56092 h 96"/>
              <a:gd name="T6" fmla="*/ 83742 w 209"/>
              <a:gd name="T7" fmla="*/ 42069 h 96"/>
              <a:gd name="T8" fmla="*/ 83742 w 209"/>
              <a:gd name="T9" fmla="*/ 27170 h 96"/>
              <a:gd name="T10" fmla="*/ 98098 w 209"/>
              <a:gd name="T11" fmla="*/ 14023 h 96"/>
              <a:gd name="T12" fmla="*/ 125215 w 209"/>
              <a:gd name="T13" fmla="*/ 14023 h 96"/>
              <a:gd name="T14" fmla="*/ 125215 w 209"/>
              <a:gd name="T15" fmla="*/ 0 h 96"/>
              <a:gd name="T16" fmla="*/ 166687 w 209"/>
              <a:gd name="T17" fmla="*/ 14023 h 96"/>
              <a:gd name="T18" fmla="*/ 166687 w 209"/>
              <a:gd name="T19" fmla="*/ 42069 h 96"/>
              <a:gd name="T20" fmla="*/ 153129 w 209"/>
              <a:gd name="T21" fmla="*/ 69239 h 96"/>
              <a:gd name="T22" fmla="*/ 98098 w 209"/>
              <a:gd name="T23" fmla="*/ 84138 h 96"/>
              <a:gd name="T24" fmla="*/ 70184 w 209"/>
              <a:gd name="T25" fmla="*/ 69239 h 96"/>
              <a:gd name="T26" fmla="*/ 27117 w 209"/>
              <a:gd name="T27" fmla="*/ 69239 h 96"/>
              <a:gd name="T28" fmla="*/ 13558 w 209"/>
              <a:gd name="T29" fmla="*/ 69239 h 96"/>
              <a:gd name="T30" fmla="*/ 0 w 209"/>
              <a:gd name="T31" fmla="*/ 56092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chemeClr val="bg1"/>
          </a:solidFill>
          <a:ln w="9525">
            <a:solidFill>
              <a:schemeClr val="bg2"/>
            </a:solidFill>
            <a:prstDash val="solid"/>
            <a:round/>
            <a:headEnd/>
            <a:tailEnd/>
          </a:ln>
        </p:spPr>
        <p:txBody>
          <a:bodyPr/>
          <a:lstStyle/>
          <a:p>
            <a:endParaRPr lang="en-US" dirty="0"/>
          </a:p>
        </p:txBody>
      </p:sp>
      <p:sp>
        <p:nvSpPr>
          <p:cNvPr id="18707" name="Freeform 274"/>
          <p:cNvSpPr>
            <a:spLocks noChangeAspect="1"/>
          </p:cNvSpPr>
          <p:nvPr/>
        </p:nvSpPr>
        <p:spPr bwMode="auto">
          <a:xfrm>
            <a:off x="4406900" y="2720975"/>
            <a:ext cx="98425" cy="57150"/>
          </a:xfrm>
          <a:custGeom>
            <a:avLst/>
            <a:gdLst>
              <a:gd name="T0" fmla="*/ 28007 w 123"/>
              <a:gd name="T1" fmla="*/ 57150 h 63"/>
              <a:gd name="T2" fmla="*/ 28007 w 123"/>
              <a:gd name="T3" fmla="*/ 57150 h 63"/>
              <a:gd name="T4" fmla="*/ 56814 w 123"/>
              <a:gd name="T5" fmla="*/ 43543 h 63"/>
              <a:gd name="T6" fmla="*/ 71218 w 123"/>
              <a:gd name="T7" fmla="*/ 43543 h 63"/>
              <a:gd name="T8" fmla="*/ 71218 w 123"/>
              <a:gd name="T9" fmla="*/ 29029 h 63"/>
              <a:gd name="T10" fmla="*/ 84822 w 123"/>
              <a:gd name="T11" fmla="*/ 43543 h 63"/>
              <a:gd name="T12" fmla="*/ 98425 w 123"/>
              <a:gd name="T13" fmla="*/ 13607 h 63"/>
              <a:gd name="T14" fmla="*/ 84822 w 123"/>
              <a:gd name="T15" fmla="*/ 13607 h 63"/>
              <a:gd name="T16" fmla="*/ 71218 w 123"/>
              <a:gd name="T17" fmla="*/ 0 h 63"/>
              <a:gd name="T18" fmla="*/ 28007 w 123"/>
              <a:gd name="T19" fmla="*/ 0 h 63"/>
              <a:gd name="T20" fmla="*/ 14404 w 123"/>
              <a:gd name="T21" fmla="*/ 0 h 63"/>
              <a:gd name="T22" fmla="*/ 0 w 123"/>
              <a:gd name="T23" fmla="*/ 29029 h 63"/>
              <a:gd name="T24" fmla="*/ 0 w 123"/>
              <a:gd name="T25" fmla="*/ 43543 h 63"/>
              <a:gd name="T26" fmla="*/ 14404 w 123"/>
              <a:gd name="T27" fmla="*/ 29029 h 63"/>
              <a:gd name="T28" fmla="*/ 14404 w 123"/>
              <a:gd name="T29" fmla="*/ 57150 h 63"/>
              <a:gd name="T30" fmla="*/ 28007 w 123"/>
              <a:gd name="T31" fmla="*/ 57150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noFill/>
          <a:ln w="9525">
            <a:solidFill>
              <a:schemeClr val="bg2"/>
            </a:solidFill>
            <a:round/>
            <a:headEnd/>
            <a:tailEnd/>
          </a:ln>
        </p:spPr>
        <p:txBody>
          <a:bodyPr/>
          <a:lstStyle/>
          <a:p>
            <a:endParaRPr lang="en-US" dirty="0"/>
          </a:p>
        </p:txBody>
      </p:sp>
      <p:sp>
        <p:nvSpPr>
          <p:cNvPr id="18708" name="Freeform 275"/>
          <p:cNvSpPr>
            <a:spLocks noChangeAspect="1"/>
          </p:cNvSpPr>
          <p:nvPr/>
        </p:nvSpPr>
        <p:spPr bwMode="auto">
          <a:xfrm>
            <a:off x="4122738" y="2311400"/>
            <a:ext cx="25400" cy="42863"/>
          </a:xfrm>
          <a:custGeom>
            <a:avLst/>
            <a:gdLst>
              <a:gd name="T0" fmla="*/ 0 w 33"/>
              <a:gd name="T1" fmla="*/ 42863 h 48"/>
              <a:gd name="T2" fmla="*/ 13855 w 33"/>
              <a:gd name="T3" fmla="*/ 16074 h 48"/>
              <a:gd name="T4" fmla="*/ 25400 w 33"/>
              <a:gd name="T5" fmla="*/ 0 h 48"/>
              <a:gd name="T6" fmla="*/ 0 w 33"/>
              <a:gd name="T7" fmla="*/ 16074 h 48"/>
              <a:gd name="T8" fmla="*/ 0 w 33"/>
              <a:gd name="T9" fmla="*/ 42863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chemeClr val="bg1"/>
          </a:solidFill>
          <a:ln w="9525">
            <a:solidFill>
              <a:schemeClr val="bg2"/>
            </a:solidFill>
            <a:prstDash val="solid"/>
            <a:round/>
            <a:headEnd/>
            <a:tailEnd/>
          </a:ln>
        </p:spPr>
        <p:txBody>
          <a:bodyPr/>
          <a:lstStyle/>
          <a:p>
            <a:endParaRPr lang="en-US" dirty="0"/>
          </a:p>
        </p:txBody>
      </p:sp>
      <p:sp>
        <p:nvSpPr>
          <p:cNvPr id="18709" name="Freeform 276"/>
          <p:cNvSpPr>
            <a:spLocks noChangeAspect="1"/>
          </p:cNvSpPr>
          <p:nvPr/>
        </p:nvSpPr>
        <p:spPr bwMode="auto">
          <a:xfrm>
            <a:off x="4243388" y="2225675"/>
            <a:ext cx="14287" cy="15875"/>
          </a:xfrm>
          <a:custGeom>
            <a:avLst/>
            <a:gdLst>
              <a:gd name="T0" fmla="*/ 0 w 17"/>
              <a:gd name="T1" fmla="*/ 15875 h 18"/>
              <a:gd name="T2" fmla="*/ 0 w 17"/>
              <a:gd name="T3" fmla="*/ 15875 h 18"/>
              <a:gd name="T4" fmla="*/ 14287 w 17"/>
              <a:gd name="T5" fmla="*/ 0 h 18"/>
              <a:gd name="T6" fmla="*/ 14287 w 17"/>
              <a:gd name="T7" fmla="*/ 15875 h 18"/>
              <a:gd name="T8" fmla="*/ 0 w 17"/>
              <a:gd name="T9" fmla="*/ 15875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chemeClr val="bg1"/>
          </a:solidFill>
          <a:ln w="9525">
            <a:solidFill>
              <a:schemeClr val="bg2"/>
            </a:solidFill>
            <a:prstDash val="solid"/>
            <a:round/>
            <a:headEnd/>
            <a:tailEnd/>
          </a:ln>
        </p:spPr>
        <p:txBody>
          <a:bodyPr/>
          <a:lstStyle/>
          <a:p>
            <a:endParaRPr lang="en-US" dirty="0"/>
          </a:p>
        </p:txBody>
      </p:sp>
      <p:sp>
        <p:nvSpPr>
          <p:cNvPr id="18710" name="Line 277"/>
          <p:cNvSpPr>
            <a:spLocks noChangeAspect="1" noChangeShapeType="1"/>
          </p:cNvSpPr>
          <p:nvPr/>
        </p:nvSpPr>
        <p:spPr bwMode="auto">
          <a:xfrm>
            <a:off x="4208463" y="2305050"/>
            <a:ext cx="14287" cy="14288"/>
          </a:xfrm>
          <a:prstGeom prst="line">
            <a:avLst/>
          </a:prstGeom>
          <a:noFill/>
          <a:ln w="9525">
            <a:solidFill>
              <a:schemeClr val="bg2"/>
            </a:solidFill>
            <a:round/>
            <a:headEnd/>
            <a:tailEnd/>
          </a:ln>
        </p:spPr>
        <p:txBody>
          <a:bodyPr/>
          <a:lstStyle/>
          <a:p>
            <a:endParaRPr lang="en-US" dirty="0"/>
          </a:p>
        </p:txBody>
      </p:sp>
      <p:sp>
        <p:nvSpPr>
          <p:cNvPr id="18711" name="Freeform 278"/>
          <p:cNvSpPr>
            <a:spLocks noChangeAspect="1"/>
          </p:cNvSpPr>
          <p:nvPr/>
        </p:nvSpPr>
        <p:spPr bwMode="auto">
          <a:xfrm>
            <a:off x="4406900" y="2454275"/>
            <a:ext cx="192088" cy="266700"/>
          </a:xfrm>
          <a:custGeom>
            <a:avLst/>
            <a:gdLst>
              <a:gd name="T0" fmla="*/ 110214 w 244"/>
              <a:gd name="T1" fmla="*/ 41369 h 303"/>
              <a:gd name="T2" fmla="*/ 110214 w 244"/>
              <a:gd name="T3" fmla="*/ 41369 h 303"/>
              <a:gd name="T4" fmla="*/ 165322 w 244"/>
              <a:gd name="T5" fmla="*/ 13203 h 303"/>
              <a:gd name="T6" fmla="*/ 165322 w 244"/>
              <a:gd name="T7" fmla="*/ 26406 h 303"/>
              <a:gd name="T8" fmla="*/ 151151 w 244"/>
              <a:gd name="T9" fmla="*/ 26406 h 303"/>
              <a:gd name="T10" fmla="*/ 178705 w 244"/>
              <a:gd name="T11" fmla="*/ 41369 h 303"/>
              <a:gd name="T12" fmla="*/ 192088 w 244"/>
              <a:gd name="T13" fmla="*/ 153154 h 303"/>
              <a:gd name="T14" fmla="*/ 178705 w 244"/>
              <a:gd name="T15" fmla="*/ 139951 h 303"/>
              <a:gd name="T16" fmla="*/ 151151 w 244"/>
              <a:gd name="T17" fmla="*/ 153154 h 303"/>
              <a:gd name="T18" fmla="*/ 124385 w 244"/>
              <a:gd name="T19" fmla="*/ 168118 h 303"/>
              <a:gd name="T20" fmla="*/ 137768 w 244"/>
              <a:gd name="T21" fmla="*/ 195404 h 303"/>
              <a:gd name="T22" fmla="*/ 165322 w 244"/>
              <a:gd name="T23" fmla="*/ 224450 h 303"/>
              <a:gd name="T24" fmla="*/ 151151 w 244"/>
              <a:gd name="T25" fmla="*/ 237653 h 303"/>
              <a:gd name="T26" fmla="*/ 151151 w 244"/>
              <a:gd name="T27" fmla="*/ 252617 h 303"/>
              <a:gd name="T28" fmla="*/ 96831 w 244"/>
              <a:gd name="T29" fmla="*/ 266700 h 303"/>
              <a:gd name="T30" fmla="*/ 70065 w 244"/>
              <a:gd name="T31" fmla="*/ 266700 h 303"/>
              <a:gd name="T32" fmla="*/ 27554 w 244"/>
              <a:gd name="T33" fmla="*/ 266700 h 303"/>
              <a:gd name="T34" fmla="*/ 42511 w 244"/>
              <a:gd name="T35" fmla="*/ 224450 h 303"/>
              <a:gd name="T36" fmla="*/ 0 w 244"/>
              <a:gd name="T37" fmla="*/ 195404 h 303"/>
              <a:gd name="T38" fmla="*/ 0 w 244"/>
              <a:gd name="T39" fmla="*/ 182201 h 303"/>
              <a:gd name="T40" fmla="*/ 0 w 244"/>
              <a:gd name="T41" fmla="*/ 153154 h 303"/>
              <a:gd name="T42" fmla="*/ 0 w 244"/>
              <a:gd name="T43" fmla="*/ 110905 h 303"/>
              <a:gd name="T44" fmla="*/ 14170 w 244"/>
              <a:gd name="T45" fmla="*/ 97702 h 303"/>
              <a:gd name="T46" fmla="*/ 27554 w 244"/>
              <a:gd name="T47" fmla="*/ 55452 h 303"/>
              <a:gd name="T48" fmla="*/ 55894 w 244"/>
              <a:gd name="T49" fmla="*/ 55452 h 303"/>
              <a:gd name="T50" fmla="*/ 70065 w 244"/>
              <a:gd name="T51" fmla="*/ 26406 h 303"/>
              <a:gd name="T52" fmla="*/ 55894 w 244"/>
              <a:gd name="T53" fmla="*/ 26406 h 303"/>
              <a:gd name="T54" fmla="*/ 70065 w 244"/>
              <a:gd name="T55" fmla="*/ 13203 h 303"/>
              <a:gd name="T56" fmla="*/ 55894 w 244"/>
              <a:gd name="T57" fmla="*/ 0 h 303"/>
              <a:gd name="T58" fmla="*/ 70065 w 244"/>
              <a:gd name="T59" fmla="*/ 0 h 303"/>
              <a:gd name="T60" fmla="*/ 83448 w 244"/>
              <a:gd name="T61" fmla="*/ 0 h 303"/>
              <a:gd name="T62" fmla="*/ 83448 w 244"/>
              <a:gd name="T63" fmla="*/ 13203 h 303"/>
              <a:gd name="T64" fmla="*/ 110214 w 244"/>
              <a:gd name="T65" fmla="*/ 26406 h 303"/>
              <a:gd name="T66" fmla="*/ 96831 w 244"/>
              <a:gd name="T67" fmla="*/ 41369 h 303"/>
              <a:gd name="T68" fmla="*/ 110214 w 244"/>
              <a:gd name="T69" fmla="*/ 41369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chemeClr val="bg1"/>
          </a:solidFill>
          <a:ln w="9525">
            <a:solidFill>
              <a:schemeClr val="bg2"/>
            </a:solidFill>
            <a:round/>
            <a:headEnd/>
            <a:tailEnd/>
          </a:ln>
        </p:spPr>
        <p:txBody>
          <a:bodyPr/>
          <a:lstStyle/>
          <a:p>
            <a:endParaRPr lang="en-US" dirty="0"/>
          </a:p>
        </p:txBody>
      </p:sp>
      <p:sp>
        <p:nvSpPr>
          <p:cNvPr id="18712" name="Freeform 279"/>
          <p:cNvSpPr>
            <a:spLocks noChangeAspect="1"/>
          </p:cNvSpPr>
          <p:nvPr/>
        </p:nvSpPr>
        <p:spPr bwMode="auto">
          <a:xfrm>
            <a:off x="4422775" y="2735263"/>
            <a:ext cx="258763" cy="271462"/>
          </a:xfrm>
          <a:custGeom>
            <a:avLst/>
            <a:gdLst>
              <a:gd name="T0" fmla="*/ 13330 w 330"/>
              <a:gd name="T1" fmla="*/ 100574 h 305"/>
              <a:gd name="T2" fmla="*/ 13330 w 330"/>
              <a:gd name="T3" fmla="*/ 100574 h 305"/>
              <a:gd name="T4" fmla="*/ 39991 w 330"/>
              <a:gd name="T5" fmla="*/ 85444 h 305"/>
              <a:gd name="T6" fmla="*/ 67435 w 330"/>
              <a:gd name="T7" fmla="*/ 100574 h 305"/>
              <a:gd name="T8" fmla="*/ 94096 w 330"/>
              <a:gd name="T9" fmla="*/ 143296 h 305"/>
              <a:gd name="T10" fmla="*/ 108210 w 330"/>
              <a:gd name="T11" fmla="*/ 143296 h 305"/>
              <a:gd name="T12" fmla="*/ 121540 w 330"/>
              <a:gd name="T13" fmla="*/ 170888 h 305"/>
              <a:gd name="T14" fmla="*/ 150553 w 330"/>
              <a:gd name="T15" fmla="*/ 186018 h 305"/>
              <a:gd name="T16" fmla="*/ 177213 w 330"/>
              <a:gd name="T17" fmla="*/ 213609 h 305"/>
              <a:gd name="T18" fmla="*/ 190544 w 330"/>
              <a:gd name="T19" fmla="*/ 213609 h 305"/>
              <a:gd name="T20" fmla="*/ 204658 w 330"/>
              <a:gd name="T21" fmla="*/ 256331 h 305"/>
              <a:gd name="T22" fmla="*/ 190544 w 330"/>
              <a:gd name="T23" fmla="*/ 271462 h 305"/>
              <a:gd name="T24" fmla="*/ 204658 w 330"/>
              <a:gd name="T25" fmla="*/ 271462 h 305"/>
              <a:gd name="T26" fmla="*/ 217988 w 330"/>
              <a:gd name="T27" fmla="*/ 256331 h 305"/>
              <a:gd name="T28" fmla="*/ 217988 w 330"/>
              <a:gd name="T29" fmla="*/ 242981 h 305"/>
              <a:gd name="T30" fmla="*/ 217988 w 330"/>
              <a:gd name="T31" fmla="*/ 228740 h 305"/>
              <a:gd name="T32" fmla="*/ 217988 w 330"/>
              <a:gd name="T33" fmla="*/ 200259 h 305"/>
              <a:gd name="T34" fmla="*/ 244649 w 330"/>
              <a:gd name="T35" fmla="*/ 228740 h 305"/>
              <a:gd name="T36" fmla="*/ 258763 w 330"/>
              <a:gd name="T37" fmla="*/ 213609 h 305"/>
              <a:gd name="T38" fmla="*/ 190544 w 330"/>
              <a:gd name="T39" fmla="*/ 170888 h 305"/>
              <a:gd name="T40" fmla="*/ 204658 w 330"/>
              <a:gd name="T41" fmla="*/ 157537 h 305"/>
              <a:gd name="T42" fmla="*/ 190544 w 330"/>
              <a:gd name="T43" fmla="*/ 157537 h 305"/>
              <a:gd name="T44" fmla="*/ 163883 w 330"/>
              <a:gd name="T45" fmla="*/ 143296 h 305"/>
              <a:gd name="T46" fmla="*/ 150553 w 330"/>
              <a:gd name="T47" fmla="*/ 114815 h 305"/>
              <a:gd name="T48" fmla="*/ 121540 w 330"/>
              <a:gd name="T49" fmla="*/ 85444 h 305"/>
              <a:gd name="T50" fmla="*/ 121540 w 330"/>
              <a:gd name="T51" fmla="*/ 42722 h 305"/>
              <a:gd name="T52" fmla="*/ 136439 w 330"/>
              <a:gd name="T53" fmla="*/ 42722 h 305"/>
              <a:gd name="T54" fmla="*/ 150553 w 330"/>
              <a:gd name="T55" fmla="*/ 42722 h 305"/>
              <a:gd name="T56" fmla="*/ 150553 w 330"/>
              <a:gd name="T57" fmla="*/ 29371 h 305"/>
              <a:gd name="T58" fmla="*/ 150553 w 330"/>
              <a:gd name="T59" fmla="*/ 15131 h 305"/>
              <a:gd name="T60" fmla="*/ 121540 w 330"/>
              <a:gd name="T61" fmla="*/ 0 h 305"/>
              <a:gd name="T62" fmla="*/ 80765 w 330"/>
              <a:gd name="T63" fmla="*/ 0 h 305"/>
              <a:gd name="T64" fmla="*/ 67435 w 330"/>
              <a:gd name="T65" fmla="*/ 29371 h 305"/>
              <a:gd name="T66" fmla="*/ 54105 w 330"/>
              <a:gd name="T67" fmla="*/ 15131 h 305"/>
              <a:gd name="T68" fmla="*/ 54105 w 330"/>
              <a:gd name="T69" fmla="*/ 29371 h 305"/>
              <a:gd name="T70" fmla="*/ 39991 w 330"/>
              <a:gd name="T71" fmla="*/ 29371 h 305"/>
              <a:gd name="T72" fmla="*/ 13330 w 330"/>
              <a:gd name="T73" fmla="*/ 42722 h 305"/>
              <a:gd name="T74" fmla="*/ 0 w 330"/>
              <a:gd name="T75" fmla="*/ 42722 h 305"/>
              <a:gd name="T76" fmla="*/ 0 w 330"/>
              <a:gd name="T77" fmla="*/ 72093 h 305"/>
              <a:gd name="T78" fmla="*/ 13330 w 330"/>
              <a:gd name="T79" fmla="*/ 10057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chemeClr val="bg1"/>
          </a:solidFill>
          <a:ln w="9525">
            <a:solidFill>
              <a:schemeClr val="bg2"/>
            </a:solidFill>
            <a:round/>
            <a:headEnd/>
            <a:tailEnd/>
          </a:ln>
        </p:spPr>
        <p:txBody>
          <a:bodyPr/>
          <a:lstStyle/>
          <a:p>
            <a:endParaRPr lang="en-US" dirty="0"/>
          </a:p>
        </p:txBody>
      </p:sp>
      <p:sp>
        <p:nvSpPr>
          <p:cNvPr id="18713" name="Freeform 280"/>
          <p:cNvSpPr>
            <a:spLocks noChangeAspect="1"/>
          </p:cNvSpPr>
          <p:nvPr/>
        </p:nvSpPr>
        <p:spPr bwMode="auto">
          <a:xfrm>
            <a:off x="4394200" y="2636838"/>
            <a:ext cx="12700" cy="14287"/>
          </a:xfrm>
          <a:custGeom>
            <a:avLst/>
            <a:gdLst>
              <a:gd name="T0" fmla="*/ 0 w 17"/>
              <a:gd name="T1" fmla="*/ 14287 h 15"/>
              <a:gd name="T2" fmla="*/ 0 w 17"/>
              <a:gd name="T3" fmla="*/ 14287 h 15"/>
              <a:gd name="T4" fmla="*/ 0 w 17"/>
              <a:gd name="T5" fmla="*/ 0 h 15"/>
              <a:gd name="T6" fmla="*/ 12700 w 17"/>
              <a:gd name="T7" fmla="*/ 0 h 15"/>
              <a:gd name="T8" fmla="*/ 12700 w 17"/>
              <a:gd name="T9" fmla="*/ 14287 h 15"/>
              <a:gd name="T10" fmla="*/ 0 w 17"/>
              <a:gd name="T11" fmla="*/ 142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noFill/>
          <a:ln w="9525">
            <a:solidFill>
              <a:schemeClr val="bg2"/>
            </a:solidFill>
            <a:prstDash val="solid"/>
            <a:round/>
            <a:headEnd/>
            <a:tailEnd/>
          </a:ln>
        </p:spPr>
        <p:txBody>
          <a:bodyPr/>
          <a:lstStyle/>
          <a:p>
            <a:endParaRPr lang="en-US" dirty="0"/>
          </a:p>
        </p:txBody>
      </p:sp>
      <p:sp>
        <p:nvSpPr>
          <p:cNvPr id="18714" name="Freeform 281"/>
          <p:cNvSpPr>
            <a:spLocks noChangeAspect="1"/>
          </p:cNvSpPr>
          <p:nvPr/>
        </p:nvSpPr>
        <p:spPr bwMode="auto">
          <a:xfrm>
            <a:off x="4575175" y="2735263"/>
            <a:ext cx="55563" cy="42862"/>
          </a:xfrm>
          <a:custGeom>
            <a:avLst/>
            <a:gdLst>
              <a:gd name="T0" fmla="*/ 55563 w 70"/>
              <a:gd name="T1" fmla="*/ 15180 h 48"/>
              <a:gd name="T2" fmla="*/ 55563 w 70"/>
              <a:gd name="T3" fmla="*/ 15180 h 48"/>
              <a:gd name="T4" fmla="*/ 41275 w 70"/>
              <a:gd name="T5" fmla="*/ 15180 h 48"/>
              <a:gd name="T6" fmla="*/ 27782 w 70"/>
              <a:gd name="T7" fmla="*/ 42862 h 48"/>
              <a:gd name="T8" fmla="*/ 14288 w 70"/>
              <a:gd name="T9" fmla="*/ 42862 h 48"/>
              <a:gd name="T10" fmla="*/ 0 w 70"/>
              <a:gd name="T11" fmla="*/ 42862 h 48"/>
              <a:gd name="T12" fmla="*/ 0 w 70"/>
              <a:gd name="T13" fmla="*/ 29468 h 48"/>
              <a:gd name="T14" fmla="*/ 0 w 70"/>
              <a:gd name="T15" fmla="*/ 15180 h 48"/>
              <a:gd name="T16" fmla="*/ 55563 w 70"/>
              <a:gd name="T17" fmla="*/ 0 h 48"/>
              <a:gd name="T18" fmla="*/ 55563 w 70"/>
              <a:gd name="T19" fmla="*/ 1518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chemeClr val="bg1"/>
          </a:solidFill>
          <a:ln w="9525">
            <a:solidFill>
              <a:schemeClr val="bg2"/>
            </a:solidFill>
            <a:prstDash val="solid"/>
            <a:round/>
            <a:headEnd/>
            <a:tailEnd/>
          </a:ln>
        </p:spPr>
        <p:txBody>
          <a:bodyPr/>
          <a:lstStyle/>
          <a:p>
            <a:endParaRPr lang="en-US" dirty="0"/>
          </a:p>
        </p:txBody>
      </p:sp>
      <p:sp>
        <p:nvSpPr>
          <p:cNvPr id="18715" name="Freeform 282"/>
          <p:cNvSpPr>
            <a:spLocks noChangeAspect="1"/>
          </p:cNvSpPr>
          <p:nvPr/>
        </p:nvSpPr>
        <p:spPr bwMode="auto">
          <a:xfrm>
            <a:off x="4725988" y="1704975"/>
            <a:ext cx="231775" cy="536575"/>
          </a:xfrm>
          <a:custGeom>
            <a:avLst/>
            <a:gdLst>
              <a:gd name="T0" fmla="*/ 177379 w 294"/>
              <a:gd name="T1" fmla="*/ 71367 h 609"/>
              <a:gd name="T2" fmla="*/ 177379 w 294"/>
              <a:gd name="T3" fmla="*/ 71367 h 609"/>
              <a:gd name="T4" fmla="*/ 177379 w 294"/>
              <a:gd name="T5" fmla="*/ 113659 h 609"/>
              <a:gd name="T6" fmla="*/ 204971 w 294"/>
              <a:gd name="T7" fmla="*/ 140972 h 609"/>
              <a:gd name="T8" fmla="*/ 190781 w 294"/>
              <a:gd name="T9" fmla="*/ 183264 h 609"/>
              <a:gd name="T10" fmla="*/ 204971 w 294"/>
              <a:gd name="T11" fmla="*/ 253750 h 609"/>
              <a:gd name="T12" fmla="*/ 190781 w 294"/>
              <a:gd name="T13" fmla="*/ 296041 h 609"/>
              <a:gd name="T14" fmla="*/ 218373 w 294"/>
              <a:gd name="T15" fmla="*/ 338333 h 609"/>
              <a:gd name="T16" fmla="*/ 204971 w 294"/>
              <a:gd name="T17" fmla="*/ 367408 h 609"/>
              <a:gd name="T18" fmla="*/ 231775 w 294"/>
              <a:gd name="T19" fmla="*/ 393841 h 609"/>
              <a:gd name="T20" fmla="*/ 231775 w 294"/>
              <a:gd name="T21" fmla="*/ 409700 h 609"/>
              <a:gd name="T22" fmla="*/ 190781 w 294"/>
              <a:gd name="T23" fmla="*/ 478424 h 609"/>
              <a:gd name="T24" fmla="*/ 150575 w 294"/>
              <a:gd name="T25" fmla="*/ 507500 h 609"/>
              <a:gd name="T26" fmla="*/ 136385 w 294"/>
              <a:gd name="T27" fmla="*/ 507500 h 609"/>
              <a:gd name="T28" fmla="*/ 68586 w 294"/>
              <a:gd name="T29" fmla="*/ 536575 h 609"/>
              <a:gd name="T30" fmla="*/ 14190 w 294"/>
              <a:gd name="T31" fmla="*/ 507500 h 609"/>
              <a:gd name="T32" fmla="*/ 27592 w 294"/>
              <a:gd name="T33" fmla="*/ 465208 h 609"/>
              <a:gd name="T34" fmla="*/ 14190 w 294"/>
              <a:gd name="T35" fmla="*/ 422916 h 609"/>
              <a:gd name="T36" fmla="*/ 27592 w 294"/>
              <a:gd name="T37" fmla="*/ 393841 h 609"/>
              <a:gd name="T38" fmla="*/ 81988 w 294"/>
              <a:gd name="T39" fmla="*/ 310139 h 609"/>
              <a:gd name="T40" fmla="*/ 95390 w 294"/>
              <a:gd name="T41" fmla="*/ 296041 h 609"/>
              <a:gd name="T42" fmla="*/ 95390 w 294"/>
              <a:gd name="T43" fmla="*/ 267847 h 609"/>
              <a:gd name="T44" fmla="*/ 81988 w 294"/>
              <a:gd name="T45" fmla="*/ 253750 h 609"/>
              <a:gd name="T46" fmla="*/ 68586 w 294"/>
              <a:gd name="T47" fmla="*/ 253750 h 609"/>
              <a:gd name="T48" fmla="*/ 55185 w 294"/>
              <a:gd name="T49" fmla="*/ 126875 h 609"/>
              <a:gd name="T50" fmla="*/ 0 w 294"/>
              <a:gd name="T51" fmla="*/ 71367 h 609"/>
              <a:gd name="T52" fmla="*/ 14190 w 294"/>
              <a:gd name="T53" fmla="*/ 56389 h 609"/>
              <a:gd name="T54" fmla="*/ 40994 w 294"/>
              <a:gd name="T55" fmla="*/ 84583 h 609"/>
              <a:gd name="T56" fmla="*/ 55185 w 294"/>
              <a:gd name="T57" fmla="*/ 84583 h 609"/>
              <a:gd name="T58" fmla="*/ 68586 w 294"/>
              <a:gd name="T59" fmla="*/ 84583 h 609"/>
              <a:gd name="T60" fmla="*/ 95390 w 294"/>
              <a:gd name="T61" fmla="*/ 84583 h 609"/>
              <a:gd name="T62" fmla="*/ 109581 w 294"/>
              <a:gd name="T63" fmla="*/ 71367 h 609"/>
              <a:gd name="T64" fmla="*/ 122983 w 294"/>
              <a:gd name="T65" fmla="*/ 14097 h 609"/>
              <a:gd name="T66" fmla="*/ 150575 w 294"/>
              <a:gd name="T67" fmla="*/ 0 h 609"/>
              <a:gd name="T68" fmla="*/ 190781 w 294"/>
              <a:gd name="T69" fmla="*/ 29075 h 609"/>
              <a:gd name="T70" fmla="*/ 177379 w 294"/>
              <a:gd name="T71" fmla="*/ 71367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chemeClr val="bg1"/>
          </a:solidFill>
          <a:ln w="9525">
            <a:solidFill>
              <a:schemeClr val="bg2"/>
            </a:solidFill>
            <a:round/>
            <a:headEnd/>
            <a:tailEnd/>
          </a:ln>
        </p:spPr>
        <p:txBody>
          <a:bodyPr/>
          <a:lstStyle/>
          <a:p>
            <a:endParaRPr lang="en-US" dirty="0"/>
          </a:p>
        </p:txBody>
      </p:sp>
      <p:sp>
        <p:nvSpPr>
          <p:cNvPr id="18716" name="Freeform 283"/>
          <p:cNvSpPr>
            <a:spLocks noChangeAspect="1"/>
          </p:cNvSpPr>
          <p:nvPr/>
        </p:nvSpPr>
        <p:spPr bwMode="auto">
          <a:xfrm>
            <a:off x="4381500" y="1633538"/>
            <a:ext cx="576263" cy="693737"/>
          </a:xfrm>
          <a:custGeom>
            <a:avLst/>
            <a:gdLst>
              <a:gd name="T0" fmla="*/ 135963 w 729"/>
              <a:gd name="T1" fmla="*/ 664574 h 785"/>
              <a:gd name="T2" fmla="*/ 122525 w 729"/>
              <a:gd name="T3" fmla="*/ 635410 h 785"/>
              <a:gd name="T4" fmla="*/ 109087 w 729"/>
              <a:gd name="T5" fmla="*/ 651317 h 785"/>
              <a:gd name="T6" fmla="*/ 41105 w 729"/>
              <a:gd name="T7" fmla="*/ 693737 h 785"/>
              <a:gd name="T8" fmla="*/ 26876 w 729"/>
              <a:gd name="T9" fmla="*/ 635410 h 785"/>
              <a:gd name="T10" fmla="*/ 13438 w 729"/>
              <a:gd name="T11" fmla="*/ 635410 h 785"/>
              <a:gd name="T12" fmla="*/ 13438 w 729"/>
              <a:gd name="T13" fmla="*/ 592991 h 785"/>
              <a:gd name="T14" fmla="*/ 13438 w 729"/>
              <a:gd name="T15" fmla="*/ 537315 h 785"/>
              <a:gd name="T16" fmla="*/ 54543 w 729"/>
              <a:gd name="T17" fmla="*/ 481639 h 785"/>
              <a:gd name="T18" fmla="*/ 95649 w 729"/>
              <a:gd name="T19" fmla="*/ 439219 h 785"/>
              <a:gd name="T20" fmla="*/ 135963 w 729"/>
              <a:gd name="T21" fmla="*/ 381776 h 785"/>
              <a:gd name="T22" fmla="*/ 191297 w 729"/>
              <a:gd name="T23" fmla="*/ 282797 h 785"/>
              <a:gd name="T24" fmla="*/ 245841 w 729"/>
              <a:gd name="T25" fmla="*/ 184702 h 785"/>
              <a:gd name="T26" fmla="*/ 177068 w 729"/>
              <a:gd name="T27" fmla="*/ 212098 h 785"/>
              <a:gd name="T28" fmla="*/ 218174 w 729"/>
              <a:gd name="T29" fmla="*/ 184702 h 785"/>
              <a:gd name="T30" fmla="*/ 245841 w 729"/>
              <a:gd name="T31" fmla="*/ 127259 h 785"/>
              <a:gd name="T32" fmla="*/ 259279 w 729"/>
              <a:gd name="T33" fmla="*/ 142282 h 785"/>
              <a:gd name="T34" fmla="*/ 274298 w 729"/>
              <a:gd name="T35" fmla="*/ 142282 h 785"/>
              <a:gd name="T36" fmla="*/ 259279 w 729"/>
              <a:gd name="T37" fmla="*/ 113119 h 785"/>
              <a:gd name="T38" fmla="*/ 301965 w 729"/>
              <a:gd name="T39" fmla="*/ 70699 h 785"/>
              <a:gd name="T40" fmla="*/ 356508 w 729"/>
              <a:gd name="T41" fmla="*/ 57443 h 785"/>
              <a:gd name="T42" fmla="*/ 424490 w 729"/>
              <a:gd name="T43" fmla="*/ 28280 h 785"/>
              <a:gd name="T44" fmla="*/ 452157 w 729"/>
              <a:gd name="T45" fmla="*/ 0 h 785"/>
              <a:gd name="T46" fmla="*/ 465595 w 729"/>
              <a:gd name="T47" fmla="*/ 15024 h 785"/>
              <a:gd name="T48" fmla="*/ 493262 w 729"/>
              <a:gd name="T49" fmla="*/ 0 h 785"/>
              <a:gd name="T50" fmla="*/ 576263 w 729"/>
              <a:gd name="T51" fmla="*/ 57443 h 785"/>
              <a:gd name="T52" fmla="*/ 520139 w 729"/>
              <a:gd name="T53" fmla="*/ 70699 h 785"/>
              <a:gd name="T54" fmla="*/ 562825 w 729"/>
              <a:gd name="T55" fmla="*/ 99863 h 785"/>
              <a:gd name="T56" fmla="*/ 549387 w 729"/>
              <a:gd name="T57" fmla="*/ 113119 h 785"/>
              <a:gd name="T58" fmla="*/ 535158 w 729"/>
              <a:gd name="T59" fmla="*/ 99863 h 785"/>
              <a:gd name="T60" fmla="*/ 465595 w 729"/>
              <a:gd name="T61" fmla="*/ 84839 h 785"/>
              <a:gd name="T62" fmla="*/ 438719 w 729"/>
              <a:gd name="T63" fmla="*/ 155538 h 785"/>
              <a:gd name="T64" fmla="*/ 397614 w 729"/>
              <a:gd name="T65" fmla="*/ 155538 h 785"/>
              <a:gd name="T66" fmla="*/ 356508 w 729"/>
              <a:gd name="T67" fmla="*/ 127259 h 785"/>
              <a:gd name="T68" fmla="*/ 328841 w 729"/>
              <a:gd name="T69" fmla="*/ 142282 h 785"/>
              <a:gd name="T70" fmla="*/ 301965 w 729"/>
              <a:gd name="T71" fmla="*/ 169678 h 785"/>
              <a:gd name="T72" fmla="*/ 287736 w 729"/>
              <a:gd name="T73" fmla="*/ 197958 h 785"/>
              <a:gd name="T74" fmla="*/ 259279 w 729"/>
              <a:gd name="T75" fmla="*/ 212098 h 785"/>
              <a:gd name="T76" fmla="*/ 245841 w 729"/>
              <a:gd name="T77" fmla="*/ 254518 h 785"/>
              <a:gd name="T78" fmla="*/ 218174 w 729"/>
              <a:gd name="T79" fmla="*/ 311961 h 785"/>
              <a:gd name="T80" fmla="*/ 191297 w 729"/>
              <a:gd name="T81" fmla="*/ 381776 h 785"/>
              <a:gd name="T82" fmla="*/ 177068 w 729"/>
              <a:gd name="T83" fmla="*/ 423312 h 785"/>
              <a:gd name="T84" fmla="*/ 150192 w 729"/>
              <a:gd name="T85" fmla="*/ 494895 h 785"/>
              <a:gd name="T86" fmla="*/ 163630 w 729"/>
              <a:gd name="T87" fmla="*/ 566478 h 785"/>
              <a:gd name="T88" fmla="*/ 150192 w 729"/>
              <a:gd name="T89" fmla="*/ 622154 h 785"/>
              <a:gd name="T90" fmla="*/ 135963 w 729"/>
              <a:gd name="T91" fmla="*/ 664574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chemeClr val="bg1"/>
          </a:solidFill>
          <a:ln w="9525">
            <a:solidFill>
              <a:schemeClr val="bg2"/>
            </a:solidFill>
            <a:round/>
            <a:headEnd/>
            <a:tailEnd/>
          </a:ln>
        </p:spPr>
        <p:txBody>
          <a:bodyPr/>
          <a:lstStyle/>
          <a:p>
            <a:endParaRPr lang="en-US" dirty="0"/>
          </a:p>
        </p:txBody>
      </p:sp>
      <p:sp>
        <p:nvSpPr>
          <p:cNvPr id="18717" name="Freeform 284"/>
          <p:cNvSpPr>
            <a:spLocks noChangeAspect="1"/>
          </p:cNvSpPr>
          <p:nvPr/>
        </p:nvSpPr>
        <p:spPr bwMode="auto">
          <a:xfrm>
            <a:off x="4518025" y="1776413"/>
            <a:ext cx="274638" cy="661987"/>
          </a:xfrm>
          <a:custGeom>
            <a:avLst/>
            <a:gdLst>
              <a:gd name="T0" fmla="*/ 0 w 346"/>
              <a:gd name="T1" fmla="*/ 521646 h 750"/>
              <a:gd name="T2" fmla="*/ 0 w 346"/>
              <a:gd name="T3" fmla="*/ 521646 h 750"/>
              <a:gd name="T4" fmla="*/ 14288 w 346"/>
              <a:gd name="T5" fmla="*/ 521646 h 750"/>
              <a:gd name="T6" fmla="*/ 14288 w 346"/>
              <a:gd name="T7" fmla="*/ 479279 h 750"/>
              <a:gd name="T8" fmla="*/ 27781 w 346"/>
              <a:gd name="T9" fmla="*/ 466039 h 750"/>
              <a:gd name="T10" fmla="*/ 27781 w 346"/>
              <a:gd name="T11" fmla="*/ 423672 h 750"/>
              <a:gd name="T12" fmla="*/ 27781 w 346"/>
              <a:gd name="T13" fmla="*/ 407784 h 750"/>
              <a:gd name="T14" fmla="*/ 14288 w 346"/>
              <a:gd name="T15" fmla="*/ 352177 h 750"/>
              <a:gd name="T16" fmla="*/ 27781 w 346"/>
              <a:gd name="T17" fmla="*/ 296570 h 750"/>
              <a:gd name="T18" fmla="*/ 41275 w 346"/>
              <a:gd name="T19" fmla="*/ 280683 h 750"/>
              <a:gd name="T20" fmla="*/ 69056 w 346"/>
              <a:gd name="T21" fmla="*/ 267443 h 750"/>
              <a:gd name="T22" fmla="*/ 55563 w 346"/>
              <a:gd name="T23" fmla="*/ 239198 h 750"/>
              <a:gd name="T24" fmla="*/ 69056 w 346"/>
              <a:gd name="T25" fmla="*/ 211836 h 750"/>
              <a:gd name="T26" fmla="*/ 82550 w 346"/>
              <a:gd name="T27" fmla="*/ 169469 h 750"/>
              <a:gd name="T28" fmla="*/ 110331 w 346"/>
              <a:gd name="T29" fmla="*/ 127102 h 750"/>
              <a:gd name="T30" fmla="*/ 110331 w 346"/>
              <a:gd name="T31" fmla="*/ 112096 h 750"/>
              <a:gd name="T32" fmla="*/ 110331 w 346"/>
              <a:gd name="T33" fmla="*/ 97974 h 750"/>
              <a:gd name="T34" fmla="*/ 123825 w 346"/>
              <a:gd name="T35" fmla="*/ 69729 h 750"/>
              <a:gd name="T36" fmla="*/ 137319 w 346"/>
              <a:gd name="T37" fmla="*/ 55607 h 750"/>
              <a:gd name="T38" fmla="*/ 150813 w 346"/>
              <a:gd name="T39" fmla="*/ 55607 h 750"/>
              <a:gd name="T40" fmla="*/ 150813 w 346"/>
              <a:gd name="T41" fmla="*/ 27362 h 750"/>
              <a:gd name="T42" fmla="*/ 165100 w 346"/>
              <a:gd name="T43" fmla="*/ 27362 h 750"/>
              <a:gd name="T44" fmla="*/ 192088 w 346"/>
              <a:gd name="T45" fmla="*/ 27362 h 750"/>
              <a:gd name="T46" fmla="*/ 192088 w 346"/>
              <a:gd name="T47" fmla="*/ 0 h 750"/>
              <a:gd name="T48" fmla="*/ 206375 w 346"/>
              <a:gd name="T49" fmla="*/ 0 h 750"/>
              <a:gd name="T50" fmla="*/ 261144 w 346"/>
              <a:gd name="T51" fmla="*/ 55607 h 750"/>
              <a:gd name="T52" fmla="*/ 274638 w 346"/>
              <a:gd name="T53" fmla="*/ 182708 h 750"/>
              <a:gd name="T54" fmla="*/ 246857 w 346"/>
              <a:gd name="T55" fmla="*/ 182708 h 750"/>
              <a:gd name="T56" fmla="*/ 219869 w 346"/>
              <a:gd name="T57" fmla="*/ 211836 h 750"/>
              <a:gd name="T58" fmla="*/ 219869 w 346"/>
              <a:gd name="T59" fmla="*/ 225076 h 750"/>
              <a:gd name="T60" fmla="*/ 219869 w 346"/>
              <a:gd name="T61" fmla="*/ 239198 h 750"/>
              <a:gd name="T62" fmla="*/ 233363 w 346"/>
              <a:gd name="T63" fmla="*/ 254203 h 750"/>
              <a:gd name="T64" fmla="*/ 206375 w 346"/>
              <a:gd name="T65" fmla="*/ 280683 h 750"/>
              <a:gd name="T66" fmla="*/ 165100 w 346"/>
              <a:gd name="T67" fmla="*/ 323050 h 750"/>
              <a:gd name="T68" fmla="*/ 137319 w 346"/>
              <a:gd name="T69" fmla="*/ 365417 h 750"/>
              <a:gd name="T70" fmla="*/ 137319 w 346"/>
              <a:gd name="T71" fmla="*/ 436911 h 750"/>
              <a:gd name="T72" fmla="*/ 165100 w 346"/>
              <a:gd name="T73" fmla="*/ 479279 h 750"/>
              <a:gd name="T74" fmla="*/ 150813 w 346"/>
              <a:gd name="T75" fmla="*/ 492518 h 750"/>
              <a:gd name="T76" fmla="*/ 150813 w 346"/>
              <a:gd name="T77" fmla="*/ 508406 h 750"/>
              <a:gd name="T78" fmla="*/ 123825 w 346"/>
              <a:gd name="T79" fmla="*/ 534886 h 750"/>
              <a:gd name="T80" fmla="*/ 110331 w 346"/>
              <a:gd name="T81" fmla="*/ 635508 h 750"/>
              <a:gd name="T82" fmla="*/ 82550 w 346"/>
              <a:gd name="T83" fmla="*/ 635508 h 750"/>
              <a:gd name="T84" fmla="*/ 69056 w 346"/>
              <a:gd name="T85" fmla="*/ 648747 h 750"/>
              <a:gd name="T86" fmla="*/ 69056 w 346"/>
              <a:gd name="T87" fmla="*/ 661987 h 750"/>
              <a:gd name="T88" fmla="*/ 41275 w 346"/>
              <a:gd name="T89" fmla="*/ 661987 h 750"/>
              <a:gd name="T90" fmla="*/ 27781 w 346"/>
              <a:gd name="T91" fmla="*/ 635508 h 750"/>
              <a:gd name="T92" fmla="*/ 41275 w 346"/>
              <a:gd name="T93" fmla="*/ 619620 h 750"/>
              <a:gd name="T94" fmla="*/ 27781 w 346"/>
              <a:gd name="T95" fmla="*/ 606380 h 750"/>
              <a:gd name="T96" fmla="*/ 0 w 346"/>
              <a:gd name="T97" fmla="*/ 521646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chemeClr val="bg1"/>
          </a:solidFill>
          <a:ln w="9525">
            <a:solidFill>
              <a:schemeClr val="bg2"/>
            </a:solidFill>
            <a:round/>
            <a:headEnd/>
            <a:tailEnd/>
          </a:ln>
        </p:spPr>
        <p:txBody>
          <a:bodyPr/>
          <a:lstStyle/>
          <a:p>
            <a:endParaRPr lang="en-US" dirty="0"/>
          </a:p>
        </p:txBody>
      </p:sp>
      <p:sp>
        <p:nvSpPr>
          <p:cNvPr id="18718" name="Freeform 285"/>
          <p:cNvSpPr>
            <a:spLocks noChangeAspect="1"/>
          </p:cNvSpPr>
          <p:nvPr/>
        </p:nvSpPr>
        <p:spPr bwMode="auto">
          <a:xfrm>
            <a:off x="4532313" y="4305300"/>
            <a:ext cx="287337" cy="282575"/>
          </a:xfrm>
          <a:custGeom>
            <a:avLst/>
            <a:gdLst>
              <a:gd name="T0" fmla="*/ 96044 w 362"/>
              <a:gd name="T1" fmla="*/ 282575 h 320"/>
              <a:gd name="T2" fmla="*/ 96044 w 362"/>
              <a:gd name="T3" fmla="*/ 282575 h 320"/>
              <a:gd name="T4" fmla="*/ 81756 w 362"/>
              <a:gd name="T5" fmla="*/ 254318 h 320"/>
              <a:gd name="T6" fmla="*/ 54769 w 362"/>
              <a:gd name="T7" fmla="*/ 169545 h 320"/>
              <a:gd name="T8" fmla="*/ 54769 w 362"/>
              <a:gd name="T9" fmla="*/ 127159 h 320"/>
              <a:gd name="T10" fmla="*/ 0 w 362"/>
              <a:gd name="T11" fmla="*/ 15012 h 320"/>
              <a:gd name="T12" fmla="*/ 0 w 362"/>
              <a:gd name="T13" fmla="*/ 0 h 320"/>
              <a:gd name="T14" fmla="*/ 26987 w 362"/>
              <a:gd name="T15" fmla="*/ 0 h 320"/>
              <a:gd name="T16" fmla="*/ 54769 w 362"/>
              <a:gd name="T17" fmla="*/ 0 h 320"/>
              <a:gd name="T18" fmla="*/ 136525 w 362"/>
              <a:gd name="T19" fmla="*/ 15012 h 320"/>
              <a:gd name="T20" fmla="*/ 164306 w 362"/>
              <a:gd name="T21" fmla="*/ 15012 h 320"/>
              <a:gd name="T22" fmla="*/ 219075 w 362"/>
              <a:gd name="T23" fmla="*/ 29141 h 320"/>
              <a:gd name="T24" fmla="*/ 246856 w 362"/>
              <a:gd name="T25" fmla="*/ 15012 h 320"/>
              <a:gd name="T26" fmla="*/ 260350 w 362"/>
              <a:gd name="T27" fmla="*/ 0 h 320"/>
              <a:gd name="T28" fmla="*/ 287337 w 362"/>
              <a:gd name="T29" fmla="*/ 15012 h 320"/>
              <a:gd name="T30" fmla="*/ 260350 w 362"/>
              <a:gd name="T31" fmla="*/ 42386 h 320"/>
              <a:gd name="T32" fmla="*/ 246856 w 362"/>
              <a:gd name="T33" fmla="*/ 29141 h 320"/>
              <a:gd name="T34" fmla="*/ 205581 w 362"/>
              <a:gd name="T35" fmla="*/ 29141 h 320"/>
              <a:gd name="T36" fmla="*/ 191293 w 362"/>
              <a:gd name="T37" fmla="*/ 113913 h 320"/>
              <a:gd name="T38" fmla="*/ 177800 w 362"/>
              <a:gd name="T39" fmla="*/ 127159 h 320"/>
              <a:gd name="T40" fmla="*/ 177800 w 362"/>
              <a:gd name="T41" fmla="*/ 184557 h 320"/>
              <a:gd name="T42" fmla="*/ 177800 w 362"/>
              <a:gd name="T43" fmla="*/ 269329 h 320"/>
              <a:gd name="T44" fmla="*/ 150812 w 362"/>
              <a:gd name="T45" fmla="*/ 282575 h 320"/>
              <a:gd name="T46" fmla="*/ 123031 w 362"/>
              <a:gd name="T47" fmla="*/ 282575 h 320"/>
              <a:gd name="T48" fmla="*/ 109537 w 362"/>
              <a:gd name="T49" fmla="*/ 269329 h 320"/>
              <a:gd name="T50" fmla="*/ 96044 w 362"/>
              <a:gd name="T51" fmla="*/ 282575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noFill/>
          <a:ln w="9525">
            <a:solidFill>
              <a:schemeClr val="bg2"/>
            </a:solidFill>
            <a:round/>
            <a:headEnd/>
            <a:tailEnd/>
          </a:ln>
        </p:spPr>
        <p:txBody>
          <a:bodyPr/>
          <a:lstStyle/>
          <a:p>
            <a:endParaRPr lang="en-US" dirty="0"/>
          </a:p>
        </p:txBody>
      </p:sp>
      <p:sp>
        <p:nvSpPr>
          <p:cNvPr id="18719" name="Freeform 286"/>
          <p:cNvSpPr>
            <a:spLocks noChangeAspect="1"/>
          </p:cNvSpPr>
          <p:nvPr/>
        </p:nvSpPr>
        <p:spPr bwMode="auto">
          <a:xfrm>
            <a:off x="4629150" y="4416425"/>
            <a:ext cx="354013" cy="327025"/>
          </a:xfrm>
          <a:custGeom>
            <a:avLst/>
            <a:gdLst>
              <a:gd name="T0" fmla="*/ 326540 w 451"/>
              <a:gd name="T1" fmla="*/ 13330 h 368"/>
              <a:gd name="T2" fmla="*/ 339884 w 451"/>
              <a:gd name="T3" fmla="*/ 98641 h 368"/>
              <a:gd name="T4" fmla="*/ 326540 w 451"/>
              <a:gd name="T5" fmla="*/ 98641 h 368"/>
              <a:gd name="T6" fmla="*/ 313196 w 451"/>
              <a:gd name="T7" fmla="*/ 113748 h 368"/>
              <a:gd name="T8" fmla="*/ 326540 w 451"/>
              <a:gd name="T9" fmla="*/ 127078 h 368"/>
              <a:gd name="T10" fmla="*/ 339884 w 451"/>
              <a:gd name="T11" fmla="*/ 113748 h 368"/>
              <a:gd name="T12" fmla="*/ 354013 w 451"/>
              <a:gd name="T13" fmla="*/ 113748 h 368"/>
              <a:gd name="T14" fmla="*/ 354013 w 451"/>
              <a:gd name="T15" fmla="*/ 127078 h 368"/>
              <a:gd name="T16" fmla="*/ 354013 w 451"/>
              <a:gd name="T17" fmla="*/ 169733 h 368"/>
              <a:gd name="T18" fmla="*/ 326540 w 451"/>
              <a:gd name="T19" fmla="*/ 183952 h 368"/>
              <a:gd name="T20" fmla="*/ 299851 w 451"/>
              <a:gd name="T21" fmla="*/ 226607 h 368"/>
              <a:gd name="T22" fmla="*/ 259034 w 451"/>
              <a:gd name="T23" fmla="*/ 269262 h 368"/>
              <a:gd name="T24" fmla="*/ 231561 w 451"/>
              <a:gd name="T25" fmla="*/ 297699 h 368"/>
              <a:gd name="T26" fmla="*/ 190743 w 451"/>
              <a:gd name="T27" fmla="*/ 311918 h 368"/>
              <a:gd name="T28" fmla="*/ 164055 w 451"/>
              <a:gd name="T29" fmla="*/ 311918 h 368"/>
              <a:gd name="T30" fmla="*/ 123237 w 451"/>
              <a:gd name="T31" fmla="*/ 311918 h 368"/>
              <a:gd name="T32" fmla="*/ 80850 w 451"/>
              <a:gd name="T33" fmla="*/ 327025 h 368"/>
              <a:gd name="T34" fmla="*/ 67506 w 451"/>
              <a:gd name="T35" fmla="*/ 327025 h 368"/>
              <a:gd name="T36" fmla="*/ 54162 w 451"/>
              <a:gd name="T37" fmla="*/ 311918 h 368"/>
              <a:gd name="T38" fmla="*/ 40033 w 451"/>
              <a:gd name="T39" fmla="*/ 269262 h 368"/>
              <a:gd name="T40" fmla="*/ 40033 w 451"/>
              <a:gd name="T41" fmla="*/ 255044 h 368"/>
              <a:gd name="T42" fmla="*/ 13344 w 451"/>
              <a:gd name="T43" fmla="*/ 169733 h 368"/>
              <a:gd name="T44" fmla="*/ 0 w 451"/>
              <a:gd name="T45" fmla="*/ 169733 h 368"/>
              <a:gd name="T46" fmla="*/ 13344 w 451"/>
              <a:gd name="T47" fmla="*/ 156403 h 368"/>
              <a:gd name="T48" fmla="*/ 26688 w 451"/>
              <a:gd name="T49" fmla="*/ 169733 h 368"/>
              <a:gd name="T50" fmla="*/ 54162 w 451"/>
              <a:gd name="T51" fmla="*/ 169733 h 368"/>
              <a:gd name="T52" fmla="*/ 80850 w 451"/>
              <a:gd name="T53" fmla="*/ 156403 h 368"/>
              <a:gd name="T54" fmla="*/ 80850 w 451"/>
              <a:gd name="T55" fmla="*/ 71092 h 368"/>
              <a:gd name="T56" fmla="*/ 94979 w 451"/>
              <a:gd name="T57" fmla="*/ 85311 h 368"/>
              <a:gd name="T58" fmla="*/ 94979 w 451"/>
              <a:gd name="T59" fmla="*/ 113748 h 368"/>
              <a:gd name="T60" fmla="*/ 123237 w 451"/>
              <a:gd name="T61" fmla="*/ 113748 h 368"/>
              <a:gd name="T62" fmla="*/ 164055 w 451"/>
              <a:gd name="T63" fmla="*/ 85311 h 368"/>
              <a:gd name="T64" fmla="*/ 177399 w 451"/>
              <a:gd name="T65" fmla="*/ 98641 h 368"/>
              <a:gd name="T66" fmla="*/ 190743 w 451"/>
              <a:gd name="T67" fmla="*/ 85311 h 368"/>
              <a:gd name="T68" fmla="*/ 245690 w 451"/>
              <a:gd name="T69" fmla="*/ 28437 h 368"/>
              <a:gd name="T70" fmla="*/ 285722 w 451"/>
              <a:gd name="T71" fmla="*/ 0 h 368"/>
              <a:gd name="T72" fmla="*/ 313196 w 451"/>
              <a:gd name="T73" fmla="*/ 13330 h 368"/>
              <a:gd name="T74" fmla="*/ 326540 w 451"/>
              <a:gd name="T75" fmla="*/ 13330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noFill/>
          <a:ln w="9525">
            <a:solidFill>
              <a:schemeClr val="bg2"/>
            </a:solidFill>
            <a:round/>
            <a:headEnd/>
            <a:tailEnd/>
          </a:ln>
        </p:spPr>
        <p:txBody>
          <a:bodyPr/>
          <a:lstStyle/>
          <a:p>
            <a:endParaRPr lang="en-US" dirty="0"/>
          </a:p>
        </p:txBody>
      </p:sp>
      <p:sp>
        <p:nvSpPr>
          <p:cNvPr id="18720" name="Freeform 287"/>
          <p:cNvSpPr>
            <a:spLocks noChangeAspect="1"/>
          </p:cNvSpPr>
          <p:nvPr/>
        </p:nvSpPr>
        <p:spPr bwMode="auto">
          <a:xfrm>
            <a:off x="4710113" y="4318000"/>
            <a:ext cx="204787" cy="212725"/>
          </a:xfrm>
          <a:custGeom>
            <a:avLst/>
            <a:gdLst>
              <a:gd name="T0" fmla="*/ 0 w 261"/>
              <a:gd name="T1" fmla="*/ 170180 h 240"/>
              <a:gd name="T2" fmla="*/ 0 w 261"/>
              <a:gd name="T3" fmla="*/ 170180 h 240"/>
              <a:gd name="T4" fmla="*/ 14123 w 261"/>
              <a:gd name="T5" fmla="*/ 184362 h 240"/>
              <a:gd name="T6" fmla="*/ 14123 w 261"/>
              <a:gd name="T7" fmla="*/ 212725 h 240"/>
              <a:gd name="T8" fmla="*/ 40800 w 261"/>
              <a:gd name="T9" fmla="*/ 212725 h 240"/>
              <a:gd name="T10" fmla="*/ 81601 w 261"/>
              <a:gd name="T11" fmla="*/ 184362 h 240"/>
              <a:gd name="T12" fmla="*/ 94940 w 261"/>
              <a:gd name="T13" fmla="*/ 197657 h 240"/>
              <a:gd name="T14" fmla="*/ 109063 w 261"/>
              <a:gd name="T15" fmla="*/ 184362 h 240"/>
              <a:gd name="T16" fmla="*/ 164771 w 261"/>
              <a:gd name="T17" fmla="*/ 127635 h 240"/>
              <a:gd name="T18" fmla="*/ 204787 w 261"/>
              <a:gd name="T19" fmla="*/ 99272 h 240"/>
              <a:gd name="T20" fmla="*/ 178110 w 261"/>
              <a:gd name="T21" fmla="*/ 99272 h 240"/>
              <a:gd name="T22" fmla="*/ 164771 w 261"/>
              <a:gd name="T23" fmla="*/ 70022 h 240"/>
              <a:gd name="T24" fmla="*/ 135740 w 261"/>
              <a:gd name="T25" fmla="*/ 42545 h 240"/>
              <a:gd name="T26" fmla="*/ 109063 w 261"/>
              <a:gd name="T27" fmla="*/ 0 h 240"/>
              <a:gd name="T28" fmla="*/ 81601 w 261"/>
              <a:gd name="T29" fmla="*/ 27477 h 240"/>
              <a:gd name="T30" fmla="*/ 68262 w 261"/>
              <a:gd name="T31" fmla="*/ 14182 h 240"/>
              <a:gd name="T32" fmla="*/ 27462 w 261"/>
              <a:gd name="T33" fmla="*/ 14182 h 240"/>
              <a:gd name="T34" fmla="*/ 14123 w 261"/>
              <a:gd name="T35" fmla="*/ 99272 h 240"/>
              <a:gd name="T36" fmla="*/ 0 w 261"/>
              <a:gd name="T37" fmla="*/ 112567 h 240"/>
              <a:gd name="T38" fmla="*/ 0 w 261"/>
              <a:gd name="T39" fmla="*/ 17018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noFill/>
          <a:ln w="9525">
            <a:solidFill>
              <a:schemeClr val="bg2"/>
            </a:solidFill>
            <a:round/>
            <a:headEnd/>
            <a:tailEnd/>
          </a:ln>
        </p:spPr>
        <p:txBody>
          <a:bodyPr/>
          <a:lstStyle/>
          <a:p>
            <a:endParaRPr lang="en-US" dirty="0"/>
          </a:p>
        </p:txBody>
      </p:sp>
      <p:sp>
        <p:nvSpPr>
          <p:cNvPr id="18721" name="Freeform 288"/>
          <p:cNvSpPr>
            <a:spLocks noChangeAspect="1"/>
          </p:cNvSpPr>
          <p:nvPr/>
        </p:nvSpPr>
        <p:spPr bwMode="auto">
          <a:xfrm>
            <a:off x="4819650" y="4275138"/>
            <a:ext cx="177800" cy="155575"/>
          </a:xfrm>
          <a:custGeom>
            <a:avLst/>
            <a:gdLst>
              <a:gd name="T0" fmla="*/ 109841 w 225"/>
              <a:gd name="T1" fmla="*/ 0 h 175"/>
              <a:gd name="T2" fmla="*/ 109841 w 225"/>
              <a:gd name="T3" fmla="*/ 0 h 175"/>
              <a:gd name="T4" fmla="*/ 82183 w 225"/>
              <a:gd name="T5" fmla="*/ 0 h 175"/>
              <a:gd name="T6" fmla="*/ 82183 w 225"/>
              <a:gd name="T7" fmla="*/ 14224 h 175"/>
              <a:gd name="T8" fmla="*/ 41092 w 225"/>
              <a:gd name="T9" fmla="*/ 42672 h 175"/>
              <a:gd name="T10" fmla="*/ 0 w 225"/>
              <a:gd name="T11" fmla="*/ 42672 h 175"/>
              <a:gd name="T12" fmla="*/ 27658 w 225"/>
              <a:gd name="T13" fmla="*/ 85344 h 175"/>
              <a:gd name="T14" fmla="*/ 55316 w 225"/>
              <a:gd name="T15" fmla="*/ 112903 h 175"/>
              <a:gd name="T16" fmla="*/ 68749 w 225"/>
              <a:gd name="T17" fmla="*/ 142240 h 175"/>
              <a:gd name="T18" fmla="*/ 95617 w 225"/>
              <a:gd name="T19" fmla="*/ 142240 h 175"/>
              <a:gd name="T20" fmla="*/ 123275 w 225"/>
              <a:gd name="T21" fmla="*/ 155575 h 175"/>
              <a:gd name="T22" fmla="*/ 136708 w 225"/>
              <a:gd name="T23" fmla="*/ 155575 h 175"/>
              <a:gd name="T24" fmla="*/ 164366 w 225"/>
              <a:gd name="T25" fmla="*/ 99568 h 175"/>
              <a:gd name="T26" fmla="*/ 177800 w 225"/>
              <a:gd name="T27" fmla="*/ 42672 h 175"/>
              <a:gd name="T28" fmla="*/ 164366 w 225"/>
              <a:gd name="T29" fmla="*/ 14224 h 175"/>
              <a:gd name="T30" fmla="*/ 136708 w 225"/>
              <a:gd name="T31" fmla="*/ 0 h 175"/>
              <a:gd name="T32" fmla="*/ 109841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noFill/>
          <a:ln w="9525">
            <a:solidFill>
              <a:schemeClr val="bg2"/>
            </a:solidFill>
            <a:round/>
            <a:headEnd/>
            <a:tailEnd/>
          </a:ln>
        </p:spPr>
        <p:txBody>
          <a:bodyPr/>
          <a:lstStyle/>
          <a:p>
            <a:endParaRPr lang="en-US" dirty="0"/>
          </a:p>
        </p:txBody>
      </p:sp>
      <p:sp>
        <p:nvSpPr>
          <p:cNvPr id="18722" name="Freeform 289"/>
          <p:cNvSpPr>
            <a:spLocks noChangeAspect="1"/>
          </p:cNvSpPr>
          <p:nvPr/>
        </p:nvSpPr>
        <p:spPr bwMode="auto">
          <a:xfrm>
            <a:off x="4929188" y="4149725"/>
            <a:ext cx="231775" cy="381000"/>
          </a:xfrm>
          <a:custGeom>
            <a:avLst/>
            <a:gdLst>
              <a:gd name="T0" fmla="*/ 54582 w 293"/>
              <a:gd name="T1" fmla="*/ 381000 h 432"/>
              <a:gd name="T2" fmla="*/ 54582 w 293"/>
              <a:gd name="T3" fmla="*/ 381000 h 432"/>
              <a:gd name="T4" fmla="*/ 54582 w 293"/>
              <a:gd name="T5" fmla="*/ 366007 h 432"/>
              <a:gd name="T6" fmla="*/ 54582 w 293"/>
              <a:gd name="T7" fmla="*/ 352778 h 432"/>
              <a:gd name="T8" fmla="*/ 109164 w 293"/>
              <a:gd name="T9" fmla="*/ 338667 h 432"/>
              <a:gd name="T10" fmla="*/ 122611 w 293"/>
              <a:gd name="T11" fmla="*/ 323674 h 432"/>
              <a:gd name="T12" fmla="*/ 122611 w 293"/>
              <a:gd name="T13" fmla="*/ 281340 h 432"/>
              <a:gd name="T14" fmla="*/ 95716 w 293"/>
              <a:gd name="T15" fmla="*/ 225778 h 432"/>
              <a:gd name="T16" fmla="*/ 150298 w 293"/>
              <a:gd name="T17" fmla="*/ 169333 h 432"/>
              <a:gd name="T18" fmla="*/ 191432 w 293"/>
              <a:gd name="T19" fmla="*/ 154340 h 432"/>
              <a:gd name="T20" fmla="*/ 231775 w 293"/>
              <a:gd name="T21" fmla="*/ 112007 h 432"/>
              <a:gd name="T22" fmla="*/ 218327 w 293"/>
              <a:gd name="T23" fmla="*/ 0 h 432"/>
              <a:gd name="T24" fmla="*/ 191432 w 293"/>
              <a:gd name="T25" fmla="*/ 27340 h 432"/>
              <a:gd name="T26" fmla="*/ 136059 w 293"/>
              <a:gd name="T27" fmla="*/ 27340 h 432"/>
              <a:gd name="T28" fmla="*/ 109164 w 293"/>
              <a:gd name="T29" fmla="*/ 27340 h 432"/>
              <a:gd name="T30" fmla="*/ 95716 w 293"/>
              <a:gd name="T31" fmla="*/ 42333 h 432"/>
              <a:gd name="T32" fmla="*/ 109164 w 293"/>
              <a:gd name="T33" fmla="*/ 69674 h 432"/>
              <a:gd name="T34" fmla="*/ 122611 w 293"/>
              <a:gd name="T35" fmla="*/ 98778 h 432"/>
              <a:gd name="T36" fmla="*/ 122611 w 293"/>
              <a:gd name="T37" fmla="*/ 127000 h 432"/>
              <a:gd name="T38" fmla="*/ 109164 w 293"/>
              <a:gd name="T39" fmla="*/ 154340 h 432"/>
              <a:gd name="T40" fmla="*/ 95716 w 293"/>
              <a:gd name="T41" fmla="*/ 127000 h 432"/>
              <a:gd name="T42" fmla="*/ 95716 w 293"/>
              <a:gd name="T43" fmla="*/ 98778 h 432"/>
              <a:gd name="T44" fmla="*/ 81477 w 293"/>
              <a:gd name="T45" fmla="*/ 98778 h 432"/>
              <a:gd name="T46" fmla="*/ 68030 w 293"/>
              <a:gd name="T47" fmla="*/ 84667 h 432"/>
              <a:gd name="T48" fmla="*/ 0 w 293"/>
              <a:gd name="T49" fmla="*/ 112007 h 432"/>
              <a:gd name="T50" fmla="*/ 0 w 293"/>
              <a:gd name="T51" fmla="*/ 127000 h 432"/>
              <a:gd name="T52" fmla="*/ 26895 w 293"/>
              <a:gd name="T53" fmla="*/ 127000 h 432"/>
              <a:gd name="T54" fmla="*/ 54582 w 293"/>
              <a:gd name="T55" fmla="*/ 141111 h 432"/>
              <a:gd name="T56" fmla="*/ 68030 w 293"/>
              <a:gd name="T57" fmla="*/ 169333 h 432"/>
              <a:gd name="T58" fmla="*/ 54582 w 293"/>
              <a:gd name="T59" fmla="*/ 225778 h 432"/>
              <a:gd name="T60" fmla="*/ 26895 w 293"/>
              <a:gd name="T61" fmla="*/ 281340 h 432"/>
              <a:gd name="T62" fmla="*/ 40343 w 293"/>
              <a:gd name="T63" fmla="*/ 366007 h 432"/>
              <a:gd name="T64" fmla="*/ 40343 w 293"/>
              <a:gd name="T65" fmla="*/ 381000 h 432"/>
              <a:gd name="T66" fmla="*/ 54582 w 293"/>
              <a:gd name="T67" fmla="*/ 381000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noFill/>
          <a:ln w="9525">
            <a:solidFill>
              <a:schemeClr val="bg2"/>
            </a:solidFill>
            <a:round/>
            <a:headEnd/>
            <a:tailEnd/>
          </a:ln>
        </p:spPr>
        <p:txBody>
          <a:bodyPr/>
          <a:lstStyle/>
          <a:p>
            <a:endParaRPr lang="en-US" dirty="0"/>
          </a:p>
        </p:txBody>
      </p:sp>
      <p:sp>
        <p:nvSpPr>
          <p:cNvPr id="18723" name="Freeform 290"/>
          <p:cNvSpPr>
            <a:spLocks noChangeAspect="1"/>
          </p:cNvSpPr>
          <p:nvPr/>
        </p:nvSpPr>
        <p:spPr bwMode="auto">
          <a:xfrm>
            <a:off x="4983163" y="4133850"/>
            <a:ext cx="68262" cy="171450"/>
          </a:xfrm>
          <a:custGeom>
            <a:avLst/>
            <a:gdLst>
              <a:gd name="T0" fmla="*/ 13494 w 86"/>
              <a:gd name="T1" fmla="*/ 100905 h 192"/>
              <a:gd name="T2" fmla="*/ 13494 w 86"/>
              <a:gd name="T3" fmla="*/ 100905 h 192"/>
              <a:gd name="T4" fmla="*/ 0 w 86"/>
              <a:gd name="T5" fmla="*/ 85725 h 192"/>
              <a:gd name="T6" fmla="*/ 13494 w 86"/>
              <a:gd name="T7" fmla="*/ 58043 h 192"/>
              <a:gd name="T8" fmla="*/ 13494 w 86"/>
              <a:gd name="T9" fmla="*/ 42863 h 192"/>
              <a:gd name="T10" fmla="*/ 26987 w 86"/>
              <a:gd name="T11" fmla="*/ 29468 h 192"/>
              <a:gd name="T12" fmla="*/ 13494 w 86"/>
              <a:gd name="T13" fmla="*/ 0 h 192"/>
              <a:gd name="T14" fmla="*/ 26987 w 86"/>
              <a:gd name="T15" fmla="*/ 0 h 192"/>
              <a:gd name="T16" fmla="*/ 41275 w 86"/>
              <a:gd name="T17" fmla="*/ 0 h 192"/>
              <a:gd name="T18" fmla="*/ 54768 w 86"/>
              <a:gd name="T19" fmla="*/ 42863 h 192"/>
              <a:gd name="T20" fmla="*/ 41275 w 86"/>
              <a:gd name="T21" fmla="*/ 58043 h 192"/>
              <a:gd name="T22" fmla="*/ 54768 w 86"/>
              <a:gd name="T23" fmla="*/ 85725 h 192"/>
              <a:gd name="T24" fmla="*/ 68262 w 86"/>
              <a:gd name="T25" fmla="*/ 115193 h 192"/>
              <a:gd name="T26" fmla="*/ 68262 w 86"/>
              <a:gd name="T27" fmla="*/ 143768 h 192"/>
              <a:gd name="T28" fmla="*/ 54768 w 86"/>
              <a:gd name="T29" fmla="*/ 171450 h 192"/>
              <a:gd name="T30" fmla="*/ 41275 w 86"/>
              <a:gd name="T31" fmla="*/ 143768 h 192"/>
              <a:gd name="T32" fmla="*/ 41275 w 86"/>
              <a:gd name="T33" fmla="*/ 115193 h 192"/>
              <a:gd name="T34" fmla="*/ 26987 w 86"/>
              <a:gd name="T35" fmla="*/ 115193 h 192"/>
              <a:gd name="T36" fmla="*/ 13494 w 86"/>
              <a:gd name="T37" fmla="*/ 10090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noFill/>
          <a:ln w="9525">
            <a:solidFill>
              <a:schemeClr val="bg2"/>
            </a:solidFill>
            <a:prstDash val="solid"/>
            <a:round/>
            <a:headEnd/>
            <a:tailEnd/>
          </a:ln>
        </p:spPr>
        <p:txBody>
          <a:bodyPr/>
          <a:lstStyle/>
          <a:p>
            <a:endParaRPr lang="en-US" dirty="0"/>
          </a:p>
        </p:txBody>
      </p:sp>
      <p:sp>
        <p:nvSpPr>
          <p:cNvPr id="18724" name="Freeform 291"/>
          <p:cNvSpPr>
            <a:spLocks noChangeAspect="1"/>
          </p:cNvSpPr>
          <p:nvPr/>
        </p:nvSpPr>
        <p:spPr bwMode="auto">
          <a:xfrm>
            <a:off x="4943475" y="4514850"/>
            <a:ext cx="25400" cy="30163"/>
          </a:xfrm>
          <a:custGeom>
            <a:avLst/>
            <a:gdLst>
              <a:gd name="T0" fmla="*/ 25400 w 34"/>
              <a:gd name="T1" fmla="*/ 16024 h 32"/>
              <a:gd name="T2" fmla="*/ 25400 w 34"/>
              <a:gd name="T3" fmla="*/ 16024 h 32"/>
              <a:gd name="T4" fmla="*/ 25400 w 34"/>
              <a:gd name="T5" fmla="*/ 0 h 32"/>
              <a:gd name="T6" fmla="*/ 12700 w 34"/>
              <a:gd name="T7" fmla="*/ 0 h 32"/>
              <a:gd name="T8" fmla="*/ 0 w 34"/>
              <a:gd name="T9" fmla="*/ 16024 h 32"/>
              <a:gd name="T10" fmla="*/ 12700 w 34"/>
              <a:gd name="T11" fmla="*/ 30163 h 32"/>
              <a:gd name="T12" fmla="*/ 25400 w 34"/>
              <a:gd name="T13" fmla="*/ 16024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noFill/>
          <a:ln w="9525">
            <a:solidFill>
              <a:schemeClr val="bg2"/>
            </a:solidFill>
            <a:prstDash val="solid"/>
            <a:round/>
            <a:headEnd/>
            <a:tailEnd/>
          </a:ln>
        </p:spPr>
        <p:txBody>
          <a:bodyPr/>
          <a:lstStyle/>
          <a:p>
            <a:endParaRPr lang="en-US" dirty="0"/>
          </a:p>
        </p:txBody>
      </p:sp>
      <p:sp>
        <p:nvSpPr>
          <p:cNvPr id="18725" name="Freeform 292"/>
          <p:cNvSpPr>
            <a:spLocks noChangeAspect="1"/>
          </p:cNvSpPr>
          <p:nvPr/>
        </p:nvSpPr>
        <p:spPr bwMode="auto">
          <a:xfrm>
            <a:off x="5218113" y="4191000"/>
            <a:ext cx="147637" cy="309563"/>
          </a:xfrm>
          <a:custGeom>
            <a:avLst/>
            <a:gdLst>
              <a:gd name="T0" fmla="*/ 0 w 189"/>
              <a:gd name="T1" fmla="*/ 225137 h 352"/>
              <a:gd name="T2" fmla="*/ 0 w 189"/>
              <a:gd name="T3" fmla="*/ 225137 h 352"/>
              <a:gd name="T4" fmla="*/ 14061 w 189"/>
              <a:gd name="T5" fmla="*/ 280541 h 352"/>
              <a:gd name="T6" fmla="*/ 27340 w 189"/>
              <a:gd name="T7" fmla="*/ 309563 h 352"/>
              <a:gd name="T8" fmla="*/ 67960 w 189"/>
              <a:gd name="T9" fmla="*/ 309563 h 352"/>
              <a:gd name="T10" fmla="*/ 81239 w 189"/>
              <a:gd name="T11" fmla="*/ 295492 h 352"/>
              <a:gd name="T12" fmla="*/ 121859 w 189"/>
              <a:gd name="T13" fmla="*/ 140710 h 352"/>
              <a:gd name="T14" fmla="*/ 135139 w 189"/>
              <a:gd name="T15" fmla="*/ 69476 h 352"/>
              <a:gd name="T16" fmla="*/ 147637 w 189"/>
              <a:gd name="T17" fmla="*/ 84426 h 352"/>
              <a:gd name="T18" fmla="*/ 147637 w 189"/>
              <a:gd name="T19" fmla="*/ 69476 h 352"/>
              <a:gd name="T20" fmla="*/ 135139 w 189"/>
              <a:gd name="T21" fmla="*/ 14071 h 352"/>
              <a:gd name="T22" fmla="*/ 121859 w 189"/>
              <a:gd name="T23" fmla="*/ 0 h 352"/>
              <a:gd name="T24" fmla="*/ 108580 w 189"/>
              <a:gd name="T25" fmla="*/ 27263 h 352"/>
              <a:gd name="T26" fmla="*/ 94519 w 189"/>
              <a:gd name="T27" fmla="*/ 27263 h 352"/>
              <a:gd name="T28" fmla="*/ 94519 w 189"/>
              <a:gd name="T29" fmla="*/ 56284 h 352"/>
              <a:gd name="T30" fmla="*/ 27340 w 189"/>
              <a:gd name="T31" fmla="*/ 98497 h 352"/>
              <a:gd name="T32" fmla="*/ 14061 w 189"/>
              <a:gd name="T33" fmla="*/ 126639 h 352"/>
              <a:gd name="T34" fmla="*/ 27340 w 189"/>
              <a:gd name="T35" fmla="*/ 182924 h 352"/>
              <a:gd name="T36" fmla="*/ 0 w 189"/>
              <a:gd name="T37" fmla="*/ 225137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noFill/>
          <a:ln w="9525">
            <a:solidFill>
              <a:schemeClr val="bg2"/>
            </a:solidFill>
            <a:prstDash val="solid"/>
            <a:round/>
            <a:headEnd/>
            <a:tailEnd/>
          </a:ln>
        </p:spPr>
        <p:txBody>
          <a:bodyPr/>
          <a:lstStyle/>
          <a:p>
            <a:endParaRPr lang="en-US" dirty="0"/>
          </a:p>
        </p:txBody>
      </p:sp>
      <p:sp>
        <p:nvSpPr>
          <p:cNvPr id="18726" name="Freeform 293"/>
          <p:cNvSpPr>
            <a:spLocks noChangeAspect="1"/>
          </p:cNvSpPr>
          <p:nvPr/>
        </p:nvSpPr>
        <p:spPr bwMode="auto">
          <a:xfrm>
            <a:off x="5518150" y="4375150"/>
            <a:ext cx="11113" cy="12700"/>
          </a:xfrm>
          <a:custGeom>
            <a:avLst/>
            <a:gdLst>
              <a:gd name="T0" fmla="*/ 0 w 16"/>
              <a:gd name="T1" fmla="*/ 12700 h 15"/>
              <a:gd name="T2" fmla="*/ 0 w 16"/>
              <a:gd name="T3" fmla="*/ 12700 h 15"/>
              <a:gd name="T4" fmla="*/ 11113 w 16"/>
              <a:gd name="T5" fmla="*/ 12700 h 15"/>
              <a:gd name="T6" fmla="*/ 0 w 16"/>
              <a:gd name="T7" fmla="*/ 0 h 15"/>
              <a:gd name="T8" fmla="*/ 0 w 16"/>
              <a:gd name="T9" fmla="*/ 1270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noFill/>
          <a:ln w="9525">
            <a:solidFill>
              <a:schemeClr val="bg2"/>
            </a:solidFill>
            <a:prstDash val="solid"/>
            <a:round/>
            <a:headEnd/>
            <a:tailEnd/>
          </a:ln>
        </p:spPr>
        <p:txBody>
          <a:bodyPr/>
          <a:lstStyle/>
          <a:p>
            <a:endParaRPr lang="en-US" dirty="0"/>
          </a:p>
        </p:txBody>
      </p:sp>
      <p:sp>
        <p:nvSpPr>
          <p:cNvPr id="18727" name="Freeform 294"/>
          <p:cNvSpPr>
            <a:spLocks noChangeAspect="1"/>
          </p:cNvSpPr>
          <p:nvPr/>
        </p:nvSpPr>
        <p:spPr bwMode="auto">
          <a:xfrm>
            <a:off x="4464050" y="3836988"/>
            <a:ext cx="11113" cy="15875"/>
          </a:xfrm>
          <a:custGeom>
            <a:avLst/>
            <a:gdLst>
              <a:gd name="T0" fmla="*/ 0 w 18"/>
              <a:gd name="T1" fmla="*/ 15875 h 18"/>
              <a:gd name="T2" fmla="*/ 0 w 18"/>
              <a:gd name="T3" fmla="*/ 15875 h 18"/>
              <a:gd name="T4" fmla="*/ 11113 w 18"/>
              <a:gd name="T5" fmla="*/ 0 h 18"/>
              <a:gd name="T6" fmla="*/ 0 w 18"/>
              <a:gd name="T7" fmla="*/ 0 h 18"/>
              <a:gd name="T8" fmla="*/ 0 w 18"/>
              <a:gd name="T9" fmla="*/ 15875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noFill/>
          <a:ln w="9525">
            <a:solidFill>
              <a:schemeClr val="bg2"/>
            </a:solidFill>
            <a:prstDash val="solid"/>
            <a:round/>
            <a:headEnd/>
            <a:tailEnd/>
          </a:ln>
        </p:spPr>
        <p:txBody>
          <a:bodyPr/>
          <a:lstStyle/>
          <a:p>
            <a:endParaRPr lang="en-US" dirty="0"/>
          </a:p>
        </p:txBody>
      </p:sp>
      <p:sp>
        <p:nvSpPr>
          <p:cNvPr id="18728" name="Freeform 295"/>
          <p:cNvSpPr>
            <a:spLocks noChangeAspect="1"/>
          </p:cNvSpPr>
          <p:nvPr/>
        </p:nvSpPr>
        <p:spPr bwMode="auto">
          <a:xfrm>
            <a:off x="4914900" y="3937000"/>
            <a:ext cx="234950" cy="239713"/>
          </a:xfrm>
          <a:custGeom>
            <a:avLst/>
            <a:gdLst>
              <a:gd name="T0" fmla="*/ 82550 w 296"/>
              <a:gd name="T1" fmla="*/ 197097 h 270"/>
              <a:gd name="T2" fmla="*/ 82550 w 296"/>
              <a:gd name="T3" fmla="*/ 197097 h 270"/>
              <a:gd name="T4" fmla="*/ 41275 w 296"/>
              <a:gd name="T5" fmla="*/ 169575 h 270"/>
              <a:gd name="T6" fmla="*/ 27781 w 296"/>
              <a:gd name="T7" fmla="*/ 169575 h 270"/>
              <a:gd name="T8" fmla="*/ 0 w 296"/>
              <a:gd name="T9" fmla="*/ 126959 h 270"/>
              <a:gd name="T10" fmla="*/ 0 w 296"/>
              <a:gd name="T11" fmla="*/ 84343 h 270"/>
              <a:gd name="T12" fmla="*/ 27781 w 296"/>
              <a:gd name="T13" fmla="*/ 55933 h 270"/>
              <a:gd name="T14" fmla="*/ 27781 w 296"/>
              <a:gd name="T15" fmla="*/ 41728 h 270"/>
              <a:gd name="T16" fmla="*/ 27781 w 296"/>
              <a:gd name="T17" fmla="*/ 26635 h 270"/>
              <a:gd name="T18" fmla="*/ 27781 w 296"/>
              <a:gd name="T19" fmla="*/ 0 h 270"/>
              <a:gd name="T20" fmla="*/ 54769 w 296"/>
              <a:gd name="T21" fmla="*/ 0 h 270"/>
              <a:gd name="T22" fmla="*/ 96044 w 296"/>
              <a:gd name="T23" fmla="*/ 0 h 270"/>
              <a:gd name="T24" fmla="*/ 110331 w 296"/>
              <a:gd name="T25" fmla="*/ 0 h 270"/>
              <a:gd name="T26" fmla="*/ 178594 w 296"/>
              <a:gd name="T27" fmla="*/ 41728 h 270"/>
              <a:gd name="T28" fmla="*/ 178594 w 296"/>
              <a:gd name="T29" fmla="*/ 69250 h 270"/>
              <a:gd name="T30" fmla="*/ 221456 w 296"/>
              <a:gd name="T31" fmla="*/ 84343 h 270"/>
              <a:gd name="T32" fmla="*/ 207169 w 296"/>
              <a:gd name="T33" fmla="*/ 111866 h 270"/>
              <a:gd name="T34" fmla="*/ 221456 w 296"/>
              <a:gd name="T35" fmla="*/ 141164 h 270"/>
              <a:gd name="T36" fmla="*/ 221456 w 296"/>
              <a:gd name="T37" fmla="*/ 183780 h 270"/>
              <a:gd name="T38" fmla="*/ 221456 w 296"/>
              <a:gd name="T39" fmla="*/ 197097 h 270"/>
              <a:gd name="T40" fmla="*/ 234950 w 296"/>
              <a:gd name="T41" fmla="*/ 212190 h 270"/>
              <a:gd name="T42" fmla="*/ 207169 w 296"/>
              <a:gd name="T43" fmla="*/ 239713 h 270"/>
              <a:gd name="T44" fmla="*/ 150812 w 296"/>
              <a:gd name="T45" fmla="*/ 239713 h 270"/>
              <a:gd name="T46" fmla="*/ 123825 w 296"/>
              <a:gd name="T47" fmla="*/ 239713 h 270"/>
              <a:gd name="T48" fmla="*/ 110331 w 296"/>
              <a:gd name="T49" fmla="*/ 197097 h 270"/>
              <a:gd name="T50" fmla="*/ 96044 w 296"/>
              <a:gd name="T51" fmla="*/ 197097 h 270"/>
              <a:gd name="T52" fmla="*/ 82550 w 296"/>
              <a:gd name="T53" fmla="*/ 197097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noFill/>
          <a:ln w="9525">
            <a:solidFill>
              <a:schemeClr val="bg2"/>
            </a:solidFill>
            <a:round/>
            <a:headEnd/>
            <a:tailEnd/>
          </a:ln>
        </p:spPr>
        <p:txBody>
          <a:bodyPr/>
          <a:lstStyle/>
          <a:p>
            <a:endParaRPr lang="en-US" dirty="0"/>
          </a:p>
        </p:txBody>
      </p:sp>
      <p:sp>
        <p:nvSpPr>
          <p:cNvPr id="18729" name="Freeform 296"/>
          <p:cNvSpPr>
            <a:spLocks noChangeAspect="1"/>
          </p:cNvSpPr>
          <p:nvPr/>
        </p:nvSpPr>
        <p:spPr bwMode="auto">
          <a:xfrm>
            <a:off x="4464050" y="3867150"/>
            <a:ext cx="123825" cy="141288"/>
          </a:xfrm>
          <a:custGeom>
            <a:avLst/>
            <a:gdLst>
              <a:gd name="T0" fmla="*/ 27087 w 160"/>
              <a:gd name="T1" fmla="*/ 29324 h 159"/>
              <a:gd name="T2" fmla="*/ 27087 w 160"/>
              <a:gd name="T3" fmla="*/ 29324 h 159"/>
              <a:gd name="T4" fmla="*/ 54947 w 160"/>
              <a:gd name="T5" fmla="*/ 29324 h 159"/>
              <a:gd name="T6" fmla="*/ 54947 w 160"/>
              <a:gd name="T7" fmla="*/ 0 h 159"/>
              <a:gd name="T8" fmla="*/ 95190 w 160"/>
              <a:gd name="T9" fmla="*/ 0 h 159"/>
              <a:gd name="T10" fmla="*/ 95190 w 160"/>
              <a:gd name="T11" fmla="*/ 29324 h 159"/>
              <a:gd name="T12" fmla="*/ 109895 w 160"/>
              <a:gd name="T13" fmla="*/ 13329 h 159"/>
              <a:gd name="T14" fmla="*/ 123825 w 160"/>
              <a:gd name="T15" fmla="*/ 29324 h 159"/>
              <a:gd name="T16" fmla="*/ 123825 w 160"/>
              <a:gd name="T17" fmla="*/ 42653 h 159"/>
              <a:gd name="T18" fmla="*/ 123825 w 160"/>
              <a:gd name="T19" fmla="*/ 98635 h 159"/>
              <a:gd name="T20" fmla="*/ 82034 w 160"/>
              <a:gd name="T21" fmla="*/ 98635 h 159"/>
              <a:gd name="T22" fmla="*/ 68878 w 160"/>
              <a:gd name="T23" fmla="*/ 113741 h 159"/>
              <a:gd name="T24" fmla="*/ 68878 w 160"/>
              <a:gd name="T25" fmla="*/ 127959 h 159"/>
              <a:gd name="T26" fmla="*/ 54947 w 160"/>
              <a:gd name="T27" fmla="*/ 127959 h 159"/>
              <a:gd name="T28" fmla="*/ 54947 w 160"/>
              <a:gd name="T29" fmla="*/ 141288 h 159"/>
              <a:gd name="T30" fmla="*/ 27087 w 160"/>
              <a:gd name="T31" fmla="*/ 113741 h 159"/>
              <a:gd name="T32" fmla="*/ 0 w 160"/>
              <a:gd name="T33" fmla="*/ 71977 h 159"/>
              <a:gd name="T34" fmla="*/ 13930 w 160"/>
              <a:gd name="T35" fmla="*/ 55982 h 159"/>
              <a:gd name="T36" fmla="*/ 13930 w 160"/>
              <a:gd name="T37" fmla="*/ 42653 h 159"/>
              <a:gd name="T38" fmla="*/ 27087 w 160"/>
              <a:gd name="T39" fmla="*/ 29324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noFill/>
          <a:ln w="9525">
            <a:solidFill>
              <a:schemeClr val="bg2"/>
            </a:solidFill>
            <a:prstDash val="solid"/>
            <a:round/>
            <a:headEnd/>
            <a:tailEnd/>
          </a:ln>
        </p:spPr>
        <p:txBody>
          <a:bodyPr/>
          <a:lstStyle/>
          <a:p>
            <a:endParaRPr lang="en-US" dirty="0"/>
          </a:p>
        </p:txBody>
      </p:sp>
      <p:sp>
        <p:nvSpPr>
          <p:cNvPr id="18730" name="Freeform 297"/>
          <p:cNvSpPr>
            <a:spLocks noChangeAspect="1"/>
          </p:cNvSpPr>
          <p:nvPr/>
        </p:nvSpPr>
        <p:spPr bwMode="auto">
          <a:xfrm>
            <a:off x="4518025" y="3836988"/>
            <a:ext cx="163513" cy="198437"/>
          </a:xfrm>
          <a:custGeom>
            <a:avLst/>
            <a:gdLst>
              <a:gd name="T0" fmla="*/ 109271 w 208"/>
              <a:gd name="T1" fmla="*/ 15875 h 225"/>
              <a:gd name="T2" fmla="*/ 109271 w 208"/>
              <a:gd name="T3" fmla="*/ 15875 h 225"/>
              <a:gd name="T4" fmla="*/ 109271 w 208"/>
              <a:gd name="T5" fmla="*/ 42333 h 225"/>
              <a:gd name="T6" fmla="*/ 40878 w 208"/>
              <a:gd name="T7" fmla="*/ 29104 h 225"/>
              <a:gd name="T8" fmla="*/ 40878 w 208"/>
              <a:gd name="T9" fmla="*/ 58208 h 225"/>
              <a:gd name="T10" fmla="*/ 55028 w 208"/>
              <a:gd name="T11" fmla="*/ 42333 h 225"/>
              <a:gd name="T12" fmla="*/ 68392 w 208"/>
              <a:gd name="T13" fmla="*/ 58208 h 225"/>
              <a:gd name="T14" fmla="*/ 68392 w 208"/>
              <a:gd name="T15" fmla="*/ 71437 h 225"/>
              <a:gd name="T16" fmla="*/ 68392 w 208"/>
              <a:gd name="T17" fmla="*/ 127000 h 225"/>
              <a:gd name="T18" fmla="*/ 27514 w 208"/>
              <a:gd name="T19" fmla="*/ 127000 h 225"/>
              <a:gd name="T20" fmla="*/ 14150 w 208"/>
              <a:gd name="T21" fmla="*/ 141993 h 225"/>
              <a:gd name="T22" fmla="*/ 14150 w 208"/>
              <a:gd name="T23" fmla="*/ 156104 h 225"/>
              <a:gd name="T24" fmla="*/ 0 w 208"/>
              <a:gd name="T25" fmla="*/ 156104 h 225"/>
              <a:gd name="T26" fmla="*/ 0 w 208"/>
              <a:gd name="T27" fmla="*/ 169333 h 225"/>
              <a:gd name="T28" fmla="*/ 27514 w 208"/>
              <a:gd name="T29" fmla="*/ 198437 h 225"/>
              <a:gd name="T30" fmla="*/ 27514 w 208"/>
              <a:gd name="T31" fmla="*/ 184326 h 225"/>
              <a:gd name="T32" fmla="*/ 40878 w 208"/>
              <a:gd name="T33" fmla="*/ 184326 h 225"/>
              <a:gd name="T34" fmla="*/ 68392 w 208"/>
              <a:gd name="T35" fmla="*/ 184326 h 225"/>
              <a:gd name="T36" fmla="*/ 95121 w 208"/>
              <a:gd name="T37" fmla="*/ 169333 h 225"/>
              <a:gd name="T38" fmla="*/ 109271 w 208"/>
              <a:gd name="T39" fmla="*/ 127000 h 225"/>
              <a:gd name="T40" fmla="*/ 135999 w 208"/>
              <a:gd name="T41" fmla="*/ 100541 h 225"/>
              <a:gd name="T42" fmla="*/ 163513 w 208"/>
              <a:gd name="T43" fmla="*/ 0 h 225"/>
              <a:gd name="T44" fmla="*/ 122635 w 208"/>
              <a:gd name="T45" fmla="*/ 15875 h 225"/>
              <a:gd name="T46" fmla="*/ 109271 w 208"/>
              <a:gd name="T47" fmla="*/ 15875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noFill/>
          <a:ln w="9525">
            <a:solidFill>
              <a:schemeClr val="bg2"/>
            </a:solidFill>
            <a:round/>
            <a:headEnd/>
            <a:tailEnd/>
          </a:ln>
        </p:spPr>
        <p:txBody>
          <a:bodyPr/>
          <a:lstStyle/>
          <a:p>
            <a:endParaRPr lang="en-US" dirty="0"/>
          </a:p>
        </p:txBody>
      </p:sp>
      <p:sp>
        <p:nvSpPr>
          <p:cNvPr id="18731" name="Freeform 298"/>
          <p:cNvSpPr>
            <a:spLocks noChangeAspect="1"/>
          </p:cNvSpPr>
          <p:nvPr/>
        </p:nvSpPr>
        <p:spPr bwMode="auto">
          <a:xfrm>
            <a:off x="4545013" y="3810000"/>
            <a:ext cx="412750" cy="409575"/>
          </a:xfrm>
          <a:custGeom>
            <a:avLst/>
            <a:gdLst>
              <a:gd name="T0" fmla="*/ 330994 w 520"/>
              <a:gd name="T1" fmla="*/ 0 h 462"/>
              <a:gd name="T2" fmla="*/ 330994 w 520"/>
              <a:gd name="T3" fmla="*/ 0 h 462"/>
              <a:gd name="T4" fmla="*/ 233362 w 520"/>
              <a:gd name="T5" fmla="*/ 0 h 462"/>
              <a:gd name="T6" fmla="*/ 219075 w 520"/>
              <a:gd name="T7" fmla="*/ 13298 h 462"/>
              <a:gd name="T8" fmla="*/ 178594 w 520"/>
              <a:gd name="T9" fmla="*/ 13298 h 462"/>
              <a:gd name="T10" fmla="*/ 164306 w 520"/>
              <a:gd name="T11" fmla="*/ 0 h 462"/>
              <a:gd name="T12" fmla="*/ 150812 w 520"/>
              <a:gd name="T13" fmla="*/ 0 h 462"/>
              <a:gd name="T14" fmla="*/ 137319 w 520"/>
              <a:gd name="T15" fmla="*/ 26596 h 462"/>
              <a:gd name="T16" fmla="*/ 109537 w 520"/>
              <a:gd name="T17" fmla="*/ 127660 h 462"/>
              <a:gd name="T18" fmla="*/ 82550 w 520"/>
              <a:gd name="T19" fmla="*/ 154256 h 462"/>
              <a:gd name="T20" fmla="*/ 68262 w 520"/>
              <a:gd name="T21" fmla="*/ 196809 h 462"/>
              <a:gd name="T22" fmla="*/ 41275 w 520"/>
              <a:gd name="T23" fmla="*/ 211880 h 462"/>
              <a:gd name="T24" fmla="*/ 13494 w 520"/>
              <a:gd name="T25" fmla="*/ 211880 h 462"/>
              <a:gd name="T26" fmla="*/ 0 w 520"/>
              <a:gd name="T27" fmla="*/ 239362 h 462"/>
              <a:gd name="T28" fmla="*/ 0 w 520"/>
              <a:gd name="T29" fmla="*/ 254433 h 462"/>
              <a:gd name="T30" fmla="*/ 27781 w 520"/>
              <a:gd name="T31" fmla="*/ 239362 h 462"/>
              <a:gd name="T32" fmla="*/ 82550 w 520"/>
              <a:gd name="T33" fmla="*/ 239362 h 462"/>
              <a:gd name="T34" fmla="*/ 96044 w 520"/>
              <a:gd name="T35" fmla="*/ 239362 h 462"/>
              <a:gd name="T36" fmla="*/ 96044 w 520"/>
              <a:gd name="T37" fmla="*/ 268617 h 462"/>
              <a:gd name="T38" fmla="*/ 123031 w 520"/>
              <a:gd name="T39" fmla="*/ 296986 h 462"/>
              <a:gd name="T40" fmla="*/ 150812 w 520"/>
              <a:gd name="T41" fmla="*/ 281915 h 462"/>
              <a:gd name="T42" fmla="*/ 150812 w 520"/>
              <a:gd name="T43" fmla="*/ 268617 h 462"/>
              <a:gd name="T44" fmla="*/ 178594 w 520"/>
              <a:gd name="T45" fmla="*/ 268617 h 462"/>
              <a:gd name="T46" fmla="*/ 205581 w 520"/>
              <a:gd name="T47" fmla="*/ 281915 h 462"/>
              <a:gd name="T48" fmla="*/ 205581 w 520"/>
              <a:gd name="T49" fmla="*/ 324469 h 462"/>
              <a:gd name="T50" fmla="*/ 219075 w 520"/>
              <a:gd name="T51" fmla="*/ 339539 h 462"/>
              <a:gd name="T52" fmla="*/ 205581 w 520"/>
              <a:gd name="T53" fmla="*/ 353724 h 462"/>
              <a:gd name="T54" fmla="*/ 205581 w 520"/>
              <a:gd name="T55" fmla="*/ 367022 h 462"/>
              <a:gd name="T56" fmla="*/ 246856 w 520"/>
              <a:gd name="T57" fmla="*/ 353724 h 462"/>
              <a:gd name="T58" fmla="*/ 301625 w 520"/>
              <a:gd name="T59" fmla="*/ 382093 h 462"/>
              <a:gd name="T60" fmla="*/ 315119 w 520"/>
              <a:gd name="T61" fmla="*/ 367022 h 462"/>
              <a:gd name="T62" fmla="*/ 357981 w 520"/>
              <a:gd name="T63" fmla="*/ 396277 h 462"/>
              <a:gd name="T64" fmla="*/ 371475 w 520"/>
              <a:gd name="T65" fmla="*/ 409575 h 462"/>
              <a:gd name="T66" fmla="*/ 371475 w 520"/>
              <a:gd name="T67" fmla="*/ 382093 h 462"/>
              <a:gd name="T68" fmla="*/ 357981 w 520"/>
              <a:gd name="T69" fmla="*/ 382093 h 462"/>
              <a:gd name="T70" fmla="*/ 357981 w 520"/>
              <a:gd name="T71" fmla="*/ 367022 h 462"/>
              <a:gd name="T72" fmla="*/ 357981 w 520"/>
              <a:gd name="T73" fmla="*/ 311171 h 462"/>
              <a:gd name="T74" fmla="*/ 357981 w 520"/>
              <a:gd name="T75" fmla="*/ 296986 h 462"/>
              <a:gd name="T76" fmla="*/ 399256 w 520"/>
              <a:gd name="T77" fmla="*/ 296986 h 462"/>
              <a:gd name="T78" fmla="*/ 371475 w 520"/>
              <a:gd name="T79" fmla="*/ 254433 h 462"/>
              <a:gd name="T80" fmla="*/ 371475 w 520"/>
              <a:gd name="T81" fmla="*/ 211880 h 462"/>
              <a:gd name="T82" fmla="*/ 371475 w 520"/>
              <a:gd name="T83" fmla="*/ 183511 h 462"/>
              <a:gd name="T84" fmla="*/ 371475 w 520"/>
              <a:gd name="T85" fmla="*/ 169326 h 462"/>
              <a:gd name="T86" fmla="*/ 357981 w 520"/>
              <a:gd name="T87" fmla="*/ 169326 h 462"/>
              <a:gd name="T88" fmla="*/ 371475 w 520"/>
              <a:gd name="T89" fmla="*/ 140958 h 462"/>
              <a:gd name="T90" fmla="*/ 385762 w 520"/>
              <a:gd name="T91" fmla="*/ 98404 h 462"/>
              <a:gd name="T92" fmla="*/ 399256 w 520"/>
              <a:gd name="T93" fmla="*/ 85106 h 462"/>
              <a:gd name="T94" fmla="*/ 412750 w 520"/>
              <a:gd name="T95" fmla="*/ 55851 h 462"/>
              <a:gd name="T96" fmla="*/ 399256 w 520"/>
              <a:gd name="T97" fmla="*/ 55851 h 462"/>
              <a:gd name="T98" fmla="*/ 399256 w 520"/>
              <a:gd name="T99" fmla="*/ 26596 h 462"/>
              <a:gd name="T100" fmla="*/ 385762 w 520"/>
              <a:gd name="T101" fmla="*/ 13298 h 462"/>
              <a:gd name="T102" fmla="*/ 344487 w 520"/>
              <a:gd name="T103" fmla="*/ 13298 h 462"/>
              <a:gd name="T104" fmla="*/ 33099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noFill/>
          <a:ln w="9525">
            <a:solidFill>
              <a:schemeClr val="bg2"/>
            </a:solidFill>
            <a:round/>
            <a:headEnd/>
            <a:tailEnd/>
          </a:ln>
        </p:spPr>
        <p:txBody>
          <a:bodyPr/>
          <a:lstStyle/>
          <a:p>
            <a:endParaRPr lang="en-US" dirty="0"/>
          </a:p>
        </p:txBody>
      </p:sp>
      <p:sp>
        <p:nvSpPr>
          <p:cNvPr id="18732" name="Freeform 299"/>
          <p:cNvSpPr>
            <a:spLocks noChangeAspect="1"/>
          </p:cNvSpPr>
          <p:nvPr/>
        </p:nvSpPr>
        <p:spPr bwMode="auto">
          <a:xfrm>
            <a:off x="4749800" y="4106863"/>
            <a:ext cx="260350" cy="211137"/>
          </a:xfrm>
          <a:custGeom>
            <a:avLst/>
            <a:gdLst>
              <a:gd name="T0" fmla="*/ 41025 w 330"/>
              <a:gd name="T1" fmla="*/ 56303 h 240"/>
              <a:gd name="T2" fmla="*/ 41025 w 330"/>
              <a:gd name="T3" fmla="*/ 56303 h 240"/>
              <a:gd name="T4" fmla="*/ 97040 w 330"/>
              <a:gd name="T5" fmla="*/ 84455 h 240"/>
              <a:gd name="T6" fmla="*/ 110452 w 330"/>
              <a:gd name="T7" fmla="*/ 69499 h 240"/>
              <a:gd name="T8" fmla="*/ 151476 w 330"/>
              <a:gd name="T9" fmla="*/ 98531 h 240"/>
              <a:gd name="T10" fmla="*/ 164888 w 330"/>
              <a:gd name="T11" fmla="*/ 111727 h 240"/>
              <a:gd name="T12" fmla="*/ 164888 w 330"/>
              <a:gd name="T13" fmla="*/ 84455 h 240"/>
              <a:gd name="T14" fmla="*/ 151476 w 330"/>
              <a:gd name="T15" fmla="*/ 84455 h 240"/>
              <a:gd name="T16" fmla="*/ 151476 w 330"/>
              <a:gd name="T17" fmla="*/ 69499 h 240"/>
              <a:gd name="T18" fmla="*/ 151476 w 330"/>
              <a:gd name="T19" fmla="*/ 14076 h 240"/>
              <a:gd name="T20" fmla="*/ 151476 w 330"/>
              <a:gd name="T21" fmla="*/ 0 h 240"/>
              <a:gd name="T22" fmla="*/ 192501 w 330"/>
              <a:gd name="T23" fmla="*/ 0 h 240"/>
              <a:gd name="T24" fmla="*/ 205913 w 330"/>
              <a:gd name="T25" fmla="*/ 0 h 240"/>
              <a:gd name="T26" fmla="*/ 246938 w 330"/>
              <a:gd name="T27" fmla="*/ 27272 h 240"/>
              <a:gd name="T28" fmla="*/ 260350 w 330"/>
              <a:gd name="T29" fmla="*/ 56303 h 240"/>
              <a:gd name="T30" fmla="*/ 246938 w 330"/>
              <a:gd name="T31" fmla="*/ 69499 h 240"/>
              <a:gd name="T32" fmla="*/ 246938 w 330"/>
              <a:gd name="T33" fmla="*/ 84455 h 240"/>
              <a:gd name="T34" fmla="*/ 233526 w 330"/>
              <a:gd name="T35" fmla="*/ 111727 h 240"/>
              <a:gd name="T36" fmla="*/ 246938 w 330"/>
              <a:gd name="T37" fmla="*/ 126682 h 240"/>
              <a:gd name="T38" fmla="*/ 179089 w 330"/>
              <a:gd name="T39" fmla="*/ 153954 h 240"/>
              <a:gd name="T40" fmla="*/ 179089 w 330"/>
              <a:gd name="T41" fmla="*/ 168910 h 240"/>
              <a:gd name="T42" fmla="*/ 151476 w 330"/>
              <a:gd name="T43" fmla="*/ 168910 h 240"/>
              <a:gd name="T44" fmla="*/ 151476 w 330"/>
              <a:gd name="T45" fmla="*/ 182985 h 240"/>
              <a:gd name="T46" fmla="*/ 110452 w 330"/>
              <a:gd name="T47" fmla="*/ 211137 h 240"/>
              <a:gd name="T48" fmla="*/ 69427 w 330"/>
              <a:gd name="T49" fmla="*/ 211137 h 240"/>
              <a:gd name="T50" fmla="*/ 41025 w 330"/>
              <a:gd name="T51" fmla="*/ 196181 h 240"/>
              <a:gd name="T52" fmla="*/ 27613 w 330"/>
              <a:gd name="T53" fmla="*/ 211137 h 240"/>
              <a:gd name="T54" fmla="*/ 0 w 330"/>
              <a:gd name="T55" fmla="*/ 182985 h 240"/>
              <a:gd name="T56" fmla="*/ 0 w 330"/>
              <a:gd name="T57" fmla="*/ 111727 h 240"/>
              <a:gd name="T58" fmla="*/ 54437 w 330"/>
              <a:gd name="T59" fmla="*/ 98531 h 240"/>
              <a:gd name="T60" fmla="*/ 41025 w 330"/>
              <a:gd name="T61" fmla="*/ 56303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noFill/>
          <a:ln w="9525">
            <a:solidFill>
              <a:schemeClr val="bg2"/>
            </a:solidFill>
            <a:round/>
            <a:headEnd/>
            <a:tailEnd/>
          </a:ln>
        </p:spPr>
        <p:txBody>
          <a:bodyPr/>
          <a:lstStyle/>
          <a:p>
            <a:endParaRPr lang="en-US" dirty="0"/>
          </a:p>
        </p:txBody>
      </p:sp>
      <p:sp>
        <p:nvSpPr>
          <p:cNvPr id="18733" name="Freeform 300"/>
          <p:cNvSpPr>
            <a:spLocks noChangeAspect="1"/>
          </p:cNvSpPr>
          <p:nvPr/>
        </p:nvSpPr>
        <p:spPr bwMode="auto">
          <a:xfrm>
            <a:off x="4532313" y="4049713"/>
            <a:ext cx="274637" cy="282575"/>
          </a:xfrm>
          <a:custGeom>
            <a:avLst/>
            <a:gdLst>
              <a:gd name="T0" fmla="*/ 0 w 345"/>
              <a:gd name="T1" fmla="*/ 253525 h 321"/>
              <a:gd name="T2" fmla="*/ 0 w 345"/>
              <a:gd name="T3" fmla="*/ 253525 h 321"/>
              <a:gd name="T4" fmla="*/ 27066 w 345"/>
              <a:gd name="T5" fmla="*/ 253525 h 321"/>
              <a:gd name="T6" fmla="*/ 54927 w 345"/>
              <a:gd name="T7" fmla="*/ 253525 h 321"/>
              <a:gd name="T8" fmla="*/ 136920 w 345"/>
              <a:gd name="T9" fmla="*/ 268490 h 321"/>
              <a:gd name="T10" fmla="*/ 164782 w 345"/>
              <a:gd name="T11" fmla="*/ 268490 h 321"/>
              <a:gd name="T12" fmla="*/ 219710 w 345"/>
              <a:gd name="T13" fmla="*/ 282575 h 321"/>
              <a:gd name="T14" fmla="*/ 247571 w 345"/>
              <a:gd name="T15" fmla="*/ 268490 h 321"/>
              <a:gd name="T16" fmla="*/ 219710 w 345"/>
              <a:gd name="T17" fmla="*/ 240321 h 321"/>
              <a:gd name="T18" fmla="*/ 219710 w 345"/>
              <a:gd name="T19" fmla="*/ 169017 h 321"/>
              <a:gd name="T20" fmla="*/ 274637 w 345"/>
              <a:gd name="T21" fmla="*/ 155812 h 321"/>
              <a:gd name="T22" fmla="*/ 261104 w 345"/>
              <a:gd name="T23" fmla="*/ 113558 h 321"/>
              <a:gd name="T24" fmla="*/ 219710 w 345"/>
              <a:gd name="T25" fmla="*/ 126763 h 321"/>
              <a:gd name="T26" fmla="*/ 219710 w 345"/>
              <a:gd name="T27" fmla="*/ 113558 h 321"/>
              <a:gd name="T28" fmla="*/ 233242 w 345"/>
              <a:gd name="T29" fmla="*/ 99473 h 321"/>
              <a:gd name="T30" fmla="*/ 219710 w 345"/>
              <a:gd name="T31" fmla="*/ 84508 h 321"/>
              <a:gd name="T32" fmla="*/ 219710 w 345"/>
              <a:gd name="T33" fmla="*/ 42254 h 321"/>
              <a:gd name="T34" fmla="*/ 191848 w 345"/>
              <a:gd name="T35" fmla="*/ 29050 h 321"/>
              <a:gd name="T36" fmla="*/ 164782 w 345"/>
              <a:gd name="T37" fmla="*/ 29050 h 321"/>
              <a:gd name="T38" fmla="*/ 164782 w 345"/>
              <a:gd name="T39" fmla="*/ 42254 h 321"/>
              <a:gd name="T40" fmla="*/ 136920 w 345"/>
              <a:gd name="T41" fmla="*/ 57219 h 321"/>
              <a:gd name="T42" fmla="*/ 109855 w 345"/>
              <a:gd name="T43" fmla="*/ 29050 h 321"/>
              <a:gd name="T44" fmla="*/ 109855 w 345"/>
              <a:gd name="T45" fmla="*/ 0 h 321"/>
              <a:gd name="T46" fmla="*/ 96322 w 345"/>
              <a:gd name="T47" fmla="*/ 0 h 321"/>
              <a:gd name="T48" fmla="*/ 40599 w 345"/>
              <a:gd name="T49" fmla="*/ 0 h 321"/>
              <a:gd name="T50" fmla="*/ 13533 w 345"/>
              <a:gd name="T51" fmla="*/ 14965 h 321"/>
              <a:gd name="T52" fmla="*/ 27066 w 345"/>
              <a:gd name="T53" fmla="*/ 57219 h 321"/>
              <a:gd name="T54" fmla="*/ 27066 w 345"/>
              <a:gd name="T55" fmla="*/ 71304 h 321"/>
              <a:gd name="T56" fmla="*/ 40599 w 345"/>
              <a:gd name="T57" fmla="*/ 126763 h 321"/>
              <a:gd name="T58" fmla="*/ 40599 w 345"/>
              <a:gd name="T59" fmla="*/ 155812 h 321"/>
              <a:gd name="T60" fmla="*/ 13533 w 345"/>
              <a:gd name="T61" fmla="*/ 169017 h 321"/>
              <a:gd name="T62" fmla="*/ 0 w 345"/>
              <a:gd name="T63" fmla="*/ 226236 h 321"/>
              <a:gd name="T64" fmla="*/ 0 w 345"/>
              <a:gd name="T65" fmla="*/ 253525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noFill/>
          <a:ln w="9525">
            <a:solidFill>
              <a:schemeClr val="bg2"/>
            </a:solidFill>
            <a:round/>
            <a:headEnd/>
            <a:tailEnd/>
          </a:ln>
        </p:spPr>
        <p:txBody>
          <a:bodyPr/>
          <a:lstStyle/>
          <a:p>
            <a:endParaRPr lang="en-US" dirty="0"/>
          </a:p>
        </p:txBody>
      </p:sp>
      <p:sp>
        <p:nvSpPr>
          <p:cNvPr id="18734" name="Freeform 301"/>
          <p:cNvSpPr>
            <a:spLocks noChangeAspect="1"/>
          </p:cNvSpPr>
          <p:nvPr/>
        </p:nvSpPr>
        <p:spPr bwMode="auto">
          <a:xfrm>
            <a:off x="4475163" y="3146425"/>
            <a:ext cx="344487" cy="336550"/>
          </a:xfrm>
          <a:custGeom>
            <a:avLst/>
            <a:gdLst>
              <a:gd name="T0" fmla="*/ 54643 w 435"/>
              <a:gd name="T1" fmla="*/ 239266 h 384"/>
              <a:gd name="T2" fmla="*/ 54643 w 435"/>
              <a:gd name="T3" fmla="*/ 239266 h 384"/>
              <a:gd name="T4" fmla="*/ 40388 w 435"/>
              <a:gd name="T5" fmla="*/ 210344 h 384"/>
              <a:gd name="T6" fmla="*/ 26925 w 435"/>
              <a:gd name="T7" fmla="*/ 210344 h 384"/>
              <a:gd name="T8" fmla="*/ 0 w 435"/>
              <a:gd name="T9" fmla="*/ 168275 h 384"/>
              <a:gd name="T10" fmla="*/ 13463 w 435"/>
              <a:gd name="T11" fmla="*/ 155129 h 384"/>
              <a:gd name="T12" fmla="*/ 13463 w 435"/>
              <a:gd name="T13" fmla="*/ 126206 h 384"/>
              <a:gd name="T14" fmla="*/ 13463 w 435"/>
              <a:gd name="T15" fmla="*/ 98160 h 384"/>
              <a:gd name="T16" fmla="*/ 0 w 435"/>
              <a:gd name="T17" fmla="*/ 84138 h 384"/>
              <a:gd name="T18" fmla="*/ 0 w 435"/>
              <a:gd name="T19" fmla="*/ 70991 h 384"/>
              <a:gd name="T20" fmla="*/ 13463 w 435"/>
              <a:gd name="T21" fmla="*/ 56092 h 384"/>
              <a:gd name="T22" fmla="*/ 13463 w 435"/>
              <a:gd name="T23" fmla="*/ 42069 h 384"/>
              <a:gd name="T24" fmla="*/ 40388 w 435"/>
              <a:gd name="T25" fmla="*/ 14023 h 384"/>
              <a:gd name="T26" fmla="*/ 40388 w 435"/>
              <a:gd name="T27" fmla="*/ 0 h 384"/>
              <a:gd name="T28" fmla="*/ 68105 w 435"/>
              <a:gd name="T29" fmla="*/ 0 h 384"/>
              <a:gd name="T30" fmla="*/ 110869 w 435"/>
              <a:gd name="T31" fmla="*/ 14023 h 384"/>
              <a:gd name="T32" fmla="*/ 137795 w 435"/>
              <a:gd name="T33" fmla="*/ 14023 h 384"/>
              <a:gd name="T34" fmla="*/ 137795 w 435"/>
              <a:gd name="T35" fmla="*/ 42069 h 384"/>
              <a:gd name="T36" fmla="*/ 220155 w 435"/>
              <a:gd name="T37" fmla="*/ 70991 h 384"/>
              <a:gd name="T38" fmla="*/ 233618 w 435"/>
              <a:gd name="T39" fmla="*/ 56092 h 384"/>
              <a:gd name="T40" fmla="*/ 233618 w 435"/>
              <a:gd name="T41" fmla="*/ 28922 h 384"/>
              <a:gd name="T42" fmla="*/ 276382 w 435"/>
              <a:gd name="T43" fmla="*/ 0 h 384"/>
              <a:gd name="T44" fmla="*/ 304099 w 435"/>
              <a:gd name="T45" fmla="*/ 14023 h 384"/>
              <a:gd name="T46" fmla="*/ 304099 w 435"/>
              <a:gd name="T47" fmla="*/ 28922 h 384"/>
              <a:gd name="T48" fmla="*/ 344487 w 435"/>
              <a:gd name="T49" fmla="*/ 28922 h 384"/>
              <a:gd name="T50" fmla="*/ 331024 w 435"/>
              <a:gd name="T51" fmla="*/ 84138 h 384"/>
              <a:gd name="T52" fmla="*/ 344487 w 435"/>
              <a:gd name="T53" fmla="*/ 113060 h 384"/>
              <a:gd name="T54" fmla="*/ 344487 w 435"/>
              <a:gd name="T55" fmla="*/ 266435 h 384"/>
              <a:gd name="T56" fmla="*/ 344487 w 435"/>
              <a:gd name="T57" fmla="*/ 308504 h 384"/>
              <a:gd name="T58" fmla="*/ 331024 w 435"/>
              <a:gd name="T59" fmla="*/ 323404 h 384"/>
              <a:gd name="T60" fmla="*/ 317562 w 435"/>
              <a:gd name="T61" fmla="*/ 336550 h 384"/>
              <a:gd name="T62" fmla="*/ 152049 w 435"/>
              <a:gd name="T63" fmla="*/ 239266 h 384"/>
              <a:gd name="T64" fmla="*/ 124332 w 435"/>
              <a:gd name="T65" fmla="*/ 252413 h 384"/>
              <a:gd name="T66" fmla="*/ 110869 w 435"/>
              <a:gd name="T67" fmla="*/ 239266 h 384"/>
              <a:gd name="T68" fmla="*/ 54643 w 435"/>
              <a:gd name="T69" fmla="*/ 239266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chemeClr val="bg1"/>
          </a:solidFill>
          <a:ln w="9525">
            <a:solidFill>
              <a:schemeClr val="bg2"/>
            </a:solidFill>
            <a:round/>
            <a:headEnd/>
            <a:tailEnd/>
          </a:ln>
        </p:spPr>
        <p:txBody>
          <a:bodyPr/>
          <a:lstStyle/>
          <a:p>
            <a:endParaRPr lang="en-US" dirty="0"/>
          </a:p>
        </p:txBody>
      </p:sp>
      <p:sp>
        <p:nvSpPr>
          <p:cNvPr id="18735" name="Freeform 302"/>
          <p:cNvSpPr>
            <a:spLocks noChangeAspect="1"/>
          </p:cNvSpPr>
          <p:nvPr/>
        </p:nvSpPr>
        <p:spPr bwMode="auto">
          <a:xfrm>
            <a:off x="4806950" y="3175000"/>
            <a:ext cx="244475" cy="254000"/>
          </a:xfrm>
          <a:custGeom>
            <a:avLst/>
            <a:gdLst>
              <a:gd name="T0" fmla="*/ 244475 w 311"/>
              <a:gd name="T1" fmla="*/ 224896 h 288"/>
              <a:gd name="T2" fmla="*/ 244475 w 311"/>
              <a:gd name="T3" fmla="*/ 224896 h 288"/>
              <a:gd name="T4" fmla="*/ 203598 w 311"/>
              <a:gd name="T5" fmla="*/ 254000 h 288"/>
              <a:gd name="T6" fmla="*/ 190235 w 311"/>
              <a:gd name="T7" fmla="*/ 239007 h 288"/>
              <a:gd name="T8" fmla="*/ 13364 w 311"/>
              <a:gd name="T9" fmla="*/ 239007 h 288"/>
              <a:gd name="T10" fmla="*/ 13364 w 311"/>
              <a:gd name="T11" fmla="*/ 84667 h 288"/>
              <a:gd name="T12" fmla="*/ 0 w 311"/>
              <a:gd name="T13" fmla="*/ 55562 h 288"/>
              <a:gd name="T14" fmla="*/ 13364 w 311"/>
              <a:gd name="T15" fmla="*/ 0 h 288"/>
              <a:gd name="T16" fmla="*/ 13364 w 311"/>
              <a:gd name="T17" fmla="*/ 13229 h 288"/>
              <a:gd name="T18" fmla="*/ 54240 w 311"/>
              <a:gd name="T19" fmla="*/ 13229 h 288"/>
              <a:gd name="T20" fmla="*/ 95117 w 311"/>
              <a:gd name="T21" fmla="*/ 27340 h 288"/>
              <a:gd name="T22" fmla="*/ 149358 w 311"/>
              <a:gd name="T23" fmla="*/ 13229 h 288"/>
              <a:gd name="T24" fmla="*/ 162721 w 311"/>
              <a:gd name="T25" fmla="*/ 13229 h 288"/>
              <a:gd name="T26" fmla="*/ 162721 w 311"/>
              <a:gd name="T27" fmla="*/ 27340 h 288"/>
              <a:gd name="T28" fmla="*/ 176871 w 311"/>
              <a:gd name="T29" fmla="*/ 13229 h 288"/>
              <a:gd name="T30" fmla="*/ 176871 w 311"/>
              <a:gd name="T31" fmla="*/ 27340 h 288"/>
              <a:gd name="T32" fmla="*/ 203598 w 311"/>
              <a:gd name="T33" fmla="*/ 13229 h 288"/>
              <a:gd name="T34" fmla="*/ 217748 w 311"/>
              <a:gd name="T35" fmla="*/ 69674 h 288"/>
              <a:gd name="T36" fmla="*/ 203598 w 311"/>
              <a:gd name="T37" fmla="*/ 112007 h 288"/>
              <a:gd name="T38" fmla="*/ 190235 w 311"/>
              <a:gd name="T39" fmla="*/ 84667 h 288"/>
              <a:gd name="T40" fmla="*/ 176871 w 311"/>
              <a:gd name="T41" fmla="*/ 42333 h 288"/>
              <a:gd name="T42" fmla="*/ 176871 w 311"/>
              <a:gd name="T43" fmla="*/ 55562 h 288"/>
              <a:gd name="T44" fmla="*/ 176871 w 311"/>
              <a:gd name="T45" fmla="*/ 69674 h 288"/>
              <a:gd name="T46" fmla="*/ 244475 w 311"/>
              <a:gd name="T47" fmla="*/ 224896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chemeClr val="bg1"/>
          </a:solidFill>
          <a:ln w="9525">
            <a:solidFill>
              <a:schemeClr val="bg2"/>
            </a:solidFill>
            <a:round/>
            <a:headEnd/>
            <a:tailEnd/>
          </a:ln>
        </p:spPr>
        <p:txBody>
          <a:bodyPr/>
          <a:lstStyle/>
          <a:p>
            <a:endParaRPr lang="en-US" dirty="0"/>
          </a:p>
        </p:txBody>
      </p:sp>
      <p:sp>
        <p:nvSpPr>
          <p:cNvPr id="18736" name="Freeform 303"/>
          <p:cNvSpPr>
            <a:spLocks noChangeAspect="1"/>
          </p:cNvSpPr>
          <p:nvPr/>
        </p:nvSpPr>
        <p:spPr bwMode="auto">
          <a:xfrm>
            <a:off x="5160963" y="3654425"/>
            <a:ext cx="219075" cy="296863"/>
          </a:xfrm>
          <a:custGeom>
            <a:avLst/>
            <a:gdLst>
              <a:gd name="T0" fmla="*/ 27483 w 279"/>
              <a:gd name="T1" fmla="*/ 182889 h 336"/>
              <a:gd name="T2" fmla="*/ 27483 w 279"/>
              <a:gd name="T3" fmla="*/ 182889 h 336"/>
              <a:gd name="T4" fmla="*/ 0 w 279"/>
              <a:gd name="T5" fmla="*/ 212045 h 336"/>
              <a:gd name="T6" fmla="*/ 0 w 279"/>
              <a:gd name="T7" fmla="*/ 283610 h 336"/>
              <a:gd name="T8" fmla="*/ 14134 w 279"/>
              <a:gd name="T9" fmla="*/ 296863 h 336"/>
              <a:gd name="T10" fmla="*/ 54180 w 279"/>
              <a:gd name="T11" fmla="*/ 254454 h 336"/>
              <a:gd name="T12" fmla="*/ 110715 w 279"/>
              <a:gd name="T13" fmla="*/ 212045 h 336"/>
              <a:gd name="T14" fmla="*/ 150761 w 279"/>
              <a:gd name="T15" fmla="*/ 169636 h 336"/>
              <a:gd name="T16" fmla="*/ 178244 w 279"/>
              <a:gd name="T17" fmla="*/ 140480 h 336"/>
              <a:gd name="T18" fmla="*/ 219075 w 279"/>
              <a:gd name="T19" fmla="*/ 29156 h 336"/>
              <a:gd name="T20" fmla="*/ 219075 w 279"/>
              <a:gd name="T21" fmla="*/ 0 h 336"/>
              <a:gd name="T22" fmla="*/ 204941 w 279"/>
              <a:gd name="T23" fmla="*/ 0 h 336"/>
              <a:gd name="T24" fmla="*/ 178244 w 279"/>
              <a:gd name="T25" fmla="*/ 13253 h 336"/>
              <a:gd name="T26" fmla="*/ 81662 w 279"/>
              <a:gd name="T27" fmla="*/ 42409 h 336"/>
              <a:gd name="T28" fmla="*/ 68314 w 279"/>
              <a:gd name="T29" fmla="*/ 29156 h 336"/>
              <a:gd name="T30" fmla="*/ 54180 w 279"/>
              <a:gd name="T31" fmla="*/ 13253 h 336"/>
              <a:gd name="T32" fmla="*/ 40831 w 279"/>
              <a:gd name="T33" fmla="*/ 29156 h 336"/>
              <a:gd name="T34" fmla="*/ 40831 w 279"/>
              <a:gd name="T35" fmla="*/ 42409 h 336"/>
              <a:gd name="T36" fmla="*/ 68314 w 279"/>
              <a:gd name="T37" fmla="*/ 71565 h 336"/>
              <a:gd name="T38" fmla="*/ 137413 w 279"/>
              <a:gd name="T39" fmla="*/ 84818 h 336"/>
              <a:gd name="T40" fmla="*/ 150761 w 279"/>
              <a:gd name="T41" fmla="*/ 84818 h 336"/>
              <a:gd name="T42" fmla="*/ 95011 w 279"/>
              <a:gd name="T43" fmla="*/ 156383 h 336"/>
              <a:gd name="T44" fmla="*/ 54180 w 279"/>
              <a:gd name="T45" fmla="*/ 156383 h 336"/>
              <a:gd name="T46" fmla="*/ 27483 w 279"/>
              <a:gd name="T47" fmla="*/ 182889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noFill/>
          <a:ln w="9525">
            <a:solidFill>
              <a:schemeClr val="bg2"/>
            </a:solidFill>
            <a:prstDash val="solid"/>
            <a:round/>
            <a:headEnd/>
            <a:tailEnd/>
          </a:ln>
        </p:spPr>
        <p:txBody>
          <a:bodyPr/>
          <a:lstStyle/>
          <a:p>
            <a:endParaRPr lang="en-US" dirty="0"/>
          </a:p>
        </p:txBody>
      </p:sp>
      <p:sp>
        <p:nvSpPr>
          <p:cNvPr id="18737" name="Freeform 304"/>
          <p:cNvSpPr>
            <a:spLocks noChangeAspect="1"/>
          </p:cNvSpPr>
          <p:nvPr/>
        </p:nvSpPr>
        <p:spPr bwMode="auto">
          <a:xfrm>
            <a:off x="4586288" y="3668713"/>
            <a:ext cx="287337" cy="184150"/>
          </a:xfrm>
          <a:custGeom>
            <a:avLst/>
            <a:gdLst>
              <a:gd name="T0" fmla="*/ 177310 w 363"/>
              <a:gd name="T1" fmla="*/ 0 h 210"/>
              <a:gd name="T2" fmla="*/ 177310 w 363"/>
              <a:gd name="T3" fmla="*/ 0 h 210"/>
              <a:gd name="T4" fmla="*/ 205015 w 363"/>
              <a:gd name="T5" fmla="*/ 28938 h 210"/>
              <a:gd name="T6" fmla="*/ 205015 w 363"/>
              <a:gd name="T7" fmla="*/ 57876 h 210"/>
              <a:gd name="T8" fmla="*/ 232719 w 363"/>
              <a:gd name="T9" fmla="*/ 71029 h 210"/>
              <a:gd name="T10" fmla="*/ 287337 w 363"/>
              <a:gd name="T11" fmla="*/ 142059 h 210"/>
              <a:gd name="T12" fmla="*/ 191558 w 363"/>
              <a:gd name="T13" fmla="*/ 142059 h 210"/>
              <a:gd name="T14" fmla="*/ 177310 w 363"/>
              <a:gd name="T15" fmla="*/ 155212 h 210"/>
              <a:gd name="T16" fmla="*/ 136940 w 363"/>
              <a:gd name="T17" fmla="*/ 155212 h 210"/>
              <a:gd name="T18" fmla="*/ 122692 w 363"/>
              <a:gd name="T19" fmla="*/ 142059 h 210"/>
              <a:gd name="T20" fmla="*/ 109236 w 363"/>
              <a:gd name="T21" fmla="*/ 142059 h 210"/>
              <a:gd name="T22" fmla="*/ 95779 w 363"/>
              <a:gd name="T23" fmla="*/ 168366 h 210"/>
              <a:gd name="T24" fmla="*/ 54618 w 363"/>
              <a:gd name="T25" fmla="*/ 184150 h 210"/>
              <a:gd name="T26" fmla="*/ 41161 w 363"/>
              <a:gd name="T27" fmla="*/ 184150 h 210"/>
              <a:gd name="T28" fmla="*/ 13457 w 363"/>
              <a:gd name="T29" fmla="*/ 142059 h 210"/>
              <a:gd name="T30" fmla="*/ 0 w 363"/>
              <a:gd name="T31" fmla="*/ 126274 h 210"/>
              <a:gd name="T32" fmla="*/ 26913 w 363"/>
              <a:gd name="T33" fmla="*/ 84183 h 210"/>
              <a:gd name="T34" fmla="*/ 95779 w 363"/>
              <a:gd name="T35" fmla="*/ 71029 h 210"/>
              <a:gd name="T36" fmla="*/ 109236 w 363"/>
              <a:gd name="T37" fmla="*/ 57876 h 210"/>
              <a:gd name="T38" fmla="*/ 95779 w 363"/>
              <a:gd name="T39" fmla="*/ 57876 h 210"/>
              <a:gd name="T40" fmla="*/ 136940 w 363"/>
              <a:gd name="T41" fmla="*/ 42091 h 210"/>
              <a:gd name="T42" fmla="*/ 163853 w 363"/>
              <a:gd name="T43" fmla="*/ 15784 h 210"/>
              <a:gd name="T44" fmla="*/ 177310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noFill/>
          <a:ln w="9525">
            <a:solidFill>
              <a:schemeClr val="bg2"/>
            </a:solidFill>
            <a:round/>
            <a:headEnd/>
            <a:tailEnd/>
          </a:ln>
        </p:spPr>
        <p:txBody>
          <a:bodyPr/>
          <a:lstStyle/>
          <a:p>
            <a:endParaRPr lang="en-US" dirty="0"/>
          </a:p>
        </p:txBody>
      </p:sp>
      <p:sp>
        <p:nvSpPr>
          <p:cNvPr id="18738" name="Freeform 305"/>
          <p:cNvSpPr>
            <a:spLocks noChangeAspect="1"/>
          </p:cNvSpPr>
          <p:nvPr/>
        </p:nvSpPr>
        <p:spPr bwMode="auto">
          <a:xfrm>
            <a:off x="4575175" y="3386138"/>
            <a:ext cx="217488" cy="366712"/>
          </a:xfrm>
          <a:custGeom>
            <a:avLst/>
            <a:gdLst>
              <a:gd name="T0" fmla="*/ 27680 w 275"/>
              <a:gd name="T1" fmla="*/ 13287 h 414"/>
              <a:gd name="T2" fmla="*/ 27680 w 275"/>
              <a:gd name="T3" fmla="*/ 13287 h 414"/>
              <a:gd name="T4" fmla="*/ 27680 w 275"/>
              <a:gd name="T5" fmla="*/ 42517 h 414"/>
              <a:gd name="T6" fmla="*/ 55361 w 275"/>
              <a:gd name="T7" fmla="*/ 69976 h 414"/>
              <a:gd name="T8" fmla="*/ 41125 w 275"/>
              <a:gd name="T9" fmla="*/ 155011 h 414"/>
              <a:gd name="T10" fmla="*/ 0 w 275"/>
              <a:gd name="T11" fmla="*/ 212587 h 414"/>
              <a:gd name="T12" fmla="*/ 0 w 275"/>
              <a:gd name="T13" fmla="*/ 225873 h 414"/>
              <a:gd name="T14" fmla="*/ 14236 w 275"/>
              <a:gd name="T15" fmla="*/ 239160 h 414"/>
              <a:gd name="T16" fmla="*/ 14236 w 275"/>
              <a:gd name="T17" fmla="*/ 255104 h 414"/>
              <a:gd name="T18" fmla="*/ 41125 w 275"/>
              <a:gd name="T19" fmla="*/ 310908 h 414"/>
              <a:gd name="T20" fmla="*/ 14236 w 275"/>
              <a:gd name="T21" fmla="*/ 310908 h 414"/>
              <a:gd name="T22" fmla="*/ 14236 w 275"/>
              <a:gd name="T23" fmla="*/ 324195 h 414"/>
              <a:gd name="T24" fmla="*/ 27680 w 275"/>
              <a:gd name="T25" fmla="*/ 340139 h 414"/>
              <a:gd name="T26" fmla="*/ 41125 w 275"/>
              <a:gd name="T27" fmla="*/ 366712 h 414"/>
              <a:gd name="T28" fmla="*/ 108349 w 275"/>
              <a:gd name="T29" fmla="*/ 353425 h 414"/>
              <a:gd name="T30" fmla="*/ 121793 w 275"/>
              <a:gd name="T31" fmla="*/ 340139 h 414"/>
              <a:gd name="T32" fmla="*/ 108349 w 275"/>
              <a:gd name="T33" fmla="*/ 340139 h 414"/>
              <a:gd name="T34" fmla="*/ 149474 w 275"/>
              <a:gd name="T35" fmla="*/ 324195 h 414"/>
              <a:gd name="T36" fmla="*/ 176363 w 275"/>
              <a:gd name="T37" fmla="*/ 297621 h 414"/>
              <a:gd name="T38" fmla="*/ 189808 w 275"/>
              <a:gd name="T39" fmla="*/ 281677 h 414"/>
              <a:gd name="T40" fmla="*/ 204043 w 275"/>
              <a:gd name="T41" fmla="*/ 281677 h 414"/>
              <a:gd name="T42" fmla="*/ 176363 w 275"/>
              <a:gd name="T43" fmla="*/ 239160 h 414"/>
              <a:gd name="T44" fmla="*/ 204043 w 275"/>
              <a:gd name="T45" fmla="*/ 183356 h 414"/>
              <a:gd name="T46" fmla="*/ 217488 w 275"/>
              <a:gd name="T47" fmla="*/ 183356 h 414"/>
              <a:gd name="T48" fmla="*/ 217488 w 275"/>
              <a:gd name="T49" fmla="*/ 170069 h 414"/>
              <a:gd name="T50" fmla="*/ 217488 w 275"/>
              <a:gd name="T51" fmla="*/ 98321 h 414"/>
              <a:gd name="T52" fmla="*/ 55361 w 275"/>
              <a:gd name="T53" fmla="*/ 0 h 414"/>
              <a:gd name="T54" fmla="*/ 27680 w 275"/>
              <a:gd name="T55" fmla="*/ 13287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chemeClr val="bg1"/>
          </a:solidFill>
          <a:ln w="9525">
            <a:solidFill>
              <a:schemeClr val="bg2"/>
            </a:solidFill>
            <a:round/>
            <a:headEnd/>
            <a:tailEnd/>
          </a:ln>
        </p:spPr>
        <p:txBody>
          <a:bodyPr/>
          <a:lstStyle/>
          <a:p>
            <a:endParaRPr lang="en-US" dirty="0"/>
          </a:p>
        </p:txBody>
      </p:sp>
      <p:sp>
        <p:nvSpPr>
          <p:cNvPr id="18739" name="Freeform 306"/>
          <p:cNvSpPr>
            <a:spLocks noChangeAspect="1"/>
          </p:cNvSpPr>
          <p:nvPr/>
        </p:nvSpPr>
        <p:spPr bwMode="auto">
          <a:xfrm>
            <a:off x="5067300" y="3513138"/>
            <a:ext cx="133350" cy="127000"/>
          </a:xfrm>
          <a:custGeom>
            <a:avLst/>
            <a:gdLst>
              <a:gd name="T0" fmla="*/ 120093 w 171"/>
              <a:gd name="T1" fmla="*/ 127000 h 144"/>
              <a:gd name="T2" fmla="*/ 120093 w 171"/>
              <a:gd name="T3" fmla="*/ 127000 h 144"/>
              <a:gd name="T4" fmla="*/ 133350 w 171"/>
              <a:gd name="T5" fmla="*/ 127000 h 144"/>
              <a:gd name="T6" fmla="*/ 92799 w 171"/>
              <a:gd name="T7" fmla="*/ 84667 h 144"/>
              <a:gd name="T8" fmla="*/ 66285 w 171"/>
              <a:gd name="T9" fmla="*/ 55562 h 144"/>
              <a:gd name="T10" fmla="*/ 40551 w 171"/>
              <a:gd name="T11" fmla="*/ 0 h 144"/>
              <a:gd name="T12" fmla="*/ 40551 w 171"/>
              <a:gd name="T13" fmla="*/ 13229 h 144"/>
              <a:gd name="T14" fmla="*/ 14037 w 171"/>
              <a:gd name="T15" fmla="*/ 27340 h 144"/>
              <a:gd name="T16" fmla="*/ 0 w 171"/>
              <a:gd name="T17" fmla="*/ 84667 h 144"/>
              <a:gd name="T18" fmla="*/ 14037 w 171"/>
              <a:gd name="T19" fmla="*/ 84667 h 144"/>
              <a:gd name="T20" fmla="*/ 27294 w 171"/>
              <a:gd name="T21" fmla="*/ 97896 h 144"/>
              <a:gd name="T22" fmla="*/ 27294 w 171"/>
              <a:gd name="T23" fmla="*/ 68792 h 144"/>
              <a:gd name="T24" fmla="*/ 40551 w 171"/>
              <a:gd name="T25" fmla="*/ 84667 h 144"/>
              <a:gd name="T26" fmla="*/ 79542 w 171"/>
              <a:gd name="T27" fmla="*/ 84667 h 144"/>
              <a:gd name="T28" fmla="*/ 120093 w 171"/>
              <a:gd name="T29" fmla="*/ 127000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chemeClr val="bg1"/>
          </a:solidFill>
          <a:ln w="9525">
            <a:solidFill>
              <a:schemeClr val="bg2"/>
            </a:solidFill>
            <a:round/>
            <a:headEnd/>
            <a:tailEnd/>
          </a:ln>
        </p:spPr>
        <p:txBody>
          <a:bodyPr/>
          <a:lstStyle/>
          <a:p>
            <a:endParaRPr lang="en-US" dirty="0"/>
          </a:p>
        </p:txBody>
      </p:sp>
      <p:sp>
        <p:nvSpPr>
          <p:cNvPr id="18740" name="Freeform 307"/>
          <p:cNvSpPr>
            <a:spLocks noChangeAspect="1"/>
          </p:cNvSpPr>
          <p:nvPr/>
        </p:nvSpPr>
        <p:spPr bwMode="auto">
          <a:xfrm>
            <a:off x="4749800" y="3398838"/>
            <a:ext cx="357188" cy="438150"/>
          </a:xfrm>
          <a:custGeom>
            <a:avLst/>
            <a:gdLst>
              <a:gd name="T0" fmla="*/ 316186 w 453"/>
              <a:gd name="T1" fmla="*/ 199159 h 495"/>
              <a:gd name="T2" fmla="*/ 316186 w 453"/>
              <a:gd name="T3" fmla="*/ 199159 h 495"/>
              <a:gd name="T4" fmla="*/ 330379 w 453"/>
              <a:gd name="T5" fmla="*/ 141624 h 495"/>
              <a:gd name="T6" fmla="*/ 357188 w 453"/>
              <a:gd name="T7" fmla="*/ 127462 h 495"/>
              <a:gd name="T8" fmla="*/ 357188 w 453"/>
              <a:gd name="T9" fmla="*/ 114185 h 495"/>
              <a:gd name="T10" fmla="*/ 343784 w 453"/>
              <a:gd name="T11" fmla="*/ 99137 h 495"/>
              <a:gd name="T12" fmla="*/ 330379 w 453"/>
              <a:gd name="T13" fmla="*/ 14162 h 495"/>
              <a:gd name="T14" fmla="*/ 301205 w 453"/>
              <a:gd name="T15" fmla="*/ 0 h 495"/>
              <a:gd name="T16" fmla="*/ 260203 w 453"/>
              <a:gd name="T17" fmla="*/ 29210 h 495"/>
              <a:gd name="T18" fmla="*/ 246799 w 453"/>
              <a:gd name="T19" fmla="*/ 14162 h 495"/>
              <a:gd name="T20" fmla="*/ 69388 w 453"/>
              <a:gd name="T21" fmla="*/ 14162 h 495"/>
              <a:gd name="T22" fmla="*/ 69388 w 453"/>
              <a:gd name="T23" fmla="*/ 56650 h 495"/>
              <a:gd name="T24" fmla="*/ 55983 w 453"/>
              <a:gd name="T25" fmla="*/ 71697 h 495"/>
              <a:gd name="T26" fmla="*/ 41002 w 453"/>
              <a:gd name="T27" fmla="*/ 84975 h 495"/>
              <a:gd name="T28" fmla="*/ 41002 w 453"/>
              <a:gd name="T29" fmla="*/ 156672 h 495"/>
              <a:gd name="T30" fmla="*/ 41002 w 453"/>
              <a:gd name="T31" fmla="*/ 169949 h 495"/>
              <a:gd name="T32" fmla="*/ 27597 w 453"/>
              <a:gd name="T33" fmla="*/ 169949 h 495"/>
              <a:gd name="T34" fmla="*/ 0 w 453"/>
              <a:gd name="T35" fmla="*/ 225714 h 495"/>
              <a:gd name="T36" fmla="*/ 27597 w 453"/>
              <a:gd name="T37" fmla="*/ 268201 h 495"/>
              <a:gd name="T38" fmla="*/ 13404 w 453"/>
              <a:gd name="T39" fmla="*/ 268201 h 495"/>
              <a:gd name="T40" fmla="*/ 41002 w 453"/>
              <a:gd name="T41" fmla="*/ 297411 h 495"/>
              <a:gd name="T42" fmla="*/ 41002 w 453"/>
              <a:gd name="T43" fmla="*/ 326621 h 495"/>
              <a:gd name="T44" fmla="*/ 69388 w 453"/>
              <a:gd name="T45" fmla="*/ 339898 h 495"/>
              <a:gd name="T46" fmla="*/ 124582 w 453"/>
              <a:gd name="T47" fmla="*/ 411595 h 495"/>
              <a:gd name="T48" fmla="*/ 137987 w 453"/>
              <a:gd name="T49" fmla="*/ 424873 h 495"/>
              <a:gd name="T50" fmla="*/ 178988 w 453"/>
              <a:gd name="T51" fmla="*/ 424873 h 495"/>
              <a:gd name="T52" fmla="*/ 192393 w 453"/>
              <a:gd name="T53" fmla="*/ 438150 h 495"/>
              <a:gd name="T54" fmla="*/ 219202 w 453"/>
              <a:gd name="T55" fmla="*/ 438150 h 495"/>
              <a:gd name="T56" fmla="*/ 260203 w 453"/>
              <a:gd name="T57" fmla="*/ 424873 h 495"/>
              <a:gd name="T58" fmla="*/ 274396 w 453"/>
              <a:gd name="T59" fmla="*/ 424873 h 495"/>
              <a:gd name="T60" fmla="*/ 301205 w 453"/>
              <a:gd name="T61" fmla="*/ 424873 h 495"/>
              <a:gd name="T62" fmla="*/ 301205 w 453"/>
              <a:gd name="T63" fmla="*/ 395663 h 495"/>
              <a:gd name="T64" fmla="*/ 287801 w 453"/>
              <a:gd name="T65" fmla="*/ 395663 h 495"/>
              <a:gd name="T66" fmla="*/ 260203 w 453"/>
              <a:gd name="T67" fmla="*/ 353175 h 495"/>
              <a:gd name="T68" fmla="*/ 246799 w 453"/>
              <a:gd name="T69" fmla="*/ 339898 h 495"/>
              <a:gd name="T70" fmla="*/ 260203 w 453"/>
              <a:gd name="T71" fmla="*/ 326621 h 495"/>
              <a:gd name="T72" fmla="*/ 274396 w 453"/>
              <a:gd name="T73" fmla="*/ 284134 h 495"/>
              <a:gd name="T74" fmla="*/ 316186 w 453"/>
              <a:gd name="T75" fmla="*/ 225714 h 495"/>
              <a:gd name="T76" fmla="*/ 316186 w 453"/>
              <a:gd name="T77" fmla="*/ 199159 h 4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3"/>
              <a:gd name="T118" fmla="*/ 0 h 495"/>
              <a:gd name="T119" fmla="*/ 453 w 453"/>
              <a:gd name="T120" fmla="*/ 495 h 4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3" h="495">
                <a:moveTo>
                  <a:pt x="401" y="225"/>
                </a:moveTo>
                <a:lnTo>
                  <a:pt x="401" y="225"/>
                </a:lnTo>
                <a:lnTo>
                  <a:pt x="419" y="160"/>
                </a:lnTo>
                <a:lnTo>
                  <a:pt x="453" y="144"/>
                </a:lnTo>
                <a:lnTo>
                  <a:pt x="453" y="129"/>
                </a:lnTo>
                <a:lnTo>
                  <a:pt x="436" y="112"/>
                </a:lnTo>
                <a:lnTo>
                  <a:pt x="419" y="16"/>
                </a:lnTo>
                <a:lnTo>
                  <a:pt x="382" y="0"/>
                </a:lnTo>
                <a:lnTo>
                  <a:pt x="330" y="33"/>
                </a:lnTo>
                <a:lnTo>
                  <a:pt x="313" y="16"/>
                </a:lnTo>
                <a:lnTo>
                  <a:pt x="88" y="16"/>
                </a:lnTo>
                <a:lnTo>
                  <a:pt x="88" y="64"/>
                </a:lnTo>
                <a:lnTo>
                  <a:pt x="71" y="81"/>
                </a:lnTo>
                <a:lnTo>
                  <a:pt x="52" y="96"/>
                </a:lnTo>
                <a:lnTo>
                  <a:pt x="52" y="177"/>
                </a:lnTo>
                <a:lnTo>
                  <a:pt x="52" y="192"/>
                </a:lnTo>
                <a:lnTo>
                  <a:pt x="35" y="192"/>
                </a:lnTo>
                <a:lnTo>
                  <a:pt x="0" y="255"/>
                </a:lnTo>
                <a:lnTo>
                  <a:pt x="35" y="303"/>
                </a:lnTo>
                <a:lnTo>
                  <a:pt x="17" y="303"/>
                </a:lnTo>
                <a:lnTo>
                  <a:pt x="52" y="336"/>
                </a:lnTo>
                <a:lnTo>
                  <a:pt x="52" y="369"/>
                </a:lnTo>
                <a:lnTo>
                  <a:pt x="88" y="384"/>
                </a:lnTo>
                <a:lnTo>
                  <a:pt x="158" y="465"/>
                </a:lnTo>
                <a:lnTo>
                  <a:pt x="175" y="480"/>
                </a:lnTo>
                <a:lnTo>
                  <a:pt x="227" y="480"/>
                </a:lnTo>
                <a:lnTo>
                  <a:pt x="244" y="495"/>
                </a:lnTo>
                <a:lnTo>
                  <a:pt x="278" y="495"/>
                </a:lnTo>
                <a:lnTo>
                  <a:pt x="330" y="480"/>
                </a:lnTo>
                <a:lnTo>
                  <a:pt x="348" y="480"/>
                </a:lnTo>
                <a:lnTo>
                  <a:pt x="382" y="480"/>
                </a:lnTo>
                <a:lnTo>
                  <a:pt x="382" y="447"/>
                </a:lnTo>
                <a:lnTo>
                  <a:pt x="365" y="447"/>
                </a:lnTo>
                <a:lnTo>
                  <a:pt x="330" y="399"/>
                </a:lnTo>
                <a:lnTo>
                  <a:pt x="313" y="384"/>
                </a:lnTo>
                <a:lnTo>
                  <a:pt x="330" y="369"/>
                </a:lnTo>
                <a:lnTo>
                  <a:pt x="348" y="321"/>
                </a:lnTo>
                <a:lnTo>
                  <a:pt x="401" y="255"/>
                </a:lnTo>
                <a:lnTo>
                  <a:pt x="401" y="225"/>
                </a:lnTo>
                <a:close/>
              </a:path>
            </a:pathLst>
          </a:custGeom>
          <a:solidFill>
            <a:schemeClr val="bg1"/>
          </a:solidFill>
          <a:ln w="9525">
            <a:solidFill>
              <a:schemeClr val="bg2"/>
            </a:solidFill>
            <a:round/>
            <a:headEnd/>
            <a:tailEnd/>
          </a:ln>
        </p:spPr>
        <p:txBody>
          <a:bodyPr/>
          <a:lstStyle/>
          <a:p>
            <a:endParaRPr lang="en-US" dirty="0"/>
          </a:p>
        </p:txBody>
      </p:sp>
      <p:sp>
        <p:nvSpPr>
          <p:cNvPr id="18741" name="Freeform 308"/>
          <p:cNvSpPr>
            <a:spLocks noChangeAspect="1"/>
          </p:cNvSpPr>
          <p:nvPr/>
        </p:nvSpPr>
        <p:spPr bwMode="auto">
          <a:xfrm>
            <a:off x="4464050" y="3625850"/>
            <a:ext cx="166688" cy="254000"/>
          </a:xfrm>
          <a:custGeom>
            <a:avLst/>
            <a:gdLst>
              <a:gd name="T0" fmla="*/ 0 w 212"/>
              <a:gd name="T1" fmla="*/ 185208 h 288"/>
              <a:gd name="T2" fmla="*/ 0 w 212"/>
              <a:gd name="T3" fmla="*/ 185208 h 288"/>
              <a:gd name="T4" fmla="*/ 27519 w 212"/>
              <a:gd name="T5" fmla="*/ 142875 h 288"/>
              <a:gd name="T6" fmla="*/ 40886 w 212"/>
              <a:gd name="T7" fmla="*/ 142875 h 288"/>
              <a:gd name="T8" fmla="*/ 54252 w 212"/>
              <a:gd name="T9" fmla="*/ 156104 h 288"/>
              <a:gd name="T10" fmla="*/ 69978 w 212"/>
              <a:gd name="T11" fmla="*/ 142875 h 288"/>
              <a:gd name="T12" fmla="*/ 96710 w 212"/>
              <a:gd name="T13" fmla="*/ 100542 h 288"/>
              <a:gd name="T14" fmla="*/ 110863 w 212"/>
              <a:gd name="T15" fmla="*/ 58208 h 288"/>
              <a:gd name="T16" fmla="*/ 124230 w 212"/>
              <a:gd name="T17" fmla="*/ 29104 h 288"/>
              <a:gd name="T18" fmla="*/ 124230 w 212"/>
              <a:gd name="T19" fmla="*/ 15875 h 288"/>
              <a:gd name="T20" fmla="*/ 124230 w 212"/>
              <a:gd name="T21" fmla="*/ 0 h 288"/>
              <a:gd name="T22" fmla="*/ 124230 w 212"/>
              <a:gd name="T23" fmla="*/ 15875 h 288"/>
              <a:gd name="T24" fmla="*/ 152535 w 212"/>
              <a:gd name="T25" fmla="*/ 71437 h 288"/>
              <a:gd name="T26" fmla="*/ 124230 w 212"/>
              <a:gd name="T27" fmla="*/ 71437 h 288"/>
              <a:gd name="T28" fmla="*/ 124230 w 212"/>
              <a:gd name="T29" fmla="*/ 84667 h 288"/>
              <a:gd name="T30" fmla="*/ 139169 w 212"/>
              <a:gd name="T31" fmla="*/ 100542 h 288"/>
              <a:gd name="T32" fmla="*/ 152535 w 212"/>
              <a:gd name="T33" fmla="*/ 127000 h 288"/>
              <a:gd name="T34" fmla="*/ 124230 w 212"/>
              <a:gd name="T35" fmla="*/ 169333 h 288"/>
              <a:gd name="T36" fmla="*/ 139169 w 212"/>
              <a:gd name="T37" fmla="*/ 185208 h 288"/>
              <a:gd name="T38" fmla="*/ 166688 w 212"/>
              <a:gd name="T39" fmla="*/ 227542 h 288"/>
              <a:gd name="T40" fmla="*/ 166688 w 212"/>
              <a:gd name="T41" fmla="*/ 254000 h 288"/>
              <a:gd name="T42" fmla="*/ 96710 w 212"/>
              <a:gd name="T43" fmla="*/ 240771 h 288"/>
              <a:gd name="T44" fmla="*/ 54252 w 212"/>
              <a:gd name="T45" fmla="*/ 240771 h 288"/>
              <a:gd name="T46" fmla="*/ 27519 w 212"/>
              <a:gd name="T47" fmla="*/ 240771 h 288"/>
              <a:gd name="T48" fmla="*/ 27519 w 212"/>
              <a:gd name="T49" fmla="*/ 227542 h 288"/>
              <a:gd name="T50" fmla="*/ 14153 w 212"/>
              <a:gd name="T51" fmla="*/ 211667 h 288"/>
              <a:gd name="T52" fmla="*/ 0 w 212"/>
              <a:gd name="T53" fmla="*/ 198437 h 288"/>
              <a:gd name="T54" fmla="*/ 0 w 212"/>
              <a:gd name="T55" fmla="*/ 185208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noFill/>
          <a:ln w="9525">
            <a:solidFill>
              <a:schemeClr val="bg2"/>
            </a:solidFill>
            <a:round/>
            <a:headEnd/>
            <a:tailEnd/>
          </a:ln>
        </p:spPr>
        <p:txBody>
          <a:bodyPr/>
          <a:lstStyle/>
          <a:p>
            <a:endParaRPr lang="en-US" dirty="0"/>
          </a:p>
        </p:txBody>
      </p:sp>
      <p:sp>
        <p:nvSpPr>
          <p:cNvPr id="18742" name="Freeform 309"/>
          <p:cNvSpPr>
            <a:spLocks noChangeAspect="1"/>
          </p:cNvSpPr>
          <p:nvPr/>
        </p:nvSpPr>
        <p:spPr bwMode="auto">
          <a:xfrm>
            <a:off x="4475163" y="3867150"/>
            <a:ext cx="42862" cy="26988"/>
          </a:xfrm>
          <a:custGeom>
            <a:avLst/>
            <a:gdLst>
              <a:gd name="T0" fmla="*/ 42862 w 53"/>
              <a:gd name="T1" fmla="*/ 0 h 33"/>
              <a:gd name="T2" fmla="*/ 42862 w 53"/>
              <a:gd name="T3" fmla="*/ 0 h 33"/>
              <a:gd name="T4" fmla="*/ 42862 w 53"/>
              <a:gd name="T5" fmla="*/ 26988 h 33"/>
              <a:gd name="T6" fmla="*/ 13748 w 53"/>
              <a:gd name="T7" fmla="*/ 26988 h 33"/>
              <a:gd name="T8" fmla="*/ 0 w 53"/>
              <a:gd name="T9" fmla="*/ 26988 h 33"/>
              <a:gd name="T10" fmla="*/ 13748 w 53"/>
              <a:gd name="T11" fmla="*/ 0 h 33"/>
              <a:gd name="T12" fmla="*/ 4286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noFill/>
          <a:ln w="9525">
            <a:solidFill>
              <a:schemeClr val="bg2"/>
            </a:solidFill>
            <a:prstDash val="solid"/>
            <a:round/>
            <a:headEnd/>
            <a:tailEnd/>
          </a:ln>
        </p:spPr>
        <p:txBody>
          <a:bodyPr/>
          <a:lstStyle/>
          <a:p>
            <a:endParaRPr lang="en-US" dirty="0"/>
          </a:p>
        </p:txBody>
      </p:sp>
      <p:sp>
        <p:nvSpPr>
          <p:cNvPr id="18743" name="Freeform 310"/>
          <p:cNvSpPr>
            <a:spLocks noChangeAspect="1"/>
          </p:cNvSpPr>
          <p:nvPr/>
        </p:nvSpPr>
        <p:spPr bwMode="auto">
          <a:xfrm>
            <a:off x="4997450" y="3584575"/>
            <a:ext cx="314325" cy="252413"/>
          </a:xfrm>
          <a:custGeom>
            <a:avLst/>
            <a:gdLst>
              <a:gd name="T0" fmla="*/ 192219 w 399"/>
              <a:gd name="T1" fmla="*/ 57845 h 288"/>
              <a:gd name="T2" fmla="*/ 192219 w 399"/>
              <a:gd name="T3" fmla="*/ 57845 h 288"/>
              <a:gd name="T4" fmla="*/ 192219 w 399"/>
              <a:gd name="T5" fmla="*/ 84138 h 288"/>
              <a:gd name="T6" fmla="*/ 192219 w 399"/>
              <a:gd name="T7" fmla="*/ 99913 h 288"/>
              <a:gd name="T8" fmla="*/ 205611 w 399"/>
              <a:gd name="T9" fmla="*/ 99913 h 288"/>
              <a:gd name="T10" fmla="*/ 205611 w 399"/>
              <a:gd name="T11" fmla="*/ 113060 h 288"/>
              <a:gd name="T12" fmla="*/ 233183 w 399"/>
              <a:gd name="T13" fmla="*/ 141982 h 288"/>
              <a:gd name="T14" fmla="*/ 300933 w 399"/>
              <a:gd name="T15" fmla="*/ 155129 h 288"/>
              <a:gd name="T16" fmla="*/ 314325 w 399"/>
              <a:gd name="T17" fmla="*/ 155129 h 288"/>
              <a:gd name="T18" fmla="*/ 259968 w 399"/>
              <a:gd name="T19" fmla="*/ 226120 h 288"/>
              <a:gd name="T20" fmla="*/ 219003 w 399"/>
              <a:gd name="T21" fmla="*/ 226120 h 288"/>
              <a:gd name="T22" fmla="*/ 192219 w 399"/>
              <a:gd name="T23" fmla="*/ 252413 h 288"/>
              <a:gd name="T24" fmla="*/ 163071 w 399"/>
              <a:gd name="T25" fmla="*/ 239266 h 288"/>
              <a:gd name="T26" fmla="*/ 122894 w 399"/>
              <a:gd name="T27" fmla="*/ 252413 h 288"/>
              <a:gd name="T28" fmla="*/ 54357 w 399"/>
              <a:gd name="T29" fmla="*/ 239266 h 288"/>
              <a:gd name="T30" fmla="*/ 54357 w 399"/>
              <a:gd name="T31" fmla="*/ 210344 h 288"/>
              <a:gd name="T32" fmla="*/ 40965 w 399"/>
              <a:gd name="T33" fmla="*/ 210344 h 288"/>
              <a:gd name="T34" fmla="*/ 13392 w 399"/>
              <a:gd name="T35" fmla="*/ 168275 h 288"/>
              <a:gd name="T36" fmla="*/ 0 w 399"/>
              <a:gd name="T37" fmla="*/ 155129 h 288"/>
              <a:gd name="T38" fmla="*/ 13392 w 399"/>
              <a:gd name="T39" fmla="*/ 141982 h 288"/>
              <a:gd name="T40" fmla="*/ 27572 w 399"/>
              <a:gd name="T41" fmla="*/ 99913 h 288"/>
              <a:gd name="T42" fmla="*/ 67749 w 399"/>
              <a:gd name="T43" fmla="*/ 42069 h 288"/>
              <a:gd name="T44" fmla="*/ 67749 w 399"/>
              <a:gd name="T45" fmla="*/ 15776 h 288"/>
              <a:gd name="T46" fmla="*/ 81929 w 399"/>
              <a:gd name="T47" fmla="*/ 15776 h 288"/>
              <a:gd name="T48" fmla="*/ 95322 w 399"/>
              <a:gd name="T49" fmla="*/ 28922 h 288"/>
              <a:gd name="T50" fmla="*/ 95322 w 399"/>
              <a:gd name="T51" fmla="*/ 0 h 288"/>
              <a:gd name="T52" fmla="*/ 108714 w 399"/>
              <a:gd name="T53" fmla="*/ 15776 h 288"/>
              <a:gd name="T54" fmla="*/ 149679 w 399"/>
              <a:gd name="T55" fmla="*/ 15776 h 288"/>
              <a:gd name="T56" fmla="*/ 192219 w 399"/>
              <a:gd name="T57" fmla="*/ 57845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noFill/>
          <a:ln w="9525">
            <a:solidFill>
              <a:schemeClr val="bg2"/>
            </a:solidFill>
            <a:round/>
            <a:headEnd/>
            <a:tailEnd/>
          </a:ln>
        </p:spPr>
        <p:txBody>
          <a:bodyPr/>
          <a:lstStyle/>
          <a:p>
            <a:endParaRPr lang="en-US" dirty="0"/>
          </a:p>
        </p:txBody>
      </p:sp>
      <p:sp>
        <p:nvSpPr>
          <p:cNvPr id="18744" name="Freeform 311"/>
          <p:cNvSpPr>
            <a:spLocks noChangeAspect="1"/>
          </p:cNvSpPr>
          <p:nvPr/>
        </p:nvSpPr>
        <p:spPr bwMode="auto">
          <a:xfrm>
            <a:off x="5187950" y="3640138"/>
            <a:ext cx="30163" cy="41275"/>
          </a:xfrm>
          <a:custGeom>
            <a:avLst/>
            <a:gdLst>
              <a:gd name="T0" fmla="*/ 15082 w 34"/>
              <a:gd name="T1" fmla="*/ 41275 h 48"/>
              <a:gd name="T2" fmla="*/ 15082 w 34"/>
              <a:gd name="T3" fmla="*/ 41275 h 48"/>
              <a:gd name="T4" fmla="*/ 0 w 34"/>
              <a:gd name="T5" fmla="*/ 41275 h 48"/>
              <a:gd name="T6" fmla="*/ 0 w 34"/>
              <a:gd name="T7" fmla="*/ 25797 h 48"/>
              <a:gd name="T8" fmla="*/ 0 w 34"/>
              <a:gd name="T9" fmla="*/ 0 h 48"/>
              <a:gd name="T10" fmla="*/ 15082 w 34"/>
              <a:gd name="T11" fmla="*/ 0 h 48"/>
              <a:gd name="T12" fmla="*/ 30163 w 34"/>
              <a:gd name="T13" fmla="*/ 0 h 48"/>
              <a:gd name="T14" fmla="*/ 30163 w 34"/>
              <a:gd name="T15" fmla="*/ 12898 h 48"/>
              <a:gd name="T16" fmla="*/ 15082 w 34"/>
              <a:gd name="T17" fmla="*/ 12898 h 48"/>
              <a:gd name="T18" fmla="*/ 30163 w 34"/>
              <a:gd name="T19" fmla="*/ 25797 h 48"/>
              <a:gd name="T20" fmla="*/ 15082 w 34"/>
              <a:gd name="T21" fmla="*/ 4127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noFill/>
          <a:ln w="9525">
            <a:solidFill>
              <a:schemeClr val="bg2"/>
            </a:solidFill>
            <a:prstDash val="solid"/>
            <a:round/>
            <a:headEnd/>
            <a:tailEnd/>
          </a:ln>
        </p:spPr>
        <p:txBody>
          <a:bodyPr/>
          <a:lstStyle/>
          <a:p>
            <a:endParaRPr lang="en-US" dirty="0"/>
          </a:p>
        </p:txBody>
      </p:sp>
      <p:sp>
        <p:nvSpPr>
          <p:cNvPr id="18745" name="Freeform 312"/>
          <p:cNvSpPr>
            <a:spLocks noChangeAspect="1"/>
          </p:cNvSpPr>
          <p:nvPr/>
        </p:nvSpPr>
        <p:spPr bwMode="auto">
          <a:xfrm>
            <a:off x="5010150" y="3822700"/>
            <a:ext cx="177800" cy="198438"/>
          </a:xfrm>
          <a:custGeom>
            <a:avLst/>
            <a:gdLst>
              <a:gd name="T0" fmla="*/ 177800 w 227"/>
              <a:gd name="T1" fmla="*/ 13288 h 224"/>
              <a:gd name="T2" fmla="*/ 177800 w 227"/>
              <a:gd name="T3" fmla="*/ 13288 h 224"/>
              <a:gd name="T4" fmla="*/ 150386 w 227"/>
              <a:gd name="T5" fmla="*/ 0 h 224"/>
              <a:gd name="T6" fmla="*/ 109656 w 227"/>
              <a:gd name="T7" fmla="*/ 13288 h 224"/>
              <a:gd name="T8" fmla="*/ 40730 w 227"/>
              <a:gd name="T9" fmla="*/ 0 h 224"/>
              <a:gd name="T10" fmla="*/ 14099 w 227"/>
              <a:gd name="T11" fmla="*/ 0 h 224"/>
              <a:gd name="T12" fmla="*/ 0 w 227"/>
              <a:gd name="T13" fmla="*/ 0 h 224"/>
              <a:gd name="T14" fmla="*/ 14099 w 227"/>
              <a:gd name="T15" fmla="*/ 13288 h 224"/>
              <a:gd name="T16" fmla="*/ 27414 w 227"/>
              <a:gd name="T17" fmla="*/ 55811 h 224"/>
              <a:gd name="T18" fmla="*/ 0 w 227"/>
              <a:gd name="T19" fmla="*/ 98333 h 224"/>
              <a:gd name="T20" fmla="*/ 0 w 227"/>
              <a:gd name="T21" fmla="*/ 114279 h 224"/>
              <a:gd name="T22" fmla="*/ 14099 w 227"/>
              <a:gd name="T23" fmla="*/ 114279 h 224"/>
              <a:gd name="T24" fmla="*/ 81459 w 227"/>
              <a:gd name="T25" fmla="*/ 155916 h 224"/>
              <a:gd name="T26" fmla="*/ 81459 w 227"/>
              <a:gd name="T27" fmla="*/ 183378 h 224"/>
              <a:gd name="T28" fmla="*/ 123755 w 227"/>
              <a:gd name="T29" fmla="*/ 198438 h 224"/>
              <a:gd name="T30" fmla="*/ 137070 w 227"/>
              <a:gd name="T31" fmla="*/ 155916 h 224"/>
              <a:gd name="T32" fmla="*/ 150386 w 227"/>
              <a:gd name="T33" fmla="*/ 155916 h 224"/>
              <a:gd name="T34" fmla="*/ 164485 w 227"/>
              <a:gd name="T35" fmla="*/ 127567 h 224"/>
              <a:gd name="T36" fmla="*/ 150386 w 227"/>
              <a:gd name="T37" fmla="*/ 114279 h 224"/>
              <a:gd name="T38" fmla="*/ 150386 w 227"/>
              <a:gd name="T39" fmla="*/ 42522 h 224"/>
              <a:gd name="T40" fmla="*/ 177800 w 227"/>
              <a:gd name="T41" fmla="*/ 13288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noFill/>
          <a:ln w="9525">
            <a:solidFill>
              <a:schemeClr val="bg2"/>
            </a:solidFill>
            <a:round/>
            <a:headEnd/>
            <a:tailEnd/>
          </a:ln>
        </p:spPr>
        <p:txBody>
          <a:bodyPr/>
          <a:lstStyle/>
          <a:p>
            <a:endParaRPr lang="en-US" dirty="0"/>
          </a:p>
        </p:txBody>
      </p:sp>
      <p:sp>
        <p:nvSpPr>
          <p:cNvPr id="18746" name="Freeform 313"/>
          <p:cNvSpPr>
            <a:spLocks noChangeAspect="1"/>
          </p:cNvSpPr>
          <p:nvPr/>
        </p:nvSpPr>
        <p:spPr bwMode="auto">
          <a:xfrm>
            <a:off x="4914900" y="3822700"/>
            <a:ext cx="122238" cy="128588"/>
          </a:xfrm>
          <a:custGeom>
            <a:avLst/>
            <a:gdLst>
              <a:gd name="T0" fmla="*/ 94813 w 156"/>
              <a:gd name="T1" fmla="*/ 0 h 144"/>
              <a:gd name="T2" fmla="*/ 94813 w 156"/>
              <a:gd name="T3" fmla="*/ 0 h 144"/>
              <a:gd name="T4" fmla="*/ 108917 w 156"/>
              <a:gd name="T5" fmla="*/ 13395 h 144"/>
              <a:gd name="T6" fmla="*/ 122238 w 156"/>
              <a:gd name="T7" fmla="*/ 56257 h 144"/>
              <a:gd name="T8" fmla="*/ 94813 w 156"/>
              <a:gd name="T9" fmla="*/ 99120 h 144"/>
              <a:gd name="T10" fmla="*/ 94813 w 156"/>
              <a:gd name="T11" fmla="*/ 115193 h 144"/>
              <a:gd name="T12" fmla="*/ 54067 w 156"/>
              <a:gd name="T13" fmla="*/ 115193 h 144"/>
              <a:gd name="T14" fmla="*/ 27425 w 156"/>
              <a:gd name="T15" fmla="*/ 115193 h 144"/>
              <a:gd name="T16" fmla="*/ 0 w 156"/>
              <a:gd name="T17" fmla="*/ 128588 h 144"/>
              <a:gd name="T18" fmla="*/ 14104 w 156"/>
              <a:gd name="T19" fmla="*/ 85725 h 144"/>
              <a:gd name="T20" fmla="*/ 27425 w 156"/>
              <a:gd name="T21" fmla="*/ 72331 h 144"/>
              <a:gd name="T22" fmla="*/ 40746 w 156"/>
              <a:gd name="T23" fmla="*/ 42863 h 144"/>
              <a:gd name="T24" fmla="*/ 27425 w 156"/>
              <a:gd name="T25" fmla="*/ 42863 h 144"/>
              <a:gd name="T26" fmla="*/ 27425 w 156"/>
              <a:gd name="T27" fmla="*/ 13395 h 144"/>
              <a:gd name="T28" fmla="*/ 54067 w 156"/>
              <a:gd name="T29" fmla="*/ 13395 h 144"/>
              <a:gd name="T30" fmla="*/ 94813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noFill/>
          <a:ln w="9525">
            <a:solidFill>
              <a:schemeClr val="bg2"/>
            </a:solidFill>
            <a:round/>
            <a:headEnd/>
            <a:tailEnd/>
          </a:ln>
        </p:spPr>
        <p:txBody>
          <a:bodyPr/>
          <a:lstStyle/>
          <a:p>
            <a:endParaRPr lang="en-US" dirty="0"/>
          </a:p>
        </p:txBody>
      </p:sp>
      <p:sp>
        <p:nvSpPr>
          <p:cNvPr id="18747" name="Freeform 314"/>
          <p:cNvSpPr>
            <a:spLocks noChangeAspect="1"/>
          </p:cNvSpPr>
          <p:nvPr/>
        </p:nvSpPr>
        <p:spPr bwMode="auto">
          <a:xfrm>
            <a:off x="4900613" y="3937000"/>
            <a:ext cx="42862" cy="41275"/>
          </a:xfrm>
          <a:custGeom>
            <a:avLst/>
            <a:gdLst>
              <a:gd name="T0" fmla="*/ 42862 w 52"/>
              <a:gd name="T1" fmla="*/ 41275 h 47"/>
              <a:gd name="T2" fmla="*/ 42862 w 52"/>
              <a:gd name="T3" fmla="*/ 41275 h 47"/>
              <a:gd name="T4" fmla="*/ 14013 w 52"/>
              <a:gd name="T5" fmla="*/ 41275 h 47"/>
              <a:gd name="T6" fmla="*/ 0 w 52"/>
              <a:gd name="T7" fmla="*/ 41275 h 47"/>
              <a:gd name="T8" fmla="*/ 14013 w 52"/>
              <a:gd name="T9" fmla="*/ 13173 h 47"/>
              <a:gd name="T10" fmla="*/ 42862 w 52"/>
              <a:gd name="T11" fmla="*/ 0 h 47"/>
              <a:gd name="T12" fmla="*/ 42862 w 52"/>
              <a:gd name="T13" fmla="*/ 26346 h 47"/>
              <a:gd name="T14" fmla="*/ 42862 w 52"/>
              <a:gd name="T15" fmla="*/ 41275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noFill/>
          <a:ln w="9525">
            <a:solidFill>
              <a:schemeClr val="bg2"/>
            </a:solidFill>
            <a:prstDash val="solid"/>
            <a:round/>
            <a:headEnd/>
            <a:tailEnd/>
          </a:ln>
        </p:spPr>
        <p:txBody>
          <a:bodyPr/>
          <a:lstStyle/>
          <a:p>
            <a:endParaRPr lang="en-US" dirty="0"/>
          </a:p>
        </p:txBody>
      </p:sp>
      <p:sp>
        <p:nvSpPr>
          <p:cNvPr id="18748" name="Freeform 315"/>
          <p:cNvSpPr>
            <a:spLocks noChangeAspect="1"/>
          </p:cNvSpPr>
          <p:nvPr/>
        </p:nvSpPr>
        <p:spPr bwMode="auto">
          <a:xfrm>
            <a:off x="4914900" y="3978275"/>
            <a:ext cx="28575" cy="42863"/>
          </a:xfrm>
          <a:custGeom>
            <a:avLst/>
            <a:gdLst>
              <a:gd name="T0" fmla="*/ 28575 w 35"/>
              <a:gd name="T1" fmla="*/ 0 h 48"/>
              <a:gd name="T2" fmla="*/ 28575 w 35"/>
              <a:gd name="T3" fmla="*/ 0 h 48"/>
              <a:gd name="T4" fmla="*/ 28575 w 35"/>
              <a:gd name="T5" fmla="*/ 14288 h 48"/>
              <a:gd name="T6" fmla="*/ 0 w 35"/>
              <a:gd name="T7" fmla="*/ 42863 h 48"/>
              <a:gd name="T8" fmla="*/ 0 w 35"/>
              <a:gd name="T9" fmla="*/ 14288 h 48"/>
              <a:gd name="T10" fmla="*/ 0 w 35"/>
              <a:gd name="T11" fmla="*/ 0 h 48"/>
              <a:gd name="T12" fmla="*/ 28575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noFill/>
          <a:ln w="9525">
            <a:solidFill>
              <a:schemeClr val="bg2"/>
            </a:solidFill>
            <a:prstDash val="solid"/>
            <a:round/>
            <a:headEnd/>
            <a:tailEnd/>
          </a:ln>
        </p:spPr>
        <p:txBody>
          <a:bodyPr/>
          <a:lstStyle/>
          <a:p>
            <a:endParaRPr lang="en-US" dirty="0"/>
          </a:p>
        </p:txBody>
      </p:sp>
      <p:sp>
        <p:nvSpPr>
          <p:cNvPr id="18749" name="Freeform 316"/>
          <p:cNvSpPr>
            <a:spLocks noChangeAspect="1"/>
          </p:cNvSpPr>
          <p:nvPr/>
        </p:nvSpPr>
        <p:spPr bwMode="auto">
          <a:xfrm>
            <a:off x="3998913" y="3076575"/>
            <a:ext cx="258762" cy="212725"/>
          </a:xfrm>
          <a:custGeom>
            <a:avLst/>
            <a:gdLst>
              <a:gd name="T0" fmla="*/ 232102 w 330"/>
              <a:gd name="T1" fmla="*/ 15068 h 240"/>
              <a:gd name="T2" fmla="*/ 232102 w 330"/>
              <a:gd name="T3" fmla="*/ 15068 h 240"/>
              <a:gd name="T4" fmla="*/ 245432 w 330"/>
              <a:gd name="T5" fmla="*/ 15068 h 240"/>
              <a:gd name="T6" fmla="*/ 258762 w 330"/>
              <a:gd name="T7" fmla="*/ 85090 h 240"/>
              <a:gd name="T8" fmla="*/ 204657 w 330"/>
              <a:gd name="T9" fmla="*/ 100158 h 240"/>
              <a:gd name="T10" fmla="*/ 204657 w 330"/>
              <a:gd name="T11" fmla="*/ 113453 h 240"/>
              <a:gd name="T12" fmla="*/ 163883 w 330"/>
              <a:gd name="T13" fmla="*/ 142703 h 240"/>
              <a:gd name="T14" fmla="*/ 109778 w 330"/>
              <a:gd name="T15" fmla="*/ 170180 h 240"/>
              <a:gd name="T16" fmla="*/ 96448 w 330"/>
              <a:gd name="T17" fmla="*/ 185248 h 240"/>
              <a:gd name="T18" fmla="*/ 96448 w 330"/>
              <a:gd name="T19" fmla="*/ 212725 h 240"/>
              <a:gd name="T20" fmla="*/ 0 w 330"/>
              <a:gd name="T21" fmla="*/ 198543 h 240"/>
              <a:gd name="T22" fmla="*/ 28229 w 330"/>
              <a:gd name="T23" fmla="*/ 198543 h 240"/>
              <a:gd name="T24" fmla="*/ 55673 w 330"/>
              <a:gd name="T25" fmla="*/ 170180 h 240"/>
              <a:gd name="T26" fmla="*/ 69003 w 330"/>
              <a:gd name="T27" fmla="*/ 142703 h 240"/>
              <a:gd name="T28" fmla="*/ 69003 w 330"/>
              <a:gd name="T29" fmla="*/ 113453 h 240"/>
              <a:gd name="T30" fmla="*/ 83117 w 330"/>
              <a:gd name="T31" fmla="*/ 85090 h 240"/>
              <a:gd name="T32" fmla="*/ 96448 w 330"/>
              <a:gd name="T33" fmla="*/ 57613 h 240"/>
              <a:gd name="T34" fmla="*/ 137222 w 330"/>
              <a:gd name="T35" fmla="*/ 42545 h 240"/>
              <a:gd name="T36" fmla="*/ 150552 w 330"/>
              <a:gd name="T37" fmla="*/ 0 h 240"/>
              <a:gd name="T38" fmla="*/ 163883 w 330"/>
              <a:gd name="T39" fmla="*/ 0 h 240"/>
              <a:gd name="T40" fmla="*/ 177997 w 330"/>
              <a:gd name="T41" fmla="*/ 15068 h 240"/>
              <a:gd name="T42" fmla="*/ 217987 w 330"/>
              <a:gd name="T43" fmla="*/ 15068 h 240"/>
              <a:gd name="T44" fmla="*/ 232102 w 330"/>
              <a:gd name="T45" fmla="*/ 15068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chemeClr val="bg1"/>
          </a:solidFill>
          <a:ln w="9525">
            <a:solidFill>
              <a:schemeClr val="bg2"/>
            </a:solidFill>
            <a:prstDash val="solid"/>
            <a:round/>
            <a:headEnd/>
            <a:tailEnd/>
          </a:ln>
        </p:spPr>
        <p:txBody>
          <a:bodyPr/>
          <a:lstStyle/>
          <a:p>
            <a:endParaRPr lang="en-US" dirty="0"/>
          </a:p>
        </p:txBody>
      </p:sp>
      <p:sp>
        <p:nvSpPr>
          <p:cNvPr id="18750" name="Freeform 317"/>
          <p:cNvSpPr>
            <a:spLocks noChangeAspect="1"/>
          </p:cNvSpPr>
          <p:nvPr/>
        </p:nvSpPr>
        <p:spPr bwMode="auto">
          <a:xfrm>
            <a:off x="4094163" y="3033713"/>
            <a:ext cx="436562" cy="452437"/>
          </a:xfrm>
          <a:custGeom>
            <a:avLst/>
            <a:gdLst>
              <a:gd name="T0" fmla="*/ 136081 w 555"/>
              <a:gd name="T1" fmla="*/ 57438 h 512"/>
              <a:gd name="T2" fmla="*/ 136081 w 555"/>
              <a:gd name="T3" fmla="*/ 57438 h 512"/>
              <a:gd name="T4" fmla="*/ 151027 w 555"/>
              <a:gd name="T5" fmla="*/ 57438 h 512"/>
              <a:gd name="T6" fmla="*/ 164399 w 555"/>
              <a:gd name="T7" fmla="*/ 127248 h 512"/>
              <a:gd name="T8" fmla="*/ 108551 w 555"/>
              <a:gd name="T9" fmla="*/ 142270 h 512"/>
              <a:gd name="T10" fmla="*/ 108551 w 555"/>
              <a:gd name="T11" fmla="*/ 155525 h 512"/>
              <a:gd name="T12" fmla="*/ 67647 w 555"/>
              <a:gd name="T13" fmla="*/ 184686 h 512"/>
              <a:gd name="T14" fmla="*/ 13372 w 555"/>
              <a:gd name="T15" fmla="*/ 212080 h 512"/>
              <a:gd name="T16" fmla="*/ 0 w 555"/>
              <a:gd name="T17" fmla="*/ 227102 h 512"/>
              <a:gd name="T18" fmla="*/ 0 w 555"/>
              <a:gd name="T19" fmla="*/ 254496 h 512"/>
              <a:gd name="T20" fmla="*/ 81806 w 555"/>
              <a:gd name="T21" fmla="*/ 311934 h 512"/>
              <a:gd name="T22" fmla="*/ 205302 w 555"/>
              <a:gd name="T23" fmla="*/ 410021 h 512"/>
              <a:gd name="T24" fmla="*/ 218674 w 555"/>
              <a:gd name="T25" fmla="*/ 424160 h 512"/>
              <a:gd name="T26" fmla="*/ 246205 w 555"/>
              <a:gd name="T27" fmla="*/ 439182 h 512"/>
              <a:gd name="T28" fmla="*/ 259577 w 555"/>
              <a:gd name="T29" fmla="*/ 452437 h 512"/>
              <a:gd name="T30" fmla="*/ 272950 w 555"/>
              <a:gd name="T31" fmla="*/ 452437 h 512"/>
              <a:gd name="T32" fmla="*/ 300480 w 555"/>
              <a:gd name="T33" fmla="*/ 452437 h 512"/>
              <a:gd name="T34" fmla="*/ 436562 w 555"/>
              <a:gd name="T35" fmla="*/ 354350 h 512"/>
              <a:gd name="T36" fmla="*/ 422403 w 555"/>
              <a:gd name="T37" fmla="*/ 325189 h 512"/>
              <a:gd name="T38" fmla="*/ 409031 w 555"/>
              <a:gd name="T39" fmla="*/ 325189 h 512"/>
              <a:gd name="T40" fmla="*/ 382287 w 555"/>
              <a:gd name="T41" fmla="*/ 282773 h 512"/>
              <a:gd name="T42" fmla="*/ 395659 w 555"/>
              <a:gd name="T43" fmla="*/ 269518 h 512"/>
              <a:gd name="T44" fmla="*/ 395659 w 555"/>
              <a:gd name="T45" fmla="*/ 240357 h 512"/>
              <a:gd name="T46" fmla="*/ 395659 w 555"/>
              <a:gd name="T47" fmla="*/ 212080 h 512"/>
              <a:gd name="T48" fmla="*/ 382287 w 555"/>
              <a:gd name="T49" fmla="*/ 197941 h 512"/>
              <a:gd name="T50" fmla="*/ 382287 w 555"/>
              <a:gd name="T51" fmla="*/ 184686 h 512"/>
              <a:gd name="T52" fmla="*/ 382287 w 555"/>
              <a:gd name="T53" fmla="*/ 142270 h 512"/>
              <a:gd name="T54" fmla="*/ 354756 w 555"/>
              <a:gd name="T55" fmla="*/ 127248 h 512"/>
              <a:gd name="T56" fmla="*/ 341384 w 555"/>
              <a:gd name="T57" fmla="*/ 99854 h 512"/>
              <a:gd name="T58" fmla="*/ 368128 w 555"/>
              <a:gd name="T59" fmla="*/ 70693 h 512"/>
              <a:gd name="T60" fmla="*/ 354756 w 555"/>
              <a:gd name="T61" fmla="*/ 15022 h 512"/>
              <a:gd name="T62" fmla="*/ 368128 w 555"/>
              <a:gd name="T63" fmla="*/ 0 h 512"/>
              <a:gd name="T64" fmla="*/ 354756 w 555"/>
              <a:gd name="T65" fmla="*/ 15022 h 512"/>
              <a:gd name="T66" fmla="*/ 313853 w 555"/>
              <a:gd name="T67" fmla="*/ 0 h 512"/>
              <a:gd name="T68" fmla="*/ 300480 w 555"/>
              <a:gd name="T69" fmla="*/ 15022 h 512"/>
              <a:gd name="T70" fmla="*/ 272950 w 555"/>
              <a:gd name="T71" fmla="*/ 0 h 512"/>
              <a:gd name="T72" fmla="*/ 246205 w 555"/>
              <a:gd name="T73" fmla="*/ 15022 h 512"/>
              <a:gd name="T74" fmla="*/ 205302 w 555"/>
              <a:gd name="T75" fmla="*/ 15022 h 512"/>
              <a:gd name="T76" fmla="*/ 136081 w 555"/>
              <a:gd name="T77" fmla="*/ 57438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chemeClr val="bg1"/>
          </a:solidFill>
          <a:ln w="9525">
            <a:solidFill>
              <a:schemeClr val="bg2"/>
            </a:solidFill>
            <a:round/>
            <a:headEnd/>
            <a:tailEnd/>
          </a:ln>
        </p:spPr>
        <p:txBody>
          <a:bodyPr/>
          <a:lstStyle/>
          <a:p>
            <a:endParaRPr lang="en-US" dirty="0"/>
          </a:p>
        </p:txBody>
      </p:sp>
      <p:sp>
        <p:nvSpPr>
          <p:cNvPr id="18751" name="Freeform 318"/>
          <p:cNvSpPr>
            <a:spLocks noChangeAspect="1"/>
          </p:cNvSpPr>
          <p:nvPr/>
        </p:nvSpPr>
        <p:spPr bwMode="auto">
          <a:xfrm>
            <a:off x="4433888" y="3033713"/>
            <a:ext cx="84137" cy="187325"/>
          </a:xfrm>
          <a:custGeom>
            <a:avLst/>
            <a:gdLst>
              <a:gd name="T0" fmla="*/ 84137 w 105"/>
              <a:gd name="T1" fmla="*/ 114725 h 209"/>
              <a:gd name="T2" fmla="*/ 84137 w 105"/>
              <a:gd name="T3" fmla="*/ 114725 h 209"/>
              <a:gd name="T4" fmla="*/ 84137 w 105"/>
              <a:gd name="T5" fmla="*/ 129066 h 209"/>
              <a:gd name="T6" fmla="*/ 56893 w 105"/>
              <a:gd name="T7" fmla="*/ 157747 h 209"/>
              <a:gd name="T8" fmla="*/ 56893 w 105"/>
              <a:gd name="T9" fmla="*/ 172088 h 209"/>
              <a:gd name="T10" fmla="*/ 43270 w 105"/>
              <a:gd name="T11" fmla="*/ 187325 h 209"/>
              <a:gd name="T12" fmla="*/ 43270 w 105"/>
              <a:gd name="T13" fmla="*/ 144303 h 209"/>
              <a:gd name="T14" fmla="*/ 13622 w 105"/>
              <a:gd name="T15" fmla="*/ 129066 h 209"/>
              <a:gd name="T16" fmla="*/ 0 w 105"/>
              <a:gd name="T17" fmla="*/ 101281 h 209"/>
              <a:gd name="T18" fmla="*/ 27244 w 105"/>
              <a:gd name="T19" fmla="*/ 71703 h 209"/>
              <a:gd name="T20" fmla="*/ 13622 w 105"/>
              <a:gd name="T21" fmla="*/ 15237 h 209"/>
              <a:gd name="T22" fmla="*/ 27244 w 105"/>
              <a:gd name="T23" fmla="*/ 0 h 209"/>
              <a:gd name="T24" fmla="*/ 56893 w 105"/>
              <a:gd name="T25" fmla="*/ 0 h 209"/>
              <a:gd name="T26" fmla="*/ 70515 w 105"/>
              <a:gd name="T27" fmla="*/ 15237 h 209"/>
              <a:gd name="T28" fmla="*/ 84137 w 105"/>
              <a:gd name="T29" fmla="*/ 0 h 209"/>
              <a:gd name="T30" fmla="*/ 70515 w 105"/>
              <a:gd name="T31" fmla="*/ 28681 h 209"/>
              <a:gd name="T32" fmla="*/ 84137 w 105"/>
              <a:gd name="T33" fmla="*/ 58259 h 209"/>
              <a:gd name="T34" fmla="*/ 56893 w 105"/>
              <a:gd name="T35" fmla="*/ 86044 h 209"/>
              <a:gd name="T36" fmla="*/ 56893 w 105"/>
              <a:gd name="T37" fmla="*/ 101281 h 209"/>
              <a:gd name="T38" fmla="*/ 84137 w 105"/>
              <a:gd name="T39" fmla="*/ 101281 h 209"/>
              <a:gd name="T40" fmla="*/ 84137 w 105"/>
              <a:gd name="T41" fmla="*/ 114725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chemeClr val="bg1"/>
          </a:solidFill>
          <a:ln w="9525">
            <a:solidFill>
              <a:schemeClr val="bg2"/>
            </a:solidFill>
            <a:round/>
            <a:headEnd/>
            <a:tailEnd/>
          </a:ln>
        </p:spPr>
        <p:txBody>
          <a:bodyPr/>
          <a:lstStyle/>
          <a:p>
            <a:endParaRPr lang="en-US" dirty="0"/>
          </a:p>
        </p:txBody>
      </p:sp>
      <p:sp>
        <p:nvSpPr>
          <p:cNvPr id="18752" name="Freeform 319"/>
          <p:cNvSpPr>
            <a:spLocks noChangeAspect="1"/>
          </p:cNvSpPr>
          <p:nvPr/>
        </p:nvSpPr>
        <p:spPr bwMode="auto">
          <a:xfrm>
            <a:off x="4013200" y="3344863"/>
            <a:ext cx="354013" cy="350837"/>
          </a:xfrm>
          <a:custGeom>
            <a:avLst/>
            <a:gdLst>
              <a:gd name="T0" fmla="*/ 163997 w 449"/>
              <a:gd name="T1" fmla="*/ 0 h 399"/>
              <a:gd name="T2" fmla="*/ 163997 w 449"/>
              <a:gd name="T3" fmla="*/ 0 h 399"/>
              <a:gd name="T4" fmla="*/ 286207 w 449"/>
              <a:gd name="T5" fmla="*/ 97601 h 399"/>
              <a:gd name="T6" fmla="*/ 299610 w 449"/>
              <a:gd name="T7" fmla="*/ 111670 h 399"/>
              <a:gd name="T8" fmla="*/ 327206 w 449"/>
              <a:gd name="T9" fmla="*/ 126618 h 399"/>
              <a:gd name="T10" fmla="*/ 340609 w 449"/>
              <a:gd name="T11" fmla="*/ 139807 h 399"/>
              <a:gd name="T12" fmla="*/ 354013 w 449"/>
              <a:gd name="T13" fmla="*/ 139807 h 399"/>
              <a:gd name="T14" fmla="*/ 354013 w 449"/>
              <a:gd name="T15" fmla="*/ 211030 h 399"/>
              <a:gd name="T16" fmla="*/ 340609 w 449"/>
              <a:gd name="T17" fmla="*/ 224219 h 399"/>
              <a:gd name="T18" fmla="*/ 272803 w 449"/>
              <a:gd name="T19" fmla="*/ 237409 h 399"/>
              <a:gd name="T20" fmla="*/ 245207 w 449"/>
              <a:gd name="T21" fmla="*/ 237409 h 399"/>
              <a:gd name="T22" fmla="*/ 218400 w 449"/>
              <a:gd name="T23" fmla="*/ 266425 h 399"/>
              <a:gd name="T24" fmla="*/ 190804 w 449"/>
              <a:gd name="T25" fmla="*/ 279614 h 399"/>
              <a:gd name="T26" fmla="*/ 163997 w 449"/>
              <a:gd name="T27" fmla="*/ 321820 h 399"/>
              <a:gd name="T28" fmla="*/ 149805 w 449"/>
              <a:gd name="T29" fmla="*/ 337648 h 399"/>
              <a:gd name="T30" fmla="*/ 136401 w 449"/>
              <a:gd name="T31" fmla="*/ 350837 h 399"/>
              <a:gd name="T32" fmla="*/ 122998 w 449"/>
              <a:gd name="T33" fmla="*/ 337648 h 399"/>
              <a:gd name="T34" fmla="*/ 108806 w 449"/>
              <a:gd name="T35" fmla="*/ 350837 h 399"/>
              <a:gd name="T36" fmla="*/ 95402 w 449"/>
              <a:gd name="T37" fmla="*/ 350837 h 399"/>
              <a:gd name="T38" fmla="*/ 68595 w 449"/>
              <a:gd name="T39" fmla="*/ 295442 h 399"/>
              <a:gd name="T40" fmla="*/ 40999 w 449"/>
              <a:gd name="T41" fmla="*/ 308631 h 399"/>
              <a:gd name="T42" fmla="*/ 13404 w 449"/>
              <a:gd name="T43" fmla="*/ 308631 h 399"/>
              <a:gd name="T44" fmla="*/ 27596 w 449"/>
              <a:gd name="T45" fmla="*/ 295442 h 399"/>
              <a:gd name="T46" fmla="*/ 0 w 449"/>
              <a:gd name="T47" fmla="*/ 237409 h 399"/>
              <a:gd name="T48" fmla="*/ 27596 w 449"/>
              <a:gd name="T49" fmla="*/ 224219 h 399"/>
              <a:gd name="T50" fmla="*/ 40999 w 449"/>
              <a:gd name="T51" fmla="*/ 237409 h 399"/>
              <a:gd name="T52" fmla="*/ 54403 w 449"/>
              <a:gd name="T53" fmla="*/ 224219 h 399"/>
              <a:gd name="T54" fmla="*/ 149805 w 449"/>
              <a:gd name="T55" fmla="*/ 224219 h 399"/>
              <a:gd name="T56" fmla="*/ 122998 w 449"/>
              <a:gd name="T57" fmla="*/ 0 h 399"/>
              <a:gd name="T58" fmla="*/ 163997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chemeClr val="bg1"/>
          </a:solidFill>
          <a:ln w="9525">
            <a:solidFill>
              <a:schemeClr val="bg2"/>
            </a:solidFill>
            <a:round/>
            <a:headEnd/>
            <a:tailEnd/>
          </a:ln>
        </p:spPr>
        <p:txBody>
          <a:bodyPr/>
          <a:lstStyle/>
          <a:p>
            <a:endParaRPr lang="en-US" dirty="0"/>
          </a:p>
        </p:txBody>
      </p:sp>
      <p:sp>
        <p:nvSpPr>
          <p:cNvPr id="18753" name="Freeform 320"/>
          <p:cNvSpPr>
            <a:spLocks noChangeAspect="1"/>
          </p:cNvSpPr>
          <p:nvPr/>
        </p:nvSpPr>
        <p:spPr bwMode="auto">
          <a:xfrm>
            <a:off x="3916363" y="3289300"/>
            <a:ext cx="258762" cy="296863"/>
          </a:xfrm>
          <a:custGeom>
            <a:avLst/>
            <a:gdLst>
              <a:gd name="T0" fmla="*/ 0 w 331"/>
              <a:gd name="T1" fmla="*/ 155964 h 335"/>
              <a:gd name="T2" fmla="*/ 0 w 331"/>
              <a:gd name="T3" fmla="*/ 155964 h 335"/>
              <a:gd name="T4" fmla="*/ 14072 w 331"/>
              <a:gd name="T5" fmla="*/ 142671 h 335"/>
              <a:gd name="T6" fmla="*/ 82866 w 331"/>
              <a:gd name="T7" fmla="*/ 142671 h 335"/>
              <a:gd name="T8" fmla="*/ 82866 w 331"/>
              <a:gd name="T9" fmla="*/ 113428 h 335"/>
              <a:gd name="T10" fmla="*/ 109446 w 331"/>
              <a:gd name="T11" fmla="*/ 100136 h 335"/>
              <a:gd name="T12" fmla="*/ 109446 w 331"/>
              <a:gd name="T13" fmla="*/ 28357 h 335"/>
              <a:gd name="T14" fmla="*/ 177459 w 331"/>
              <a:gd name="T15" fmla="*/ 28357 h 335"/>
              <a:gd name="T16" fmla="*/ 177459 w 331"/>
              <a:gd name="T17" fmla="*/ 0 h 335"/>
              <a:gd name="T18" fmla="*/ 258762 w 331"/>
              <a:gd name="T19" fmla="*/ 57600 h 335"/>
              <a:gd name="T20" fmla="*/ 218111 w 331"/>
              <a:gd name="T21" fmla="*/ 57600 h 335"/>
              <a:gd name="T22" fmla="*/ 244690 w 331"/>
              <a:gd name="T23" fmla="*/ 283571 h 335"/>
              <a:gd name="T24" fmla="*/ 150098 w 331"/>
              <a:gd name="T25" fmla="*/ 283571 h 335"/>
              <a:gd name="T26" fmla="*/ 136808 w 331"/>
              <a:gd name="T27" fmla="*/ 296863 h 335"/>
              <a:gd name="T28" fmla="*/ 123518 w 331"/>
              <a:gd name="T29" fmla="*/ 283571 h 335"/>
              <a:gd name="T30" fmla="*/ 96156 w 331"/>
              <a:gd name="T31" fmla="*/ 296863 h 335"/>
              <a:gd name="T32" fmla="*/ 82866 w 331"/>
              <a:gd name="T33" fmla="*/ 270278 h 335"/>
              <a:gd name="T34" fmla="*/ 40651 w 331"/>
              <a:gd name="T35" fmla="*/ 255214 h 335"/>
              <a:gd name="T36" fmla="*/ 14072 w 331"/>
              <a:gd name="T37" fmla="*/ 255214 h 335"/>
              <a:gd name="T38" fmla="*/ 0 w 331"/>
              <a:gd name="T39" fmla="*/ 270278 h 335"/>
              <a:gd name="T40" fmla="*/ 14072 w 331"/>
              <a:gd name="T41" fmla="*/ 212678 h 335"/>
              <a:gd name="T42" fmla="*/ 0 w 331"/>
              <a:gd name="T43" fmla="*/ 198499 h 335"/>
              <a:gd name="T44" fmla="*/ 14072 w 331"/>
              <a:gd name="T45" fmla="*/ 170142 h 335"/>
              <a:gd name="T46" fmla="*/ 0 w 331"/>
              <a:gd name="T47" fmla="*/ 155964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chemeClr val="bg1"/>
          </a:solidFill>
          <a:ln w="9525">
            <a:solidFill>
              <a:schemeClr val="bg2"/>
            </a:solidFill>
            <a:round/>
            <a:headEnd/>
            <a:tailEnd/>
          </a:ln>
        </p:spPr>
        <p:txBody>
          <a:bodyPr/>
          <a:lstStyle/>
          <a:p>
            <a:endParaRPr lang="en-US" dirty="0"/>
          </a:p>
        </p:txBody>
      </p:sp>
      <p:sp>
        <p:nvSpPr>
          <p:cNvPr id="18754" name="Freeform 321"/>
          <p:cNvSpPr>
            <a:spLocks noChangeAspect="1"/>
          </p:cNvSpPr>
          <p:nvPr/>
        </p:nvSpPr>
        <p:spPr bwMode="auto">
          <a:xfrm>
            <a:off x="3916363" y="3273425"/>
            <a:ext cx="177800" cy="171450"/>
          </a:xfrm>
          <a:custGeom>
            <a:avLst/>
            <a:gdLst>
              <a:gd name="T0" fmla="*/ 0 w 227"/>
              <a:gd name="T1" fmla="*/ 171450 h 192"/>
              <a:gd name="T2" fmla="*/ 0 w 227"/>
              <a:gd name="T3" fmla="*/ 171450 h 192"/>
              <a:gd name="T4" fmla="*/ 14099 w 227"/>
              <a:gd name="T5" fmla="*/ 158055 h 192"/>
              <a:gd name="T6" fmla="*/ 83026 w 227"/>
              <a:gd name="T7" fmla="*/ 158055 h 192"/>
              <a:gd name="T8" fmla="*/ 83026 w 227"/>
              <a:gd name="T9" fmla="*/ 128588 h 192"/>
              <a:gd name="T10" fmla="*/ 109656 w 227"/>
              <a:gd name="T11" fmla="*/ 115193 h 192"/>
              <a:gd name="T12" fmla="*/ 109656 w 227"/>
              <a:gd name="T13" fmla="*/ 42863 h 192"/>
              <a:gd name="T14" fmla="*/ 177800 w 227"/>
              <a:gd name="T15" fmla="*/ 42863 h 192"/>
              <a:gd name="T16" fmla="*/ 177800 w 227"/>
              <a:gd name="T17" fmla="*/ 14288 h 192"/>
              <a:gd name="T18" fmla="*/ 83026 w 227"/>
              <a:gd name="T19" fmla="*/ 0 h 192"/>
              <a:gd name="T20" fmla="*/ 69710 w 227"/>
              <a:gd name="T21" fmla="*/ 29468 h 192"/>
              <a:gd name="T22" fmla="*/ 54045 w 227"/>
              <a:gd name="T23" fmla="*/ 42863 h 192"/>
              <a:gd name="T24" fmla="*/ 40730 w 227"/>
              <a:gd name="T25" fmla="*/ 85725 h 192"/>
              <a:gd name="T26" fmla="*/ 0 w 227"/>
              <a:gd name="T27" fmla="*/ 142875 h 192"/>
              <a:gd name="T28" fmla="*/ 0 w 227"/>
              <a:gd name="T29" fmla="*/ 17145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chemeClr val="bg1"/>
          </a:solidFill>
          <a:ln w="9525">
            <a:solidFill>
              <a:schemeClr val="bg2"/>
            </a:solidFill>
            <a:prstDash val="solid"/>
            <a:round/>
            <a:headEnd/>
            <a:tailEnd/>
          </a:ln>
        </p:spPr>
        <p:txBody>
          <a:bodyPr/>
          <a:lstStyle/>
          <a:p>
            <a:endParaRPr lang="en-US" dirty="0"/>
          </a:p>
        </p:txBody>
      </p:sp>
      <p:sp>
        <p:nvSpPr>
          <p:cNvPr id="18755" name="Freeform 322"/>
          <p:cNvSpPr>
            <a:spLocks noChangeAspect="1"/>
          </p:cNvSpPr>
          <p:nvPr/>
        </p:nvSpPr>
        <p:spPr bwMode="auto">
          <a:xfrm>
            <a:off x="3913188" y="3611563"/>
            <a:ext cx="68262" cy="14287"/>
          </a:xfrm>
          <a:custGeom>
            <a:avLst/>
            <a:gdLst>
              <a:gd name="T0" fmla="*/ 0 w 87"/>
              <a:gd name="T1" fmla="*/ 14287 h 15"/>
              <a:gd name="T2" fmla="*/ 0 w 87"/>
              <a:gd name="T3" fmla="*/ 14287 h 15"/>
              <a:gd name="T4" fmla="*/ 14123 w 87"/>
              <a:gd name="T5" fmla="*/ 14287 h 15"/>
              <a:gd name="T6" fmla="*/ 40800 w 87"/>
              <a:gd name="T7" fmla="*/ 0 h 15"/>
              <a:gd name="T8" fmla="*/ 54139 w 87"/>
              <a:gd name="T9" fmla="*/ 14287 h 15"/>
              <a:gd name="T10" fmla="*/ 68262 w 87"/>
              <a:gd name="T11" fmla="*/ 0 h 15"/>
              <a:gd name="T12" fmla="*/ 40800 w 87"/>
              <a:gd name="T13" fmla="*/ 0 h 15"/>
              <a:gd name="T14" fmla="*/ 0 w 87"/>
              <a:gd name="T15" fmla="*/ 0 h 15"/>
              <a:gd name="T16" fmla="*/ 0 w 87"/>
              <a:gd name="T17" fmla="*/ 142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756" name="Freeform 323"/>
          <p:cNvSpPr>
            <a:spLocks noChangeAspect="1"/>
          </p:cNvSpPr>
          <p:nvPr/>
        </p:nvSpPr>
        <p:spPr bwMode="auto">
          <a:xfrm>
            <a:off x="3913188" y="3640138"/>
            <a:ext cx="68262" cy="41275"/>
          </a:xfrm>
          <a:custGeom>
            <a:avLst/>
            <a:gdLst>
              <a:gd name="T0" fmla="*/ 40800 w 87"/>
              <a:gd name="T1" fmla="*/ 41275 h 48"/>
              <a:gd name="T2" fmla="*/ 40800 w 87"/>
              <a:gd name="T3" fmla="*/ 41275 h 48"/>
              <a:gd name="T4" fmla="*/ 68262 w 87"/>
              <a:gd name="T5" fmla="*/ 12898 h 48"/>
              <a:gd name="T6" fmla="*/ 68262 w 87"/>
              <a:gd name="T7" fmla="*/ 0 h 48"/>
              <a:gd name="T8" fmla="*/ 0 w 87"/>
              <a:gd name="T9" fmla="*/ 0 h 48"/>
              <a:gd name="T10" fmla="*/ 27462 w 87"/>
              <a:gd name="T11" fmla="*/ 12898 h 48"/>
              <a:gd name="T12" fmla="*/ 27462 w 87"/>
              <a:gd name="T13" fmla="*/ 25797 h 48"/>
              <a:gd name="T14" fmla="*/ 40800 w 87"/>
              <a:gd name="T15" fmla="*/ 4127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chemeClr val="bg1"/>
          </a:solidFill>
          <a:ln w="9525">
            <a:solidFill>
              <a:schemeClr val="bg2"/>
            </a:solidFill>
            <a:prstDash val="solid"/>
            <a:round/>
            <a:headEnd/>
            <a:tailEnd/>
          </a:ln>
        </p:spPr>
        <p:txBody>
          <a:bodyPr/>
          <a:lstStyle/>
          <a:p>
            <a:endParaRPr lang="en-US" dirty="0"/>
          </a:p>
        </p:txBody>
      </p:sp>
      <p:sp>
        <p:nvSpPr>
          <p:cNvPr id="18757" name="Freeform 324"/>
          <p:cNvSpPr>
            <a:spLocks noChangeAspect="1"/>
          </p:cNvSpPr>
          <p:nvPr/>
        </p:nvSpPr>
        <p:spPr bwMode="auto">
          <a:xfrm>
            <a:off x="3997325" y="3695700"/>
            <a:ext cx="57150" cy="71438"/>
          </a:xfrm>
          <a:custGeom>
            <a:avLst/>
            <a:gdLst>
              <a:gd name="T0" fmla="*/ 0 w 71"/>
              <a:gd name="T1" fmla="*/ 13229 h 81"/>
              <a:gd name="T2" fmla="*/ 0 w 71"/>
              <a:gd name="T3" fmla="*/ 13229 h 81"/>
              <a:gd name="T4" fmla="*/ 15294 w 71"/>
              <a:gd name="T5" fmla="*/ 0 h 81"/>
              <a:gd name="T6" fmla="*/ 28977 w 71"/>
              <a:gd name="T7" fmla="*/ 0 h 81"/>
              <a:gd name="T8" fmla="*/ 57150 w 71"/>
              <a:gd name="T9" fmla="*/ 29104 h 81"/>
              <a:gd name="T10" fmla="*/ 57150 w 71"/>
              <a:gd name="T11" fmla="*/ 42334 h 81"/>
              <a:gd name="T12" fmla="*/ 28977 w 71"/>
              <a:gd name="T13" fmla="*/ 71438 h 81"/>
              <a:gd name="T14" fmla="*/ 15294 w 71"/>
              <a:gd name="T15" fmla="*/ 55563 h 81"/>
              <a:gd name="T16" fmla="*/ 0 w 71"/>
              <a:gd name="T17" fmla="*/ 55563 h 81"/>
              <a:gd name="T18" fmla="*/ 0 w 71"/>
              <a:gd name="T19" fmla="*/ 13229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chemeClr val="bg1"/>
          </a:solidFill>
          <a:ln w="9525">
            <a:solidFill>
              <a:schemeClr val="bg2"/>
            </a:solidFill>
            <a:prstDash val="solid"/>
            <a:round/>
            <a:headEnd/>
            <a:tailEnd/>
          </a:ln>
        </p:spPr>
        <p:txBody>
          <a:bodyPr/>
          <a:lstStyle/>
          <a:p>
            <a:endParaRPr lang="en-US" dirty="0"/>
          </a:p>
        </p:txBody>
      </p:sp>
      <p:sp>
        <p:nvSpPr>
          <p:cNvPr id="18758" name="Freeform 325"/>
          <p:cNvSpPr>
            <a:spLocks noChangeAspect="1"/>
          </p:cNvSpPr>
          <p:nvPr/>
        </p:nvSpPr>
        <p:spPr bwMode="auto">
          <a:xfrm>
            <a:off x="4022725" y="3725863"/>
            <a:ext cx="96838" cy="96837"/>
          </a:xfrm>
          <a:custGeom>
            <a:avLst/>
            <a:gdLst>
              <a:gd name="T0" fmla="*/ 96838 w 122"/>
              <a:gd name="T1" fmla="*/ 96837 h 111"/>
              <a:gd name="T2" fmla="*/ 96838 w 122"/>
              <a:gd name="T3" fmla="*/ 96837 h 111"/>
              <a:gd name="T4" fmla="*/ 96838 w 122"/>
              <a:gd name="T5" fmla="*/ 68048 h 111"/>
              <a:gd name="T6" fmla="*/ 68263 w 122"/>
              <a:gd name="T7" fmla="*/ 54962 h 111"/>
              <a:gd name="T8" fmla="*/ 68263 w 122"/>
              <a:gd name="T9" fmla="*/ 26172 h 111"/>
              <a:gd name="T10" fmla="*/ 54769 w 122"/>
              <a:gd name="T11" fmla="*/ 26172 h 111"/>
              <a:gd name="T12" fmla="*/ 40481 w 122"/>
              <a:gd name="T13" fmla="*/ 0 h 111"/>
              <a:gd name="T14" fmla="*/ 26988 w 122"/>
              <a:gd name="T15" fmla="*/ 13086 h 111"/>
              <a:gd name="T16" fmla="*/ 0 w 122"/>
              <a:gd name="T17" fmla="*/ 41875 h 111"/>
              <a:gd name="T18" fmla="*/ 68263 w 122"/>
              <a:gd name="T19" fmla="*/ 96837 h 111"/>
              <a:gd name="T20" fmla="*/ 96838 w 122"/>
              <a:gd name="T21" fmla="*/ 9683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chemeClr val="bg1"/>
          </a:solidFill>
          <a:ln w="9525">
            <a:solidFill>
              <a:schemeClr val="bg2"/>
            </a:solidFill>
            <a:prstDash val="solid"/>
            <a:round/>
            <a:headEnd/>
            <a:tailEnd/>
          </a:ln>
        </p:spPr>
        <p:txBody>
          <a:bodyPr/>
          <a:lstStyle/>
          <a:p>
            <a:endParaRPr lang="en-US" dirty="0"/>
          </a:p>
        </p:txBody>
      </p:sp>
      <p:sp>
        <p:nvSpPr>
          <p:cNvPr id="18759" name="Freeform 326"/>
          <p:cNvSpPr>
            <a:spLocks noChangeAspect="1"/>
          </p:cNvSpPr>
          <p:nvPr/>
        </p:nvSpPr>
        <p:spPr bwMode="auto">
          <a:xfrm>
            <a:off x="4092575" y="3681413"/>
            <a:ext cx="138113" cy="141287"/>
          </a:xfrm>
          <a:custGeom>
            <a:avLst/>
            <a:gdLst>
              <a:gd name="T0" fmla="*/ 123743 w 173"/>
              <a:gd name="T1" fmla="*/ 127958 h 159"/>
              <a:gd name="T2" fmla="*/ 123743 w 173"/>
              <a:gd name="T3" fmla="*/ 127958 h 159"/>
              <a:gd name="T4" fmla="*/ 123743 w 173"/>
              <a:gd name="T5" fmla="*/ 85305 h 159"/>
              <a:gd name="T6" fmla="*/ 138113 w 173"/>
              <a:gd name="T7" fmla="*/ 55982 h 159"/>
              <a:gd name="T8" fmla="*/ 123743 w 173"/>
              <a:gd name="T9" fmla="*/ 26658 h 159"/>
              <a:gd name="T10" fmla="*/ 110171 w 173"/>
              <a:gd name="T11" fmla="*/ 13329 h 159"/>
              <a:gd name="T12" fmla="*/ 83027 w 173"/>
              <a:gd name="T13" fmla="*/ 13329 h 159"/>
              <a:gd name="T14" fmla="*/ 68657 w 173"/>
              <a:gd name="T15" fmla="*/ 0 h 159"/>
              <a:gd name="T16" fmla="*/ 55086 w 173"/>
              <a:gd name="T17" fmla="*/ 13329 h 159"/>
              <a:gd name="T18" fmla="*/ 41514 w 173"/>
              <a:gd name="T19" fmla="*/ 0 h 159"/>
              <a:gd name="T20" fmla="*/ 27144 w 173"/>
              <a:gd name="T21" fmla="*/ 13329 h 159"/>
              <a:gd name="T22" fmla="*/ 13572 w 173"/>
              <a:gd name="T23" fmla="*/ 13329 h 159"/>
              <a:gd name="T24" fmla="*/ 13572 w 173"/>
              <a:gd name="T25" fmla="*/ 26658 h 159"/>
              <a:gd name="T26" fmla="*/ 13572 w 173"/>
              <a:gd name="T27" fmla="*/ 42653 h 159"/>
              <a:gd name="T28" fmla="*/ 13572 w 173"/>
              <a:gd name="T29" fmla="*/ 55982 h 159"/>
              <a:gd name="T30" fmla="*/ 13572 w 173"/>
              <a:gd name="T31" fmla="*/ 69311 h 159"/>
              <a:gd name="T32" fmla="*/ 0 w 173"/>
              <a:gd name="T33" fmla="*/ 69311 h 159"/>
              <a:gd name="T34" fmla="*/ 0 w 173"/>
              <a:gd name="T35" fmla="*/ 98634 h 159"/>
              <a:gd name="T36" fmla="*/ 27144 w 173"/>
              <a:gd name="T37" fmla="*/ 111963 h 159"/>
              <a:gd name="T38" fmla="*/ 27144 w 173"/>
              <a:gd name="T39" fmla="*/ 141287 h 159"/>
              <a:gd name="T40" fmla="*/ 55086 w 173"/>
              <a:gd name="T41" fmla="*/ 127958 h 159"/>
              <a:gd name="T42" fmla="*/ 96599 w 173"/>
              <a:gd name="T43" fmla="*/ 127958 h 159"/>
              <a:gd name="T44" fmla="*/ 123743 w 173"/>
              <a:gd name="T45" fmla="*/ 12795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chemeClr val="bg1"/>
          </a:solidFill>
          <a:ln w="9525">
            <a:solidFill>
              <a:schemeClr val="bg2"/>
            </a:solidFill>
            <a:round/>
            <a:headEnd/>
            <a:tailEnd/>
          </a:ln>
        </p:spPr>
        <p:txBody>
          <a:bodyPr/>
          <a:lstStyle/>
          <a:p>
            <a:endParaRPr lang="en-US" dirty="0"/>
          </a:p>
        </p:txBody>
      </p:sp>
      <p:sp>
        <p:nvSpPr>
          <p:cNvPr id="18760" name="Freeform 327"/>
          <p:cNvSpPr>
            <a:spLocks noChangeAspect="1"/>
          </p:cNvSpPr>
          <p:nvPr/>
        </p:nvSpPr>
        <p:spPr bwMode="auto">
          <a:xfrm>
            <a:off x="4162425" y="3584575"/>
            <a:ext cx="161925" cy="127000"/>
          </a:xfrm>
          <a:custGeom>
            <a:avLst/>
            <a:gdLst>
              <a:gd name="T0" fmla="*/ 0 w 208"/>
              <a:gd name="T1" fmla="*/ 100542 h 144"/>
              <a:gd name="T2" fmla="*/ 0 w 208"/>
              <a:gd name="T3" fmla="*/ 100542 h 144"/>
              <a:gd name="T4" fmla="*/ 14013 w 208"/>
              <a:gd name="T5" fmla="*/ 84667 h 144"/>
              <a:gd name="T6" fmla="*/ 40481 w 208"/>
              <a:gd name="T7" fmla="*/ 42333 h 144"/>
              <a:gd name="T8" fmla="*/ 67728 w 208"/>
              <a:gd name="T9" fmla="*/ 29104 h 144"/>
              <a:gd name="T10" fmla="*/ 94197 w 208"/>
              <a:gd name="T11" fmla="*/ 0 h 144"/>
              <a:gd name="T12" fmla="*/ 121444 w 208"/>
              <a:gd name="T13" fmla="*/ 0 h 144"/>
              <a:gd name="T14" fmla="*/ 121444 w 208"/>
              <a:gd name="T15" fmla="*/ 29104 h 144"/>
              <a:gd name="T16" fmla="*/ 147912 w 208"/>
              <a:gd name="T17" fmla="*/ 58208 h 144"/>
              <a:gd name="T18" fmla="*/ 161925 w 208"/>
              <a:gd name="T19" fmla="*/ 58208 h 144"/>
              <a:gd name="T20" fmla="*/ 161925 w 208"/>
              <a:gd name="T21" fmla="*/ 71437 h 144"/>
              <a:gd name="T22" fmla="*/ 134678 w 208"/>
              <a:gd name="T23" fmla="*/ 84667 h 144"/>
              <a:gd name="T24" fmla="*/ 107431 w 208"/>
              <a:gd name="T25" fmla="*/ 84667 h 144"/>
              <a:gd name="T26" fmla="*/ 53716 w 208"/>
              <a:gd name="T27" fmla="*/ 84667 h 144"/>
              <a:gd name="T28" fmla="*/ 53716 w 208"/>
              <a:gd name="T29" fmla="*/ 100542 h 144"/>
              <a:gd name="T30" fmla="*/ 53716 w 208"/>
              <a:gd name="T31" fmla="*/ 127000 h 144"/>
              <a:gd name="T32" fmla="*/ 40481 w 208"/>
              <a:gd name="T33" fmla="*/ 113771 h 144"/>
              <a:gd name="T34" fmla="*/ 14013 w 208"/>
              <a:gd name="T35" fmla="*/ 113771 h 144"/>
              <a:gd name="T36" fmla="*/ 0 w 208"/>
              <a:gd name="T37" fmla="*/ 100542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chemeClr val="bg1"/>
          </a:solidFill>
          <a:ln w="9525">
            <a:solidFill>
              <a:schemeClr val="bg2"/>
            </a:solidFill>
            <a:round/>
            <a:headEnd/>
            <a:tailEnd/>
          </a:ln>
        </p:spPr>
        <p:txBody>
          <a:bodyPr/>
          <a:lstStyle/>
          <a:p>
            <a:endParaRPr lang="en-US" dirty="0"/>
          </a:p>
        </p:txBody>
      </p:sp>
      <p:sp>
        <p:nvSpPr>
          <p:cNvPr id="18761" name="Freeform 328"/>
          <p:cNvSpPr>
            <a:spLocks noChangeAspect="1"/>
          </p:cNvSpPr>
          <p:nvPr/>
        </p:nvSpPr>
        <p:spPr bwMode="auto">
          <a:xfrm>
            <a:off x="4268788" y="3668713"/>
            <a:ext cx="42862" cy="114300"/>
          </a:xfrm>
          <a:custGeom>
            <a:avLst/>
            <a:gdLst>
              <a:gd name="T0" fmla="*/ 28849 w 52"/>
              <a:gd name="T1" fmla="*/ 0 h 129"/>
              <a:gd name="T2" fmla="*/ 28849 w 52"/>
              <a:gd name="T3" fmla="*/ 0 h 129"/>
              <a:gd name="T4" fmla="*/ 0 w 52"/>
              <a:gd name="T5" fmla="*/ 0 h 129"/>
              <a:gd name="T6" fmla="*/ 14837 w 52"/>
              <a:gd name="T7" fmla="*/ 58479 h 129"/>
              <a:gd name="T8" fmla="*/ 28849 w 52"/>
              <a:gd name="T9" fmla="*/ 101009 h 129"/>
              <a:gd name="T10" fmla="*/ 28849 w 52"/>
              <a:gd name="T11" fmla="*/ 114300 h 129"/>
              <a:gd name="T12" fmla="*/ 42862 w 52"/>
              <a:gd name="T13" fmla="*/ 114300 h 129"/>
              <a:gd name="T14" fmla="*/ 42862 w 52"/>
              <a:gd name="T15" fmla="*/ 58479 h 129"/>
              <a:gd name="T16" fmla="*/ 42862 w 52"/>
              <a:gd name="T17" fmla="*/ 29240 h 129"/>
              <a:gd name="T18" fmla="*/ 28849 w 52"/>
              <a:gd name="T19" fmla="*/ 15949 h 129"/>
              <a:gd name="T20" fmla="*/ 28849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noFill/>
          <a:ln w="9525">
            <a:solidFill>
              <a:schemeClr val="bg2"/>
            </a:solidFill>
            <a:prstDash val="solid"/>
            <a:round/>
            <a:headEnd/>
            <a:tailEnd/>
          </a:ln>
        </p:spPr>
        <p:txBody>
          <a:bodyPr/>
          <a:lstStyle/>
          <a:p>
            <a:endParaRPr lang="en-US" dirty="0"/>
          </a:p>
        </p:txBody>
      </p:sp>
      <p:sp>
        <p:nvSpPr>
          <p:cNvPr id="18762" name="Freeform 329"/>
          <p:cNvSpPr>
            <a:spLocks noChangeAspect="1"/>
          </p:cNvSpPr>
          <p:nvPr/>
        </p:nvSpPr>
        <p:spPr bwMode="auto">
          <a:xfrm>
            <a:off x="4286250" y="3386138"/>
            <a:ext cx="344488" cy="268287"/>
          </a:xfrm>
          <a:custGeom>
            <a:avLst/>
            <a:gdLst>
              <a:gd name="T0" fmla="*/ 289180 w 436"/>
              <a:gd name="T1" fmla="*/ 225786 h 303"/>
              <a:gd name="T2" fmla="*/ 289180 w 436"/>
              <a:gd name="T3" fmla="*/ 225786 h 303"/>
              <a:gd name="T4" fmla="*/ 289180 w 436"/>
              <a:gd name="T5" fmla="*/ 212505 h 303"/>
              <a:gd name="T6" fmla="*/ 330266 w 436"/>
              <a:gd name="T7" fmla="*/ 154951 h 303"/>
              <a:gd name="T8" fmla="*/ 344488 w 436"/>
              <a:gd name="T9" fmla="*/ 69949 h 303"/>
              <a:gd name="T10" fmla="*/ 316834 w 436"/>
              <a:gd name="T11" fmla="*/ 42501 h 303"/>
              <a:gd name="T12" fmla="*/ 316834 w 436"/>
              <a:gd name="T13" fmla="*/ 13282 h 303"/>
              <a:gd name="T14" fmla="*/ 303402 w 436"/>
              <a:gd name="T15" fmla="*/ 0 h 303"/>
              <a:gd name="T16" fmla="*/ 247304 w 436"/>
              <a:gd name="T17" fmla="*/ 0 h 303"/>
              <a:gd name="T18" fmla="*/ 110615 w 436"/>
              <a:gd name="T19" fmla="*/ 98283 h 303"/>
              <a:gd name="T20" fmla="*/ 82962 w 436"/>
              <a:gd name="T21" fmla="*/ 98283 h 303"/>
              <a:gd name="T22" fmla="*/ 82962 w 436"/>
              <a:gd name="T23" fmla="*/ 170004 h 303"/>
              <a:gd name="T24" fmla="*/ 67949 w 436"/>
              <a:gd name="T25" fmla="*/ 183285 h 303"/>
              <a:gd name="T26" fmla="*/ 0 w 436"/>
              <a:gd name="T27" fmla="*/ 196567 h 303"/>
              <a:gd name="T28" fmla="*/ 0 w 436"/>
              <a:gd name="T29" fmla="*/ 225786 h 303"/>
              <a:gd name="T30" fmla="*/ 26864 w 436"/>
              <a:gd name="T31" fmla="*/ 255005 h 303"/>
              <a:gd name="T32" fmla="*/ 41086 w 436"/>
              <a:gd name="T33" fmla="*/ 255005 h 303"/>
              <a:gd name="T34" fmla="*/ 41086 w 436"/>
              <a:gd name="T35" fmla="*/ 268287 h 303"/>
              <a:gd name="T36" fmla="*/ 41086 w 436"/>
              <a:gd name="T37" fmla="*/ 255005 h 303"/>
              <a:gd name="T38" fmla="*/ 54518 w 436"/>
              <a:gd name="T39" fmla="*/ 255005 h 303"/>
              <a:gd name="T40" fmla="*/ 67949 w 436"/>
              <a:gd name="T41" fmla="*/ 268287 h 303"/>
              <a:gd name="T42" fmla="*/ 67949 w 436"/>
              <a:gd name="T43" fmla="*/ 255005 h 303"/>
              <a:gd name="T44" fmla="*/ 97184 w 436"/>
              <a:gd name="T45" fmla="*/ 225786 h 303"/>
              <a:gd name="T46" fmla="*/ 110615 w 436"/>
              <a:gd name="T47" fmla="*/ 225786 h 303"/>
              <a:gd name="T48" fmla="*/ 151701 w 436"/>
              <a:gd name="T49" fmla="*/ 239068 h 303"/>
              <a:gd name="T50" fmla="*/ 165133 w 436"/>
              <a:gd name="T51" fmla="*/ 239068 h 303"/>
              <a:gd name="T52" fmla="*/ 192787 w 436"/>
              <a:gd name="T53" fmla="*/ 255005 h 303"/>
              <a:gd name="T54" fmla="*/ 219651 w 436"/>
              <a:gd name="T55" fmla="*/ 239068 h 303"/>
              <a:gd name="T56" fmla="*/ 262317 w 436"/>
              <a:gd name="T57" fmla="*/ 239068 h 303"/>
              <a:gd name="T58" fmla="*/ 275748 w 436"/>
              <a:gd name="T59" fmla="*/ 225786 h 303"/>
              <a:gd name="T60" fmla="*/ 289180 w 436"/>
              <a:gd name="T61" fmla="*/ 225786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chemeClr val="bg1"/>
          </a:solidFill>
          <a:ln w="9525">
            <a:solidFill>
              <a:schemeClr val="bg2"/>
            </a:solidFill>
            <a:round/>
            <a:headEnd/>
            <a:tailEnd/>
          </a:ln>
        </p:spPr>
        <p:txBody>
          <a:bodyPr/>
          <a:lstStyle/>
          <a:p>
            <a:endParaRPr lang="en-US" dirty="0"/>
          </a:p>
        </p:txBody>
      </p:sp>
      <p:sp>
        <p:nvSpPr>
          <p:cNvPr id="18763" name="Freeform 330"/>
          <p:cNvSpPr>
            <a:spLocks noChangeAspect="1"/>
          </p:cNvSpPr>
          <p:nvPr/>
        </p:nvSpPr>
        <p:spPr bwMode="auto">
          <a:xfrm>
            <a:off x="3902075" y="3540125"/>
            <a:ext cx="136525" cy="100013"/>
          </a:xfrm>
          <a:custGeom>
            <a:avLst/>
            <a:gdLst>
              <a:gd name="T0" fmla="*/ 13416 w 173"/>
              <a:gd name="T1" fmla="*/ 84082 h 113"/>
              <a:gd name="T2" fmla="*/ 13416 w 173"/>
              <a:gd name="T3" fmla="*/ 84082 h 113"/>
              <a:gd name="T4" fmla="*/ 27621 w 173"/>
              <a:gd name="T5" fmla="*/ 84082 h 113"/>
              <a:gd name="T6" fmla="*/ 54452 w 173"/>
              <a:gd name="T7" fmla="*/ 70806 h 113"/>
              <a:gd name="T8" fmla="*/ 67868 w 173"/>
              <a:gd name="T9" fmla="*/ 84082 h 113"/>
              <a:gd name="T10" fmla="*/ 82073 w 173"/>
              <a:gd name="T11" fmla="*/ 70806 h 113"/>
              <a:gd name="T12" fmla="*/ 54452 w 173"/>
              <a:gd name="T13" fmla="*/ 70806 h 113"/>
              <a:gd name="T14" fmla="*/ 13416 w 173"/>
              <a:gd name="T15" fmla="*/ 70806 h 113"/>
              <a:gd name="T16" fmla="*/ 0 w 173"/>
              <a:gd name="T17" fmla="*/ 41598 h 113"/>
              <a:gd name="T18" fmla="*/ 13416 w 173"/>
              <a:gd name="T19" fmla="*/ 15046 h 113"/>
              <a:gd name="T20" fmla="*/ 27621 w 173"/>
              <a:gd name="T21" fmla="*/ 0 h 113"/>
              <a:gd name="T22" fmla="*/ 54452 w 173"/>
              <a:gd name="T23" fmla="*/ 0 h 113"/>
              <a:gd name="T24" fmla="*/ 95489 w 173"/>
              <a:gd name="T25" fmla="*/ 15046 h 113"/>
              <a:gd name="T26" fmla="*/ 108904 w 173"/>
              <a:gd name="T27" fmla="*/ 41598 h 113"/>
              <a:gd name="T28" fmla="*/ 136525 w 173"/>
              <a:gd name="T29" fmla="*/ 100013 h 113"/>
              <a:gd name="T30" fmla="*/ 82073 w 173"/>
              <a:gd name="T31" fmla="*/ 100013 h 113"/>
              <a:gd name="T32" fmla="*/ 13416 w 173"/>
              <a:gd name="T33" fmla="*/ 100013 h 113"/>
              <a:gd name="T34" fmla="*/ 13416 w 173"/>
              <a:gd name="T35" fmla="*/ 84082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chemeClr val="bg1"/>
          </a:solidFill>
          <a:ln w="9525">
            <a:solidFill>
              <a:schemeClr val="bg2"/>
            </a:solidFill>
            <a:round/>
            <a:headEnd/>
            <a:tailEnd/>
          </a:ln>
        </p:spPr>
        <p:txBody>
          <a:bodyPr/>
          <a:lstStyle/>
          <a:p>
            <a:endParaRPr lang="en-US" dirty="0"/>
          </a:p>
        </p:txBody>
      </p:sp>
      <p:sp>
        <p:nvSpPr>
          <p:cNvPr id="18764" name="Freeform 331"/>
          <p:cNvSpPr>
            <a:spLocks noChangeAspect="1"/>
          </p:cNvSpPr>
          <p:nvPr/>
        </p:nvSpPr>
        <p:spPr bwMode="auto">
          <a:xfrm>
            <a:off x="4217988" y="3668713"/>
            <a:ext cx="82550" cy="141287"/>
          </a:xfrm>
          <a:custGeom>
            <a:avLst/>
            <a:gdLst>
              <a:gd name="T0" fmla="*/ 0 w 104"/>
              <a:gd name="T1" fmla="*/ 41863 h 162"/>
              <a:gd name="T2" fmla="*/ 0 w 104"/>
              <a:gd name="T3" fmla="*/ 41863 h 162"/>
              <a:gd name="T4" fmla="*/ 0 w 104"/>
              <a:gd name="T5" fmla="*/ 15699 h 162"/>
              <a:gd name="T6" fmla="*/ 0 w 104"/>
              <a:gd name="T7" fmla="*/ 0 h 162"/>
              <a:gd name="T8" fmla="*/ 54769 w 104"/>
              <a:gd name="T9" fmla="*/ 0 h 162"/>
              <a:gd name="T10" fmla="*/ 69056 w 104"/>
              <a:gd name="T11" fmla="*/ 57561 h 162"/>
              <a:gd name="T12" fmla="*/ 82550 w 104"/>
              <a:gd name="T13" fmla="*/ 99424 h 162"/>
              <a:gd name="T14" fmla="*/ 82550 w 104"/>
              <a:gd name="T15" fmla="*/ 112506 h 162"/>
              <a:gd name="T16" fmla="*/ 14288 w 104"/>
              <a:gd name="T17" fmla="*/ 141287 h 162"/>
              <a:gd name="T18" fmla="*/ 0 w 104"/>
              <a:gd name="T19" fmla="*/ 141287 h 162"/>
              <a:gd name="T20" fmla="*/ 0 w 104"/>
              <a:gd name="T21" fmla="*/ 99424 h 162"/>
              <a:gd name="T22" fmla="*/ 14288 w 104"/>
              <a:gd name="T23" fmla="*/ 70644 h 162"/>
              <a:gd name="T24" fmla="*/ 0 w 104"/>
              <a:gd name="T25" fmla="*/ 4186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chemeClr val="bg1"/>
          </a:solidFill>
          <a:ln w="9525">
            <a:solidFill>
              <a:schemeClr val="bg2"/>
            </a:solidFill>
            <a:round/>
            <a:headEnd/>
            <a:tailEnd/>
          </a:ln>
        </p:spPr>
        <p:txBody>
          <a:bodyPr/>
          <a:lstStyle/>
          <a:p>
            <a:endParaRPr lang="en-US" dirty="0"/>
          </a:p>
        </p:txBody>
      </p:sp>
      <p:sp>
        <p:nvSpPr>
          <p:cNvPr id="18765" name="Freeform 332"/>
          <p:cNvSpPr>
            <a:spLocks noChangeAspect="1"/>
          </p:cNvSpPr>
          <p:nvPr/>
        </p:nvSpPr>
        <p:spPr bwMode="auto">
          <a:xfrm>
            <a:off x="4337050" y="3611563"/>
            <a:ext cx="250825" cy="211137"/>
          </a:xfrm>
          <a:custGeom>
            <a:avLst/>
            <a:gdLst>
              <a:gd name="T0" fmla="*/ 125808 w 317"/>
              <a:gd name="T1" fmla="*/ 197941 h 240"/>
              <a:gd name="T2" fmla="*/ 125808 w 317"/>
              <a:gd name="T3" fmla="*/ 197941 h 240"/>
              <a:gd name="T4" fmla="*/ 153502 w 317"/>
              <a:gd name="T5" fmla="*/ 155714 h 240"/>
              <a:gd name="T6" fmla="*/ 166953 w 317"/>
              <a:gd name="T7" fmla="*/ 155714 h 240"/>
              <a:gd name="T8" fmla="*/ 180404 w 317"/>
              <a:gd name="T9" fmla="*/ 168910 h 240"/>
              <a:gd name="T10" fmla="*/ 194647 w 317"/>
              <a:gd name="T11" fmla="*/ 155714 h 240"/>
              <a:gd name="T12" fmla="*/ 223131 w 317"/>
              <a:gd name="T13" fmla="*/ 113486 h 240"/>
              <a:gd name="T14" fmla="*/ 236583 w 317"/>
              <a:gd name="T15" fmla="*/ 71259 h 240"/>
              <a:gd name="T16" fmla="*/ 250825 w 317"/>
              <a:gd name="T17" fmla="*/ 42227 h 240"/>
              <a:gd name="T18" fmla="*/ 250825 w 317"/>
              <a:gd name="T19" fmla="*/ 29031 h 240"/>
              <a:gd name="T20" fmla="*/ 250825 w 317"/>
              <a:gd name="T21" fmla="*/ 13196 h 240"/>
              <a:gd name="T22" fmla="*/ 236583 w 317"/>
              <a:gd name="T23" fmla="*/ 0 h 240"/>
              <a:gd name="T24" fmla="*/ 223131 w 317"/>
              <a:gd name="T25" fmla="*/ 0 h 240"/>
              <a:gd name="T26" fmla="*/ 209680 w 317"/>
              <a:gd name="T27" fmla="*/ 13196 h 240"/>
              <a:gd name="T28" fmla="*/ 166953 w 317"/>
              <a:gd name="T29" fmla="*/ 13196 h 240"/>
              <a:gd name="T30" fmla="*/ 140051 w 317"/>
              <a:gd name="T31" fmla="*/ 29031 h 240"/>
              <a:gd name="T32" fmla="*/ 112357 w 317"/>
              <a:gd name="T33" fmla="*/ 13196 h 240"/>
              <a:gd name="T34" fmla="*/ 97323 w 317"/>
              <a:gd name="T35" fmla="*/ 13196 h 240"/>
              <a:gd name="T36" fmla="*/ 56178 w 317"/>
              <a:gd name="T37" fmla="*/ 0 h 240"/>
              <a:gd name="T38" fmla="*/ 42727 w 317"/>
              <a:gd name="T39" fmla="*/ 0 h 240"/>
              <a:gd name="T40" fmla="*/ 15034 w 317"/>
              <a:gd name="T41" fmla="*/ 29031 h 240"/>
              <a:gd name="T42" fmla="*/ 15034 w 317"/>
              <a:gd name="T43" fmla="*/ 42227 h 240"/>
              <a:gd name="T44" fmla="*/ 15034 w 317"/>
              <a:gd name="T45" fmla="*/ 71259 h 240"/>
              <a:gd name="T46" fmla="*/ 0 w 317"/>
              <a:gd name="T47" fmla="*/ 126682 h 240"/>
              <a:gd name="T48" fmla="*/ 0 w 317"/>
              <a:gd name="T49" fmla="*/ 168910 h 240"/>
              <a:gd name="T50" fmla="*/ 42727 w 317"/>
              <a:gd name="T51" fmla="*/ 168910 h 240"/>
              <a:gd name="T52" fmla="*/ 42727 w 317"/>
              <a:gd name="T53" fmla="*/ 182106 h 240"/>
              <a:gd name="T54" fmla="*/ 56178 w 317"/>
              <a:gd name="T55" fmla="*/ 211137 h 240"/>
              <a:gd name="T56" fmla="*/ 69630 w 317"/>
              <a:gd name="T57" fmla="*/ 211137 h 240"/>
              <a:gd name="T58" fmla="*/ 125808 w 317"/>
              <a:gd name="T59" fmla="*/ 211137 h 240"/>
              <a:gd name="T60" fmla="*/ 125808 w 317"/>
              <a:gd name="T61" fmla="*/ 197941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noFill/>
          <a:ln w="9525">
            <a:solidFill>
              <a:schemeClr val="bg2"/>
            </a:solidFill>
            <a:round/>
            <a:headEnd/>
            <a:tailEnd/>
          </a:ln>
        </p:spPr>
        <p:txBody>
          <a:bodyPr/>
          <a:lstStyle/>
          <a:p>
            <a:endParaRPr lang="en-US" dirty="0"/>
          </a:p>
        </p:txBody>
      </p:sp>
      <p:sp>
        <p:nvSpPr>
          <p:cNvPr id="18766" name="Freeform 333"/>
          <p:cNvSpPr>
            <a:spLocks noChangeAspect="1"/>
          </p:cNvSpPr>
          <p:nvPr/>
        </p:nvSpPr>
        <p:spPr bwMode="auto">
          <a:xfrm>
            <a:off x="4300538" y="3640138"/>
            <a:ext cx="53975" cy="142875"/>
          </a:xfrm>
          <a:custGeom>
            <a:avLst/>
            <a:gdLst>
              <a:gd name="T0" fmla="*/ 27379 w 69"/>
              <a:gd name="T1" fmla="*/ 13479 h 159"/>
              <a:gd name="T2" fmla="*/ 27379 w 69"/>
              <a:gd name="T3" fmla="*/ 13479 h 159"/>
              <a:gd name="T4" fmla="*/ 0 w 69"/>
              <a:gd name="T5" fmla="*/ 26958 h 159"/>
              <a:gd name="T6" fmla="*/ 0 w 69"/>
              <a:gd name="T7" fmla="*/ 43132 h 159"/>
              <a:gd name="T8" fmla="*/ 13298 w 69"/>
              <a:gd name="T9" fmla="*/ 56611 h 159"/>
              <a:gd name="T10" fmla="*/ 13298 w 69"/>
              <a:gd name="T11" fmla="*/ 86264 h 159"/>
              <a:gd name="T12" fmla="*/ 13298 w 69"/>
              <a:gd name="T13" fmla="*/ 142875 h 159"/>
              <a:gd name="T14" fmla="*/ 40677 w 69"/>
              <a:gd name="T15" fmla="*/ 142875 h 159"/>
              <a:gd name="T16" fmla="*/ 40677 w 69"/>
              <a:gd name="T17" fmla="*/ 99743 h 159"/>
              <a:gd name="T18" fmla="*/ 53975 w 69"/>
              <a:gd name="T19" fmla="*/ 43132 h 159"/>
              <a:gd name="T20" fmla="*/ 53975 w 69"/>
              <a:gd name="T21" fmla="*/ 13479 h 159"/>
              <a:gd name="T22" fmla="*/ 40677 w 69"/>
              <a:gd name="T23" fmla="*/ 0 h 159"/>
              <a:gd name="T24" fmla="*/ 27379 w 69"/>
              <a:gd name="T25" fmla="*/ 0 h 159"/>
              <a:gd name="T26" fmla="*/ 27379 w 69"/>
              <a:gd name="T27" fmla="*/ 13479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noFill/>
          <a:ln w="9525">
            <a:solidFill>
              <a:schemeClr val="bg2"/>
            </a:solidFill>
            <a:prstDash val="solid"/>
            <a:round/>
            <a:headEnd/>
            <a:tailEnd/>
          </a:ln>
        </p:spPr>
        <p:txBody>
          <a:bodyPr/>
          <a:lstStyle/>
          <a:p>
            <a:endParaRPr lang="en-US" dirty="0"/>
          </a:p>
        </p:txBody>
      </p:sp>
      <p:sp>
        <p:nvSpPr>
          <p:cNvPr id="18767" name="Freeform 334"/>
          <p:cNvSpPr>
            <a:spLocks noChangeAspect="1"/>
          </p:cNvSpPr>
          <p:nvPr/>
        </p:nvSpPr>
        <p:spPr bwMode="auto">
          <a:xfrm>
            <a:off x="3956050" y="3640138"/>
            <a:ext cx="149225" cy="112712"/>
          </a:xfrm>
          <a:custGeom>
            <a:avLst/>
            <a:gdLst>
              <a:gd name="T0" fmla="*/ 135873 w 190"/>
              <a:gd name="T1" fmla="*/ 112712 h 126"/>
              <a:gd name="T2" fmla="*/ 135873 w 190"/>
              <a:gd name="T3" fmla="*/ 112712 h 126"/>
              <a:gd name="T4" fmla="*/ 149225 w 190"/>
              <a:gd name="T5" fmla="*/ 112712 h 126"/>
              <a:gd name="T6" fmla="*/ 149225 w 190"/>
              <a:gd name="T7" fmla="*/ 99294 h 126"/>
              <a:gd name="T8" fmla="*/ 149225 w 190"/>
              <a:gd name="T9" fmla="*/ 85876 h 126"/>
              <a:gd name="T10" fmla="*/ 149225 w 190"/>
              <a:gd name="T11" fmla="*/ 69774 h 126"/>
              <a:gd name="T12" fmla="*/ 149225 w 190"/>
              <a:gd name="T13" fmla="*/ 56356 h 126"/>
              <a:gd name="T14" fmla="*/ 122522 w 190"/>
              <a:gd name="T15" fmla="*/ 0 h 126"/>
              <a:gd name="T16" fmla="*/ 95033 w 190"/>
              <a:gd name="T17" fmla="*/ 13418 h 126"/>
              <a:gd name="T18" fmla="*/ 68329 w 190"/>
              <a:gd name="T19" fmla="*/ 13418 h 126"/>
              <a:gd name="T20" fmla="*/ 81681 w 190"/>
              <a:gd name="T21" fmla="*/ 0 h 126"/>
              <a:gd name="T22" fmla="*/ 27489 w 190"/>
              <a:gd name="T23" fmla="*/ 0 h 126"/>
              <a:gd name="T24" fmla="*/ 27489 w 190"/>
              <a:gd name="T25" fmla="*/ 13418 h 126"/>
              <a:gd name="T26" fmla="*/ 0 w 190"/>
              <a:gd name="T27" fmla="*/ 42938 h 126"/>
              <a:gd name="T28" fmla="*/ 40841 w 190"/>
              <a:gd name="T29" fmla="*/ 69774 h 126"/>
              <a:gd name="T30" fmla="*/ 54192 w 190"/>
              <a:gd name="T31" fmla="*/ 56356 h 126"/>
              <a:gd name="T32" fmla="*/ 68329 w 190"/>
              <a:gd name="T33" fmla="*/ 56356 h 126"/>
              <a:gd name="T34" fmla="*/ 95033 w 190"/>
              <a:gd name="T35" fmla="*/ 85876 h 126"/>
              <a:gd name="T36" fmla="*/ 95033 w 190"/>
              <a:gd name="T37" fmla="*/ 99294 h 126"/>
              <a:gd name="T38" fmla="*/ 108384 w 190"/>
              <a:gd name="T39" fmla="*/ 85876 h 126"/>
              <a:gd name="T40" fmla="*/ 122522 w 190"/>
              <a:gd name="T41" fmla="*/ 112712 h 126"/>
              <a:gd name="T42" fmla="*/ 135873 w 190"/>
              <a:gd name="T43" fmla="*/ 112712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chemeClr val="bg1"/>
          </a:solidFill>
          <a:ln w="9525">
            <a:solidFill>
              <a:schemeClr val="bg2"/>
            </a:solidFill>
            <a:round/>
            <a:headEnd/>
            <a:tailEnd/>
          </a:ln>
        </p:spPr>
        <p:txBody>
          <a:bodyPr/>
          <a:lstStyle/>
          <a:p>
            <a:endParaRPr lang="en-US" dirty="0"/>
          </a:p>
        </p:txBody>
      </p:sp>
      <p:sp>
        <p:nvSpPr>
          <p:cNvPr id="18768" name="Freeform 335"/>
          <p:cNvSpPr>
            <a:spLocks noChangeAspect="1"/>
          </p:cNvSpPr>
          <p:nvPr/>
        </p:nvSpPr>
        <p:spPr bwMode="auto">
          <a:xfrm>
            <a:off x="5532438" y="2752725"/>
            <a:ext cx="80962" cy="96838"/>
          </a:xfrm>
          <a:custGeom>
            <a:avLst/>
            <a:gdLst>
              <a:gd name="T0" fmla="*/ 0 w 103"/>
              <a:gd name="T1" fmla="*/ 55336 h 112"/>
              <a:gd name="T2" fmla="*/ 0 w 103"/>
              <a:gd name="T3" fmla="*/ 55336 h 112"/>
              <a:gd name="T4" fmla="*/ 13363 w 103"/>
              <a:gd name="T5" fmla="*/ 96838 h 112"/>
              <a:gd name="T6" fmla="*/ 40874 w 103"/>
              <a:gd name="T7" fmla="*/ 96838 h 112"/>
              <a:gd name="T8" fmla="*/ 54237 w 103"/>
              <a:gd name="T9" fmla="*/ 96838 h 112"/>
              <a:gd name="T10" fmla="*/ 67599 w 103"/>
              <a:gd name="T11" fmla="*/ 68305 h 112"/>
              <a:gd name="T12" fmla="*/ 67599 w 103"/>
              <a:gd name="T13" fmla="*/ 55336 h 112"/>
              <a:gd name="T14" fmla="*/ 80962 w 103"/>
              <a:gd name="T15" fmla="*/ 55336 h 112"/>
              <a:gd name="T16" fmla="*/ 67599 w 103"/>
              <a:gd name="T17" fmla="*/ 26803 h 112"/>
              <a:gd name="T18" fmla="*/ 80962 w 103"/>
              <a:gd name="T19" fmla="*/ 0 h 112"/>
              <a:gd name="T20" fmla="*/ 40874 w 103"/>
              <a:gd name="T21" fmla="*/ 0 h 112"/>
              <a:gd name="T22" fmla="*/ 40874 w 103"/>
              <a:gd name="T23" fmla="*/ 13834 h 112"/>
              <a:gd name="T24" fmla="*/ 26725 w 103"/>
              <a:gd name="T25" fmla="*/ 26803 h 112"/>
              <a:gd name="T26" fmla="*/ 13363 w 103"/>
              <a:gd name="T27" fmla="*/ 26803 h 112"/>
              <a:gd name="T28" fmla="*/ 0 w 103"/>
              <a:gd name="T29" fmla="*/ 55336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12"/>
              <a:gd name="T47" fmla="*/ 103 w 103"/>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12">
                <a:moveTo>
                  <a:pt x="0" y="64"/>
                </a:moveTo>
                <a:lnTo>
                  <a:pt x="0" y="64"/>
                </a:lnTo>
                <a:lnTo>
                  <a:pt x="17" y="112"/>
                </a:lnTo>
                <a:lnTo>
                  <a:pt x="52" y="112"/>
                </a:lnTo>
                <a:lnTo>
                  <a:pt x="69" y="112"/>
                </a:lnTo>
                <a:lnTo>
                  <a:pt x="86" y="79"/>
                </a:lnTo>
                <a:lnTo>
                  <a:pt x="86" y="64"/>
                </a:lnTo>
                <a:lnTo>
                  <a:pt x="103" y="64"/>
                </a:lnTo>
                <a:lnTo>
                  <a:pt x="86" y="31"/>
                </a:lnTo>
                <a:lnTo>
                  <a:pt x="103" y="0"/>
                </a:lnTo>
                <a:lnTo>
                  <a:pt x="52" y="0"/>
                </a:lnTo>
                <a:lnTo>
                  <a:pt x="52" y="16"/>
                </a:lnTo>
                <a:lnTo>
                  <a:pt x="34" y="31"/>
                </a:lnTo>
                <a:lnTo>
                  <a:pt x="17" y="31"/>
                </a:lnTo>
                <a:lnTo>
                  <a:pt x="0" y="64"/>
                </a:lnTo>
              </a:path>
            </a:pathLst>
          </a:custGeom>
          <a:solidFill>
            <a:schemeClr val="bg1"/>
          </a:solidFill>
          <a:ln w="9525">
            <a:solidFill>
              <a:srgbClr val="ACC6D0"/>
            </a:solidFill>
            <a:prstDash val="solid"/>
            <a:round/>
            <a:headEnd/>
            <a:tailEnd/>
          </a:ln>
        </p:spPr>
        <p:txBody>
          <a:bodyPr/>
          <a:lstStyle/>
          <a:p>
            <a:endParaRPr lang="en-US" dirty="0"/>
          </a:p>
        </p:txBody>
      </p:sp>
      <p:sp>
        <p:nvSpPr>
          <p:cNvPr id="18769" name="Freeform 336"/>
          <p:cNvSpPr>
            <a:spLocks noChangeAspect="1"/>
          </p:cNvSpPr>
          <p:nvPr/>
        </p:nvSpPr>
        <p:spPr bwMode="auto">
          <a:xfrm>
            <a:off x="5861050" y="2752725"/>
            <a:ext cx="134938" cy="52388"/>
          </a:xfrm>
          <a:custGeom>
            <a:avLst/>
            <a:gdLst>
              <a:gd name="T0" fmla="*/ 0 w 173"/>
              <a:gd name="T1" fmla="*/ 25375 h 64"/>
              <a:gd name="T2" fmla="*/ 0 w 173"/>
              <a:gd name="T3" fmla="*/ 25375 h 64"/>
              <a:gd name="T4" fmla="*/ 14040 w 173"/>
              <a:gd name="T5" fmla="*/ 52388 h 64"/>
              <a:gd name="T6" fmla="*/ 27300 w 173"/>
              <a:gd name="T7" fmla="*/ 13097 h 64"/>
              <a:gd name="T8" fmla="*/ 40559 w 173"/>
              <a:gd name="T9" fmla="*/ 0 h 64"/>
              <a:gd name="T10" fmla="*/ 94379 w 173"/>
              <a:gd name="T11" fmla="*/ 0 h 64"/>
              <a:gd name="T12" fmla="*/ 108418 w 173"/>
              <a:gd name="T13" fmla="*/ 13097 h 64"/>
              <a:gd name="T14" fmla="*/ 134938 w 173"/>
              <a:gd name="T15" fmla="*/ 0 h 64"/>
              <a:gd name="T16" fmla="*/ 94379 w 173"/>
              <a:gd name="T17" fmla="*/ 0 h 64"/>
              <a:gd name="T18" fmla="*/ 27300 w 173"/>
              <a:gd name="T19" fmla="*/ 0 h 64"/>
              <a:gd name="T20" fmla="*/ 14040 w 173"/>
              <a:gd name="T21" fmla="*/ 13097 h 64"/>
              <a:gd name="T22" fmla="*/ 0 w 173"/>
              <a:gd name="T23" fmla="*/ 25375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3"/>
              <a:gd name="T37" fmla="*/ 0 h 64"/>
              <a:gd name="T38" fmla="*/ 173 w 173"/>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3" h="64">
                <a:moveTo>
                  <a:pt x="0" y="31"/>
                </a:moveTo>
                <a:lnTo>
                  <a:pt x="0" y="31"/>
                </a:lnTo>
                <a:lnTo>
                  <a:pt x="18" y="64"/>
                </a:lnTo>
                <a:lnTo>
                  <a:pt x="35" y="16"/>
                </a:lnTo>
                <a:lnTo>
                  <a:pt x="52" y="0"/>
                </a:lnTo>
                <a:lnTo>
                  <a:pt x="121" y="0"/>
                </a:lnTo>
                <a:lnTo>
                  <a:pt x="139" y="16"/>
                </a:lnTo>
                <a:lnTo>
                  <a:pt x="173" y="0"/>
                </a:lnTo>
                <a:lnTo>
                  <a:pt x="121" y="0"/>
                </a:lnTo>
                <a:lnTo>
                  <a:pt x="35" y="0"/>
                </a:lnTo>
                <a:lnTo>
                  <a:pt x="18" y="16"/>
                </a:lnTo>
                <a:lnTo>
                  <a:pt x="0" y="31"/>
                </a:lnTo>
              </a:path>
            </a:pathLst>
          </a:custGeom>
          <a:solidFill>
            <a:schemeClr val="bg1"/>
          </a:solidFill>
          <a:ln w="9525">
            <a:solidFill>
              <a:srgbClr val="ACC6D0"/>
            </a:solidFill>
            <a:prstDash val="solid"/>
            <a:round/>
            <a:headEnd/>
            <a:tailEnd/>
          </a:ln>
        </p:spPr>
        <p:txBody>
          <a:bodyPr/>
          <a:lstStyle/>
          <a:p>
            <a:endParaRPr lang="en-US" dirty="0"/>
          </a:p>
        </p:txBody>
      </p:sp>
      <p:sp>
        <p:nvSpPr>
          <p:cNvPr id="18770" name="Freeform 337"/>
          <p:cNvSpPr>
            <a:spLocks noChangeAspect="1"/>
          </p:cNvSpPr>
          <p:nvPr/>
        </p:nvSpPr>
        <p:spPr bwMode="auto">
          <a:xfrm>
            <a:off x="6516688" y="2424113"/>
            <a:ext cx="138112" cy="171450"/>
          </a:xfrm>
          <a:custGeom>
            <a:avLst/>
            <a:gdLst>
              <a:gd name="T0" fmla="*/ 0 w 174"/>
              <a:gd name="T1" fmla="*/ 157163 h 192"/>
              <a:gd name="T2" fmla="*/ 0 w 174"/>
              <a:gd name="T3" fmla="*/ 157163 h 192"/>
              <a:gd name="T4" fmla="*/ 13494 w 174"/>
              <a:gd name="T5" fmla="*/ 171450 h 192"/>
              <a:gd name="T6" fmla="*/ 54769 w 174"/>
              <a:gd name="T7" fmla="*/ 157163 h 192"/>
              <a:gd name="T8" fmla="*/ 54769 w 174"/>
              <a:gd name="T9" fmla="*/ 141982 h 192"/>
              <a:gd name="T10" fmla="*/ 96043 w 174"/>
              <a:gd name="T11" fmla="*/ 114300 h 192"/>
              <a:gd name="T12" fmla="*/ 124618 w 174"/>
              <a:gd name="T13" fmla="*/ 71438 h 192"/>
              <a:gd name="T14" fmla="*/ 138112 w 174"/>
              <a:gd name="T15" fmla="*/ 0 h 192"/>
              <a:gd name="T16" fmla="*/ 124618 w 174"/>
              <a:gd name="T17" fmla="*/ 0 h 192"/>
              <a:gd name="T18" fmla="*/ 96043 w 174"/>
              <a:gd name="T19" fmla="*/ 71438 h 192"/>
              <a:gd name="T20" fmla="*/ 40481 w 174"/>
              <a:gd name="T21" fmla="*/ 141982 h 192"/>
              <a:gd name="T22" fmla="*/ 0 w 174"/>
              <a:gd name="T23" fmla="*/ 157163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92"/>
              <a:gd name="T38" fmla="*/ 174 w 174"/>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92">
                <a:moveTo>
                  <a:pt x="0" y="176"/>
                </a:moveTo>
                <a:lnTo>
                  <a:pt x="0" y="176"/>
                </a:lnTo>
                <a:lnTo>
                  <a:pt x="17" y="192"/>
                </a:lnTo>
                <a:lnTo>
                  <a:pt x="69" y="176"/>
                </a:lnTo>
                <a:lnTo>
                  <a:pt x="69" y="159"/>
                </a:lnTo>
                <a:lnTo>
                  <a:pt x="121" y="128"/>
                </a:lnTo>
                <a:lnTo>
                  <a:pt x="157" y="80"/>
                </a:lnTo>
                <a:lnTo>
                  <a:pt x="174" y="0"/>
                </a:lnTo>
                <a:lnTo>
                  <a:pt x="157" y="0"/>
                </a:lnTo>
                <a:lnTo>
                  <a:pt x="121" y="80"/>
                </a:lnTo>
                <a:lnTo>
                  <a:pt x="51" y="159"/>
                </a:lnTo>
                <a:lnTo>
                  <a:pt x="0" y="176"/>
                </a:lnTo>
              </a:path>
            </a:pathLst>
          </a:custGeom>
          <a:solidFill>
            <a:schemeClr val="bg1"/>
          </a:solidFill>
          <a:ln w="9525">
            <a:solidFill>
              <a:srgbClr val="ACC6D0"/>
            </a:solidFill>
            <a:prstDash val="solid"/>
            <a:round/>
            <a:headEnd/>
            <a:tailEnd/>
          </a:ln>
        </p:spPr>
        <p:txBody>
          <a:bodyPr/>
          <a:lstStyle/>
          <a:p>
            <a:endParaRPr lang="en-US" dirty="0"/>
          </a:p>
        </p:txBody>
      </p:sp>
      <p:sp>
        <p:nvSpPr>
          <p:cNvPr id="18771" name="Freeform 338"/>
          <p:cNvSpPr>
            <a:spLocks noChangeAspect="1"/>
          </p:cNvSpPr>
          <p:nvPr/>
        </p:nvSpPr>
        <p:spPr bwMode="auto">
          <a:xfrm>
            <a:off x="4930775" y="2173288"/>
            <a:ext cx="55563" cy="82550"/>
          </a:xfrm>
          <a:custGeom>
            <a:avLst/>
            <a:gdLst>
              <a:gd name="T0" fmla="*/ 0 w 69"/>
              <a:gd name="T1" fmla="*/ 28377 h 96"/>
              <a:gd name="T2" fmla="*/ 0 w 69"/>
              <a:gd name="T3" fmla="*/ 28377 h 96"/>
              <a:gd name="T4" fmla="*/ 13689 w 69"/>
              <a:gd name="T5" fmla="*/ 41275 h 96"/>
              <a:gd name="T6" fmla="*/ 27379 w 69"/>
              <a:gd name="T7" fmla="*/ 82550 h 96"/>
              <a:gd name="T8" fmla="*/ 41068 w 69"/>
              <a:gd name="T9" fmla="*/ 69652 h 96"/>
              <a:gd name="T10" fmla="*/ 55563 w 69"/>
              <a:gd name="T11" fmla="*/ 69652 h 96"/>
              <a:gd name="T12" fmla="*/ 55563 w 69"/>
              <a:gd name="T13" fmla="*/ 41275 h 96"/>
              <a:gd name="T14" fmla="*/ 27379 w 69"/>
              <a:gd name="T15" fmla="*/ 0 h 96"/>
              <a:gd name="T16" fmla="*/ 13689 w 69"/>
              <a:gd name="T17" fmla="*/ 0 h 96"/>
              <a:gd name="T18" fmla="*/ 0 w 69"/>
              <a:gd name="T19" fmla="*/ 2837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96"/>
              <a:gd name="T32" fmla="*/ 69 w 69"/>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96">
                <a:moveTo>
                  <a:pt x="0" y="33"/>
                </a:moveTo>
                <a:lnTo>
                  <a:pt x="0" y="33"/>
                </a:lnTo>
                <a:lnTo>
                  <a:pt x="17" y="48"/>
                </a:lnTo>
                <a:lnTo>
                  <a:pt x="34" y="96"/>
                </a:lnTo>
                <a:lnTo>
                  <a:pt x="51" y="81"/>
                </a:lnTo>
                <a:lnTo>
                  <a:pt x="69" y="81"/>
                </a:lnTo>
                <a:lnTo>
                  <a:pt x="69" y="48"/>
                </a:lnTo>
                <a:lnTo>
                  <a:pt x="34" y="0"/>
                </a:lnTo>
                <a:lnTo>
                  <a:pt x="17" y="0"/>
                </a:lnTo>
                <a:lnTo>
                  <a:pt x="0" y="33"/>
                </a:lnTo>
                <a:close/>
              </a:path>
            </a:pathLst>
          </a:custGeom>
          <a:solidFill>
            <a:schemeClr val="bg1"/>
          </a:solidFill>
          <a:ln w="9525">
            <a:solidFill>
              <a:srgbClr val="ACC6D0"/>
            </a:solidFill>
            <a:round/>
            <a:headEnd/>
            <a:tailEnd/>
          </a:ln>
        </p:spPr>
        <p:txBody>
          <a:bodyPr/>
          <a:lstStyle/>
          <a:p>
            <a:endParaRPr lang="en-US" dirty="0"/>
          </a:p>
        </p:txBody>
      </p:sp>
      <p:sp>
        <p:nvSpPr>
          <p:cNvPr id="18772" name="Freeform 339"/>
          <p:cNvSpPr>
            <a:spLocks noChangeAspect="1"/>
          </p:cNvSpPr>
          <p:nvPr/>
        </p:nvSpPr>
        <p:spPr bwMode="auto">
          <a:xfrm>
            <a:off x="5027613" y="2116138"/>
            <a:ext cx="42862" cy="84137"/>
          </a:xfrm>
          <a:custGeom>
            <a:avLst/>
            <a:gdLst>
              <a:gd name="T0" fmla="*/ 0 w 51"/>
              <a:gd name="T1" fmla="*/ 55215 h 96"/>
              <a:gd name="T2" fmla="*/ 0 w 51"/>
              <a:gd name="T3" fmla="*/ 55215 h 96"/>
              <a:gd name="T4" fmla="*/ 28575 w 51"/>
              <a:gd name="T5" fmla="*/ 68361 h 96"/>
              <a:gd name="T6" fmla="*/ 28575 w 51"/>
              <a:gd name="T7" fmla="*/ 84137 h 96"/>
              <a:gd name="T8" fmla="*/ 42862 w 51"/>
              <a:gd name="T9" fmla="*/ 84137 h 96"/>
              <a:gd name="T10" fmla="*/ 28575 w 51"/>
              <a:gd name="T11" fmla="*/ 42069 h 96"/>
              <a:gd name="T12" fmla="*/ 28575 w 51"/>
              <a:gd name="T13" fmla="*/ 13146 h 96"/>
              <a:gd name="T14" fmla="*/ 14287 w 51"/>
              <a:gd name="T15" fmla="*/ 13146 h 96"/>
              <a:gd name="T16" fmla="*/ 0 w 51"/>
              <a:gd name="T17" fmla="*/ 0 h 96"/>
              <a:gd name="T18" fmla="*/ 14287 w 51"/>
              <a:gd name="T19" fmla="*/ 13146 h 96"/>
              <a:gd name="T20" fmla="*/ 14287 w 51"/>
              <a:gd name="T21" fmla="*/ 26293 h 96"/>
              <a:gd name="T22" fmla="*/ 0 w 51"/>
              <a:gd name="T23" fmla="*/ 26293 h 96"/>
              <a:gd name="T24" fmla="*/ 0 w 51"/>
              <a:gd name="T25" fmla="*/ 55215 h 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6"/>
              <a:gd name="T41" fmla="*/ 51 w 51"/>
              <a:gd name="T42" fmla="*/ 96 h 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6">
                <a:moveTo>
                  <a:pt x="0" y="63"/>
                </a:moveTo>
                <a:lnTo>
                  <a:pt x="0" y="63"/>
                </a:lnTo>
                <a:lnTo>
                  <a:pt x="34" y="78"/>
                </a:lnTo>
                <a:lnTo>
                  <a:pt x="34" y="96"/>
                </a:lnTo>
                <a:lnTo>
                  <a:pt x="51" y="96"/>
                </a:lnTo>
                <a:lnTo>
                  <a:pt x="34" y="48"/>
                </a:lnTo>
                <a:lnTo>
                  <a:pt x="34" y="15"/>
                </a:lnTo>
                <a:lnTo>
                  <a:pt x="17" y="15"/>
                </a:lnTo>
                <a:lnTo>
                  <a:pt x="0" y="0"/>
                </a:lnTo>
                <a:lnTo>
                  <a:pt x="17" y="15"/>
                </a:lnTo>
                <a:lnTo>
                  <a:pt x="17" y="30"/>
                </a:lnTo>
                <a:lnTo>
                  <a:pt x="0" y="30"/>
                </a:lnTo>
                <a:lnTo>
                  <a:pt x="0" y="63"/>
                </a:lnTo>
              </a:path>
            </a:pathLst>
          </a:custGeom>
          <a:solidFill>
            <a:schemeClr val="bg1"/>
          </a:solidFill>
          <a:ln w="9525">
            <a:solidFill>
              <a:srgbClr val="ACC6D0"/>
            </a:solidFill>
            <a:prstDash val="solid"/>
            <a:round/>
            <a:headEnd/>
            <a:tailEnd/>
          </a:ln>
        </p:spPr>
        <p:txBody>
          <a:bodyPr/>
          <a:lstStyle/>
          <a:p>
            <a:endParaRPr lang="en-US" dirty="0"/>
          </a:p>
        </p:txBody>
      </p:sp>
      <p:sp>
        <p:nvSpPr>
          <p:cNvPr id="18773" name="Freeform 340"/>
          <p:cNvSpPr>
            <a:spLocks noChangeAspect="1"/>
          </p:cNvSpPr>
          <p:nvPr/>
        </p:nvSpPr>
        <p:spPr bwMode="auto">
          <a:xfrm>
            <a:off x="5010150" y="4133850"/>
            <a:ext cx="26988" cy="114300"/>
          </a:xfrm>
          <a:custGeom>
            <a:avLst/>
            <a:gdLst>
              <a:gd name="T0" fmla="*/ 0 w 35"/>
              <a:gd name="T1" fmla="*/ 57593 h 129"/>
              <a:gd name="T2" fmla="*/ 0 w 35"/>
              <a:gd name="T3" fmla="*/ 57593 h 129"/>
              <a:gd name="T4" fmla="*/ 13880 w 35"/>
              <a:gd name="T5" fmla="*/ 85060 h 129"/>
              <a:gd name="T6" fmla="*/ 26988 w 35"/>
              <a:gd name="T7" fmla="*/ 114300 h 129"/>
              <a:gd name="T8" fmla="*/ 13880 w 35"/>
              <a:gd name="T9" fmla="*/ 0 h 129"/>
              <a:gd name="T10" fmla="*/ 0 w 35"/>
              <a:gd name="T11" fmla="*/ 0 h 129"/>
              <a:gd name="T12" fmla="*/ 13880 w 35"/>
              <a:gd name="T13" fmla="*/ 42530 h 129"/>
              <a:gd name="T14" fmla="*/ 0 w 35"/>
              <a:gd name="T15" fmla="*/ 57593 h 12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29"/>
              <a:gd name="T26" fmla="*/ 35 w 3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29">
                <a:moveTo>
                  <a:pt x="0" y="65"/>
                </a:moveTo>
                <a:lnTo>
                  <a:pt x="0" y="65"/>
                </a:lnTo>
                <a:lnTo>
                  <a:pt x="18" y="96"/>
                </a:lnTo>
                <a:lnTo>
                  <a:pt x="35" y="129"/>
                </a:lnTo>
                <a:lnTo>
                  <a:pt x="18" y="0"/>
                </a:lnTo>
                <a:lnTo>
                  <a:pt x="0" y="0"/>
                </a:lnTo>
                <a:lnTo>
                  <a:pt x="18" y="48"/>
                </a:lnTo>
                <a:lnTo>
                  <a:pt x="0" y="65"/>
                </a:lnTo>
              </a:path>
            </a:pathLst>
          </a:custGeom>
          <a:noFill/>
          <a:ln w="9525">
            <a:solidFill>
              <a:srgbClr val="ACC6D0"/>
            </a:solidFill>
            <a:prstDash val="solid"/>
            <a:round/>
            <a:headEnd/>
            <a:tailEnd/>
          </a:ln>
        </p:spPr>
        <p:txBody>
          <a:bodyPr/>
          <a:lstStyle/>
          <a:p>
            <a:endParaRPr lang="en-US" dirty="0"/>
          </a:p>
        </p:txBody>
      </p:sp>
      <p:sp>
        <p:nvSpPr>
          <p:cNvPr id="18774" name="Freeform 341"/>
          <p:cNvSpPr>
            <a:spLocks noChangeAspect="1"/>
          </p:cNvSpPr>
          <p:nvPr/>
        </p:nvSpPr>
        <p:spPr bwMode="auto">
          <a:xfrm>
            <a:off x="4900613" y="3994150"/>
            <a:ext cx="55562" cy="125413"/>
          </a:xfrm>
          <a:custGeom>
            <a:avLst/>
            <a:gdLst>
              <a:gd name="T0" fmla="*/ 13689 w 69"/>
              <a:gd name="T1" fmla="*/ 54868 h 144"/>
              <a:gd name="T2" fmla="*/ 13689 w 69"/>
              <a:gd name="T3" fmla="*/ 54868 h 144"/>
              <a:gd name="T4" fmla="*/ 28184 w 69"/>
              <a:gd name="T5" fmla="*/ 83609 h 144"/>
              <a:gd name="T6" fmla="*/ 41873 w 69"/>
              <a:gd name="T7" fmla="*/ 111478 h 144"/>
              <a:gd name="T8" fmla="*/ 55562 w 69"/>
              <a:gd name="T9" fmla="*/ 125413 h 144"/>
              <a:gd name="T10" fmla="*/ 41873 w 69"/>
              <a:gd name="T11" fmla="*/ 83609 h 144"/>
              <a:gd name="T12" fmla="*/ 13689 w 69"/>
              <a:gd name="T13" fmla="*/ 69674 h 144"/>
              <a:gd name="T14" fmla="*/ 28184 w 69"/>
              <a:gd name="T15" fmla="*/ 54868 h 144"/>
              <a:gd name="T16" fmla="*/ 13689 w 69"/>
              <a:gd name="T17" fmla="*/ 0 h 144"/>
              <a:gd name="T18" fmla="*/ 0 w 69"/>
              <a:gd name="T19" fmla="*/ 13064 h 144"/>
              <a:gd name="T20" fmla="*/ 13689 w 69"/>
              <a:gd name="T21" fmla="*/ 54868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144"/>
              <a:gd name="T35" fmla="*/ 69 w 69"/>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144">
                <a:moveTo>
                  <a:pt x="17" y="63"/>
                </a:moveTo>
                <a:lnTo>
                  <a:pt x="17" y="63"/>
                </a:lnTo>
                <a:lnTo>
                  <a:pt x="35" y="96"/>
                </a:lnTo>
                <a:lnTo>
                  <a:pt x="52" y="128"/>
                </a:lnTo>
                <a:lnTo>
                  <a:pt x="69" y="144"/>
                </a:lnTo>
                <a:lnTo>
                  <a:pt x="52" y="96"/>
                </a:lnTo>
                <a:lnTo>
                  <a:pt x="17" y="80"/>
                </a:lnTo>
                <a:lnTo>
                  <a:pt x="35" y="63"/>
                </a:lnTo>
                <a:lnTo>
                  <a:pt x="17" y="0"/>
                </a:lnTo>
                <a:lnTo>
                  <a:pt x="0" y="15"/>
                </a:lnTo>
                <a:lnTo>
                  <a:pt x="17" y="63"/>
                </a:lnTo>
              </a:path>
            </a:pathLst>
          </a:custGeom>
          <a:noFill/>
          <a:ln w="9525">
            <a:solidFill>
              <a:srgbClr val="ACC6D0"/>
            </a:solidFill>
            <a:prstDash val="solid"/>
            <a:round/>
            <a:headEnd/>
            <a:tailEnd/>
          </a:ln>
        </p:spPr>
        <p:txBody>
          <a:bodyPr/>
          <a:lstStyle/>
          <a:p>
            <a:endParaRPr lang="en-US" dirty="0"/>
          </a:p>
        </p:txBody>
      </p:sp>
      <p:sp>
        <p:nvSpPr>
          <p:cNvPr id="18775" name="Freeform 342"/>
          <p:cNvSpPr>
            <a:spLocks noChangeAspect="1"/>
          </p:cNvSpPr>
          <p:nvPr/>
        </p:nvSpPr>
        <p:spPr bwMode="auto">
          <a:xfrm>
            <a:off x="4956175" y="3908425"/>
            <a:ext cx="68263" cy="69850"/>
          </a:xfrm>
          <a:custGeom>
            <a:avLst/>
            <a:gdLst>
              <a:gd name="T0" fmla="*/ 0 w 87"/>
              <a:gd name="T1" fmla="*/ 55007 h 80"/>
              <a:gd name="T2" fmla="*/ 0 w 87"/>
              <a:gd name="T3" fmla="*/ 55007 h 80"/>
              <a:gd name="T4" fmla="*/ 13339 w 87"/>
              <a:gd name="T5" fmla="*/ 69850 h 80"/>
              <a:gd name="T6" fmla="*/ 13339 w 87"/>
              <a:gd name="T7" fmla="*/ 55007 h 80"/>
              <a:gd name="T8" fmla="*/ 40801 w 87"/>
              <a:gd name="T9" fmla="*/ 69850 h 80"/>
              <a:gd name="T10" fmla="*/ 54140 w 87"/>
              <a:gd name="T11" fmla="*/ 55007 h 80"/>
              <a:gd name="T12" fmla="*/ 40801 w 87"/>
              <a:gd name="T13" fmla="*/ 55007 h 80"/>
              <a:gd name="T14" fmla="*/ 68263 w 87"/>
              <a:gd name="T15" fmla="*/ 13097 h 80"/>
              <a:gd name="T16" fmla="*/ 54140 w 87"/>
              <a:gd name="T17" fmla="*/ 13097 h 80"/>
              <a:gd name="T18" fmla="*/ 40801 w 87"/>
              <a:gd name="T19" fmla="*/ 0 h 80"/>
              <a:gd name="T20" fmla="*/ 13339 w 87"/>
              <a:gd name="T21" fmla="*/ 13097 h 80"/>
              <a:gd name="T22" fmla="*/ 0 w 87"/>
              <a:gd name="T23" fmla="*/ 5500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0"/>
              <a:gd name="T38" fmla="*/ 87 w 87"/>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0">
                <a:moveTo>
                  <a:pt x="0" y="63"/>
                </a:moveTo>
                <a:lnTo>
                  <a:pt x="0" y="63"/>
                </a:lnTo>
                <a:lnTo>
                  <a:pt x="17" y="80"/>
                </a:lnTo>
                <a:lnTo>
                  <a:pt x="17" y="63"/>
                </a:lnTo>
                <a:lnTo>
                  <a:pt x="52" y="80"/>
                </a:lnTo>
                <a:lnTo>
                  <a:pt x="69" y="63"/>
                </a:lnTo>
                <a:lnTo>
                  <a:pt x="52" y="63"/>
                </a:lnTo>
                <a:lnTo>
                  <a:pt x="87" y="15"/>
                </a:lnTo>
                <a:lnTo>
                  <a:pt x="69" y="15"/>
                </a:lnTo>
                <a:lnTo>
                  <a:pt x="52" y="0"/>
                </a:lnTo>
                <a:lnTo>
                  <a:pt x="17" y="15"/>
                </a:lnTo>
                <a:lnTo>
                  <a:pt x="0" y="63"/>
                </a:lnTo>
              </a:path>
            </a:pathLst>
          </a:custGeom>
          <a:noFill/>
          <a:ln w="9525">
            <a:solidFill>
              <a:srgbClr val="ACC6D0"/>
            </a:solidFill>
            <a:prstDash val="solid"/>
            <a:round/>
            <a:headEnd/>
            <a:tailEnd/>
          </a:ln>
        </p:spPr>
        <p:txBody>
          <a:bodyPr/>
          <a:lstStyle/>
          <a:p>
            <a:endParaRPr lang="en-US" dirty="0"/>
          </a:p>
        </p:txBody>
      </p:sp>
      <p:sp>
        <p:nvSpPr>
          <p:cNvPr id="18776" name="Text Box 582"/>
          <p:cNvSpPr txBox="1">
            <a:spLocks noChangeArrowheads="1"/>
          </p:cNvSpPr>
          <p:nvPr/>
        </p:nvSpPr>
        <p:spPr bwMode="auto">
          <a:xfrm>
            <a:off x="5494338" y="6172200"/>
            <a:ext cx="1592262" cy="168275"/>
          </a:xfrm>
          <a:prstGeom prst="rect">
            <a:avLst/>
          </a:prstGeom>
          <a:noFill/>
          <a:ln w="8001">
            <a:noFill/>
            <a:miter lim="800000"/>
            <a:headEnd/>
            <a:tailEnd/>
          </a:ln>
        </p:spPr>
        <p:txBody>
          <a:bodyPr>
            <a:spAutoFit/>
          </a:bodyPr>
          <a:lstStyle/>
          <a:p>
            <a:pPr eaLnBrk="0" hangingPunct="0">
              <a:lnSpc>
                <a:spcPct val="50000"/>
              </a:lnSpc>
              <a:spcBef>
                <a:spcPct val="50000"/>
              </a:spcBef>
            </a:pPr>
            <a:r>
              <a:rPr lang="en-US" sz="1000" b="1" dirty="0">
                <a:ea typeface="MS PGothic"/>
                <a:cs typeface="MS PGothic"/>
              </a:rPr>
              <a:t>* Franchise Units</a:t>
            </a:r>
            <a:endParaRPr lang="en-US" sz="1000" dirty="0">
              <a:ea typeface="MS PGothic"/>
              <a:cs typeface="MS PGothic"/>
            </a:endParaRPr>
          </a:p>
        </p:txBody>
      </p:sp>
      <p:sp>
        <p:nvSpPr>
          <p:cNvPr id="18777" name="Freeform 344"/>
          <p:cNvSpPr>
            <a:spLocks noChangeAspect="1"/>
          </p:cNvSpPr>
          <p:nvPr>
            <p:custDataLst>
              <p:tags r:id="rId149"/>
            </p:custDataLst>
          </p:nvPr>
        </p:nvSpPr>
        <p:spPr bwMode="auto">
          <a:xfrm>
            <a:off x="2098675" y="1843088"/>
            <a:ext cx="58738" cy="57150"/>
          </a:xfrm>
          <a:custGeom>
            <a:avLst/>
            <a:gdLst>
              <a:gd name="T0" fmla="*/ 0 w 87"/>
              <a:gd name="T1" fmla="*/ 46567 h 81"/>
              <a:gd name="T2" fmla="*/ 0 w 87"/>
              <a:gd name="T3" fmla="*/ 46567 h 81"/>
              <a:gd name="T4" fmla="*/ 11478 w 87"/>
              <a:gd name="T5" fmla="*/ 57150 h 81"/>
              <a:gd name="T6" fmla="*/ 35108 w 87"/>
              <a:gd name="T7" fmla="*/ 33867 h 81"/>
              <a:gd name="T8" fmla="*/ 46585 w 87"/>
              <a:gd name="T9" fmla="*/ 33867 h 81"/>
              <a:gd name="T10" fmla="*/ 46585 w 87"/>
              <a:gd name="T11" fmla="*/ 23283 h 81"/>
              <a:gd name="T12" fmla="*/ 35108 w 87"/>
              <a:gd name="T13" fmla="*/ 23283 h 81"/>
              <a:gd name="T14" fmla="*/ 58738 w 87"/>
              <a:gd name="T15" fmla="*/ 12700 h 81"/>
              <a:gd name="T16" fmla="*/ 46585 w 87"/>
              <a:gd name="T17" fmla="*/ 0 h 81"/>
              <a:gd name="T18" fmla="*/ 0 w 87"/>
              <a:gd name="T19" fmla="*/ 46567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000080"/>
          </a:solidFill>
          <a:ln w="9525">
            <a:solidFill>
              <a:schemeClr val="bg2"/>
            </a:solidFill>
            <a:prstDash val="solid"/>
            <a:round/>
            <a:headEnd/>
            <a:tailEnd/>
          </a:ln>
        </p:spPr>
        <p:txBody>
          <a:bodyPr/>
          <a:lstStyle/>
          <a:p>
            <a:endParaRPr lang="en-US" dirty="0"/>
          </a:p>
        </p:txBody>
      </p:sp>
      <p:sp>
        <p:nvSpPr>
          <p:cNvPr id="18778" name="Freeform 345"/>
          <p:cNvSpPr>
            <a:spLocks noChangeAspect="1"/>
          </p:cNvSpPr>
          <p:nvPr>
            <p:custDataLst>
              <p:tags r:id="rId150"/>
            </p:custDataLst>
          </p:nvPr>
        </p:nvSpPr>
        <p:spPr bwMode="auto">
          <a:xfrm>
            <a:off x="2509838" y="1981200"/>
            <a:ext cx="36512" cy="68263"/>
          </a:xfrm>
          <a:custGeom>
            <a:avLst/>
            <a:gdLst>
              <a:gd name="T0" fmla="*/ 0 w 54"/>
              <a:gd name="T1" fmla="*/ 0 h 96"/>
              <a:gd name="T2" fmla="*/ 0 w 54"/>
              <a:gd name="T3" fmla="*/ 0 h 96"/>
              <a:gd name="T4" fmla="*/ 0 w 54"/>
              <a:gd name="T5" fmla="*/ 23465 h 96"/>
              <a:gd name="T6" fmla="*/ 12847 w 54"/>
              <a:gd name="T7" fmla="*/ 57597 h 96"/>
              <a:gd name="T8" fmla="*/ 36512 w 54"/>
              <a:gd name="T9" fmla="*/ 68263 h 96"/>
              <a:gd name="T10" fmla="*/ 12847 w 54"/>
              <a:gd name="T11" fmla="*/ 46220 h 96"/>
              <a:gd name="T12" fmla="*/ 24341 w 54"/>
              <a:gd name="T13" fmla="*/ 34132 h 96"/>
              <a:gd name="T14" fmla="*/ 12847 w 54"/>
              <a:gd name="T15" fmla="*/ 23465 h 96"/>
              <a:gd name="T16" fmla="*/ 24341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779" name="Freeform 346"/>
          <p:cNvSpPr>
            <a:spLocks noChangeAspect="1"/>
          </p:cNvSpPr>
          <p:nvPr>
            <p:custDataLst>
              <p:tags r:id="rId151"/>
            </p:custDataLst>
          </p:nvPr>
        </p:nvSpPr>
        <p:spPr bwMode="auto">
          <a:xfrm>
            <a:off x="2593975" y="2082800"/>
            <a:ext cx="95250" cy="69850"/>
          </a:xfrm>
          <a:custGeom>
            <a:avLst/>
            <a:gdLst>
              <a:gd name="T0" fmla="*/ 0 w 140"/>
              <a:gd name="T1" fmla="*/ 0 h 96"/>
              <a:gd name="T2" fmla="*/ 0 w 140"/>
              <a:gd name="T3" fmla="*/ 0 h 96"/>
              <a:gd name="T4" fmla="*/ 11566 w 140"/>
              <a:gd name="T5" fmla="*/ 24011 h 96"/>
              <a:gd name="T6" fmla="*/ 35379 w 140"/>
              <a:gd name="T7" fmla="*/ 34925 h 96"/>
              <a:gd name="T8" fmla="*/ 58511 w 140"/>
              <a:gd name="T9" fmla="*/ 47294 h 96"/>
              <a:gd name="T10" fmla="*/ 58511 w 140"/>
              <a:gd name="T11" fmla="*/ 58936 h 96"/>
              <a:gd name="T12" fmla="*/ 82323 w 140"/>
              <a:gd name="T13" fmla="*/ 69850 h 96"/>
              <a:gd name="T14" fmla="*/ 95250 w 140"/>
              <a:gd name="T15" fmla="*/ 69850 h 96"/>
              <a:gd name="T16" fmla="*/ 46945 w 140"/>
              <a:gd name="T17" fmla="*/ 12369 h 96"/>
              <a:gd name="T18" fmla="*/ 11566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000080"/>
          </a:solidFill>
          <a:ln w="9525">
            <a:solidFill>
              <a:schemeClr val="bg2"/>
            </a:solidFill>
            <a:prstDash val="solid"/>
            <a:round/>
            <a:headEnd/>
            <a:tailEnd/>
          </a:ln>
        </p:spPr>
        <p:txBody>
          <a:bodyPr/>
          <a:lstStyle/>
          <a:p>
            <a:endParaRPr lang="en-US" dirty="0"/>
          </a:p>
        </p:txBody>
      </p:sp>
      <p:sp>
        <p:nvSpPr>
          <p:cNvPr id="18780" name="Line 347"/>
          <p:cNvSpPr>
            <a:spLocks noChangeAspect="1" noChangeShapeType="1"/>
          </p:cNvSpPr>
          <p:nvPr>
            <p:custDataLst>
              <p:tags r:id="rId152"/>
            </p:custDataLst>
          </p:nvPr>
        </p:nvSpPr>
        <p:spPr bwMode="auto">
          <a:xfrm flipV="1">
            <a:off x="1846263" y="2009775"/>
            <a:ext cx="11112" cy="44450"/>
          </a:xfrm>
          <a:prstGeom prst="line">
            <a:avLst/>
          </a:prstGeom>
          <a:noFill/>
          <a:ln w="9525">
            <a:solidFill>
              <a:schemeClr val="bg2"/>
            </a:solidFill>
            <a:round/>
            <a:headEnd/>
            <a:tailEnd/>
          </a:ln>
        </p:spPr>
        <p:txBody>
          <a:bodyPr/>
          <a:lstStyle/>
          <a:p>
            <a:endParaRPr lang="en-US" dirty="0"/>
          </a:p>
        </p:txBody>
      </p:sp>
      <p:sp>
        <p:nvSpPr>
          <p:cNvPr id="18781" name="Freeform 348"/>
          <p:cNvSpPr>
            <a:spLocks noChangeAspect="1"/>
          </p:cNvSpPr>
          <p:nvPr>
            <p:custDataLst>
              <p:tags r:id="rId153"/>
            </p:custDataLst>
          </p:nvPr>
        </p:nvSpPr>
        <p:spPr bwMode="auto">
          <a:xfrm>
            <a:off x="1862138" y="1993900"/>
            <a:ext cx="23812" cy="9525"/>
          </a:xfrm>
          <a:custGeom>
            <a:avLst/>
            <a:gdLst>
              <a:gd name="T0" fmla="*/ 0 w 34"/>
              <a:gd name="T1" fmla="*/ 9525 h 16"/>
              <a:gd name="T2" fmla="*/ 0 w 34"/>
              <a:gd name="T3" fmla="*/ 9525 h 16"/>
              <a:gd name="T4" fmla="*/ 23812 w 34"/>
              <a:gd name="T5" fmla="*/ 9525 h 16"/>
              <a:gd name="T6" fmla="*/ 23812 w 34"/>
              <a:gd name="T7" fmla="*/ 0 h 16"/>
              <a:gd name="T8" fmla="*/ 11906 w 34"/>
              <a:gd name="T9" fmla="*/ 0 h 16"/>
              <a:gd name="T10" fmla="*/ 11906 w 34"/>
              <a:gd name="T11" fmla="*/ 9525 h 16"/>
              <a:gd name="T12" fmla="*/ 0 w 34"/>
              <a:gd name="T13" fmla="*/ 9525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chemeClr val="accent1"/>
          </a:solidFill>
          <a:ln w="9525">
            <a:solidFill>
              <a:schemeClr val="bg2"/>
            </a:solidFill>
            <a:prstDash val="solid"/>
            <a:round/>
            <a:headEnd/>
            <a:tailEnd/>
          </a:ln>
        </p:spPr>
        <p:txBody>
          <a:bodyPr/>
          <a:lstStyle/>
          <a:p>
            <a:endParaRPr lang="en-US" dirty="0"/>
          </a:p>
        </p:txBody>
      </p:sp>
      <p:sp>
        <p:nvSpPr>
          <p:cNvPr id="18782" name="Text Box 582"/>
          <p:cNvSpPr txBox="1">
            <a:spLocks noChangeArrowheads="1"/>
          </p:cNvSpPr>
          <p:nvPr/>
        </p:nvSpPr>
        <p:spPr bwMode="auto">
          <a:xfrm>
            <a:off x="914400" y="5151438"/>
            <a:ext cx="1371600" cy="368300"/>
          </a:xfrm>
          <a:prstGeom prst="rect">
            <a:avLst/>
          </a:prstGeom>
          <a:noFill/>
          <a:ln w="8001">
            <a:noFill/>
            <a:miter lim="800000"/>
            <a:headEnd/>
            <a:tailEnd/>
          </a:ln>
        </p:spPr>
        <p:txBody>
          <a:bodyPr>
            <a:spAutoFit/>
          </a:bodyPr>
          <a:lstStyle/>
          <a:p>
            <a:pPr eaLnBrk="0" hangingPunct="0">
              <a:lnSpc>
                <a:spcPct val="50000"/>
              </a:lnSpc>
              <a:spcBef>
                <a:spcPct val="50000"/>
              </a:spcBef>
            </a:pPr>
            <a:r>
              <a:rPr lang="en-US" sz="1200" dirty="0">
                <a:ea typeface="MS PGothic"/>
                <a:cs typeface="MS PGothic"/>
              </a:rPr>
              <a:t>Chile</a:t>
            </a:r>
          </a:p>
          <a:p>
            <a:pPr eaLnBrk="0" hangingPunct="0">
              <a:lnSpc>
                <a:spcPct val="50000"/>
              </a:lnSpc>
              <a:spcBef>
                <a:spcPct val="50000"/>
              </a:spcBef>
            </a:pPr>
            <a:r>
              <a:rPr lang="en-US" sz="1200" dirty="0">
                <a:ea typeface="MS PGothic"/>
                <a:cs typeface="MS PGothic"/>
              </a:rPr>
              <a:t>216 Uni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482" name="Footer Placeholder 2"/>
          <p:cNvSpPr>
            <a:spLocks noGrp="1"/>
          </p:cNvSpPr>
          <p:nvPr>
            <p:ph type="ftr" sz="quarter" idx="10"/>
          </p:nvPr>
        </p:nvSpPr>
        <p:spPr>
          <a:noFill/>
        </p:spPr>
        <p:txBody>
          <a:bodyPr/>
          <a:lstStyle/>
          <a:p>
            <a:endParaRPr lang="en-US" dirty="0" smtClean="0">
              <a:latin typeface="Arial" pitchFamily="34" charset="0"/>
              <a:ea typeface="MS PGothic"/>
              <a:cs typeface="MS PGothic"/>
            </a:endParaRPr>
          </a:p>
          <a:p>
            <a:endParaRPr lang="en-US" dirty="0" smtClean="0">
              <a:latin typeface="Arial" pitchFamily="34" charset="0"/>
              <a:ea typeface="MS PGothic"/>
              <a:cs typeface="MS PGothic"/>
            </a:endParaRPr>
          </a:p>
        </p:txBody>
      </p:sp>
      <p:sp>
        <p:nvSpPr>
          <p:cNvPr id="20483" name="AutoShape 2"/>
          <p:cNvSpPr>
            <a:spLocks noChangeArrowheads="1"/>
          </p:cNvSpPr>
          <p:nvPr/>
        </p:nvSpPr>
        <p:spPr bwMode="auto">
          <a:xfrm>
            <a:off x="469900" y="153988"/>
            <a:ext cx="8226425" cy="6167437"/>
          </a:xfrm>
          <a:prstGeom prst="roundRect">
            <a:avLst>
              <a:gd name="adj" fmla="val 1514"/>
            </a:avLst>
          </a:prstGeom>
          <a:noFill/>
          <a:ln w="12700">
            <a:noFill/>
            <a:round/>
            <a:headEnd type="none" w="sm" len="sm"/>
            <a:tailEnd type="none" w="sm" len="sm"/>
          </a:ln>
        </p:spPr>
        <p:txBody>
          <a:bodyPr wrap="none" anchor="ctr"/>
          <a:lstStyle/>
          <a:p>
            <a:endParaRPr lang="en-US" dirty="0"/>
          </a:p>
        </p:txBody>
      </p:sp>
      <p:sp>
        <p:nvSpPr>
          <p:cNvPr id="20484" name="Text Box 3"/>
          <p:cNvSpPr txBox="1">
            <a:spLocks noChangeArrowheads="1"/>
          </p:cNvSpPr>
          <p:nvPr/>
        </p:nvSpPr>
        <p:spPr bwMode="auto">
          <a:xfrm>
            <a:off x="542925" y="164973"/>
            <a:ext cx="6781800" cy="584775"/>
          </a:xfrm>
          <a:prstGeom prst="rect">
            <a:avLst/>
          </a:prstGeom>
          <a:noFill/>
          <a:ln w="9525" algn="ctr">
            <a:noFill/>
            <a:miter lim="800000"/>
            <a:headEnd/>
            <a:tailEnd/>
          </a:ln>
        </p:spPr>
        <p:txBody>
          <a:bodyPr>
            <a:spAutoFit/>
          </a:bodyPr>
          <a:lstStyle/>
          <a:p>
            <a:pPr eaLnBrk="0" hangingPunct="0">
              <a:spcBef>
                <a:spcPct val="50000"/>
              </a:spcBef>
            </a:pPr>
            <a:r>
              <a:rPr lang="en-US" sz="3200" b="1" dirty="0"/>
              <a:t>Walmart International Facts</a:t>
            </a:r>
          </a:p>
        </p:txBody>
      </p:sp>
      <p:sp>
        <p:nvSpPr>
          <p:cNvPr id="20485" name="AutoShape 4"/>
          <p:cNvSpPr>
            <a:spLocks noChangeArrowheads="1"/>
          </p:cNvSpPr>
          <p:nvPr/>
        </p:nvSpPr>
        <p:spPr bwMode="auto">
          <a:xfrm>
            <a:off x="50800" y="889000"/>
            <a:ext cx="1752600" cy="809625"/>
          </a:xfrm>
          <a:prstGeom prst="homePlate">
            <a:avLst>
              <a:gd name="adj" fmla="val 29344"/>
            </a:avLst>
          </a:prstGeom>
          <a:solidFill>
            <a:srgbClr val="EAEAEA"/>
          </a:solidFill>
          <a:ln w="9525" algn="ctr">
            <a:solidFill>
              <a:srgbClr val="E8E46C"/>
            </a:solidFill>
            <a:miter lim="800000"/>
            <a:headEnd/>
            <a:tailEnd/>
          </a:ln>
        </p:spPr>
        <p:txBody>
          <a:bodyPr anchor="ctr"/>
          <a:lstStyle/>
          <a:p>
            <a:pPr>
              <a:spcBef>
                <a:spcPct val="50000"/>
              </a:spcBef>
            </a:pPr>
            <a:r>
              <a:rPr lang="en-US" b="1" dirty="0">
                <a:solidFill>
                  <a:schemeClr val="accent1"/>
                </a:solidFill>
              </a:rPr>
              <a:t>Global Presence</a:t>
            </a:r>
          </a:p>
        </p:txBody>
      </p:sp>
      <p:sp>
        <p:nvSpPr>
          <p:cNvPr id="20486" name="Text Box 5"/>
          <p:cNvSpPr txBox="1">
            <a:spLocks noChangeArrowheads="1"/>
          </p:cNvSpPr>
          <p:nvPr/>
        </p:nvSpPr>
        <p:spPr bwMode="auto">
          <a:xfrm>
            <a:off x="1828800" y="709613"/>
            <a:ext cx="7239000" cy="1282700"/>
          </a:xfrm>
          <a:prstGeom prst="rect">
            <a:avLst/>
          </a:prstGeom>
          <a:noFill/>
          <a:ln w="9525">
            <a:noFill/>
            <a:miter lim="800000"/>
            <a:headEnd/>
            <a:tailEnd/>
          </a:ln>
        </p:spPr>
        <p:txBody>
          <a:bodyPr>
            <a:spAutoFit/>
          </a:bodyPr>
          <a:lstStyle/>
          <a:p>
            <a:pPr marL="115888" indent="-115888" eaLnBrk="0" hangingPunct="0">
              <a:lnSpc>
                <a:spcPct val="75000"/>
              </a:lnSpc>
              <a:spcBef>
                <a:spcPct val="30000"/>
              </a:spcBef>
              <a:buFontTx/>
              <a:buChar char="•"/>
            </a:pPr>
            <a:r>
              <a:rPr lang="en-US" sz="2000" dirty="0"/>
              <a:t>15 countries </a:t>
            </a:r>
          </a:p>
          <a:p>
            <a:pPr marL="115888" indent="-115888" eaLnBrk="0" hangingPunct="0">
              <a:lnSpc>
                <a:spcPct val="75000"/>
              </a:lnSpc>
              <a:spcBef>
                <a:spcPct val="30000"/>
              </a:spcBef>
              <a:buFontTx/>
              <a:buChar char="•"/>
            </a:pPr>
            <a:r>
              <a:rPr lang="en-US" sz="2000" dirty="0"/>
              <a:t>7,900+ stores and clubs </a:t>
            </a:r>
          </a:p>
          <a:p>
            <a:pPr marL="115888" indent="-115888" eaLnBrk="0" hangingPunct="0">
              <a:lnSpc>
                <a:spcPct val="75000"/>
              </a:lnSpc>
              <a:spcBef>
                <a:spcPct val="30000"/>
              </a:spcBef>
              <a:buFontTx/>
              <a:buChar char="•"/>
            </a:pPr>
            <a:r>
              <a:rPr lang="en-US" sz="2000" dirty="0"/>
              <a:t>200 million customers per week</a:t>
            </a:r>
          </a:p>
          <a:p>
            <a:pPr marL="115888" indent="-115888" eaLnBrk="0" hangingPunct="0">
              <a:lnSpc>
                <a:spcPct val="75000"/>
              </a:lnSpc>
              <a:spcBef>
                <a:spcPct val="30000"/>
              </a:spcBef>
              <a:buFontTx/>
              <a:buChar char="•"/>
            </a:pPr>
            <a:r>
              <a:rPr lang="en-US" sz="2000" dirty="0"/>
              <a:t>228 DC’s</a:t>
            </a:r>
          </a:p>
        </p:txBody>
      </p:sp>
      <p:sp>
        <p:nvSpPr>
          <p:cNvPr id="20487" name="AutoShape 6"/>
          <p:cNvSpPr>
            <a:spLocks noChangeArrowheads="1"/>
          </p:cNvSpPr>
          <p:nvPr/>
        </p:nvSpPr>
        <p:spPr bwMode="auto">
          <a:xfrm>
            <a:off x="38100" y="2147888"/>
            <a:ext cx="1752600" cy="847725"/>
          </a:xfrm>
          <a:prstGeom prst="homePlate">
            <a:avLst>
              <a:gd name="adj" fmla="val 28025"/>
            </a:avLst>
          </a:prstGeom>
          <a:solidFill>
            <a:srgbClr val="EAEAEA"/>
          </a:solidFill>
          <a:ln w="9525" algn="ctr">
            <a:solidFill>
              <a:srgbClr val="E8E46C"/>
            </a:solidFill>
            <a:miter lim="800000"/>
            <a:headEnd/>
            <a:tailEnd/>
          </a:ln>
        </p:spPr>
        <p:txBody>
          <a:bodyPr anchor="ctr"/>
          <a:lstStyle/>
          <a:p>
            <a:pPr>
              <a:spcBef>
                <a:spcPct val="50000"/>
              </a:spcBef>
            </a:pPr>
            <a:r>
              <a:rPr lang="en-US" b="1" dirty="0">
                <a:solidFill>
                  <a:schemeClr val="accent1"/>
                </a:solidFill>
              </a:rPr>
              <a:t>Multi-format Operation</a:t>
            </a:r>
          </a:p>
        </p:txBody>
      </p:sp>
      <p:sp>
        <p:nvSpPr>
          <p:cNvPr id="20488" name="Text Box 7"/>
          <p:cNvSpPr txBox="1">
            <a:spLocks noChangeArrowheads="1"/>
          </p:cNvSpPr>
          <p:nvPr/>
        </p:nvSpPr>
        <p:spPr bwMode="auto">
          <a:xfrm>
            <a:off x="1828800" y="2238375"/>
            <a:ext cx="7239000" cy="733425"/>
          </a:xfrm>
          <a:prstGeom prst="rect">
            <a:avLst/>
          </a:prstGeom>
          <a:noFill/>
          <a:ln w="9525">
            <a:noFill/>
            <a:miter lim="800000"/>
            <a:headEnd/>
            <a:tailEnd/>
          </a:ln>
        </p:spPr>
        <p:txBody>
          <a:bodyPr>
            <a:spAutoFit/>
          </a:bodyPr>
          <a:lstStyle/>
          <a:p>
            <a:pPr marL="115888" indent="-115888" eaLnBrk="0" hangingPunct="0">
              <a:lnSpc>
                <a:spcPct val="90000"/>
              </a:lnSpc>
              <a:spcBef>
                <a:spcPct val="30000"/>
              </a:spcBef>
              <a:buFontTx/>
              <a:buChar char="•"/>
            </a:pPr>
            <a:r>
              <a:rPr lang="en-US" sz="2000" dirty="0"/>
              <a:t>10 different formats</a:t>
            </a:r>
          </a:p>
          <a:p>
            <a:pPr marL="115888" indent="-115888" eaLnBrk="0" hangingPunct="0">
              <a:lnSpc>
                <a:spcPct val="90000"/>
              </a:lnSpc>
              <a:spcBef>
                <a:spcPct val="30000"/>
              </a:spcBef>
              <a:buFontTx/>
              <a:buChar char="•"/>
            </a:pPr>
            <a:r>
              <a:rPr lang="en-US" sz="2000" dirty="0"/>
              <a:t>53 banners</a:t>
            </a:r>
          </a:p>
        </p:txBody>
      </p:sp>
      <p:sp>
        <p:nvSpPr>
          <p:cNvPr id="20489" name="AutoShape 8"/>
          <p:cNvSpPr>
            <a:spLocks noChangeArrowheads="1"/>
          </p:cNvSpPr>
          <p:nvPr/>
        </p:nvSpPr>
        <p:spPr bwMode="auto">
          <a:xfrm>
            <a:off x="38100" y="3432175"/>
            <a:ext cx="1797050" cy="898525"/>
          </a:xfrm>
          <a:prstGeom prst="homePlate">
            <a:avLst>
              <a:gd name="adj" fmla="val 27111"/>
            </a:avLst>
          </a:prstGeom>
          <a:solidFill>
            <a:srgbClr val="EAEAEA"/>
          </a:solidFill>
          <a:ln w="9525" algn="ctr">
            <a:solidFill>
              <a:srgbClr val="E8E46C"/>
            </a:solidFill>
            <a:miter lim="800000"/>
            <a:headEnd/>
            <a:tailEnd/>
          </a:ln>
        </p:spPr>
        <p:txBody>
          <a:bodyPr anchor="ctr"/>
          <a:lstStyle/>
          <a:p>
            <a:pPr>
              <a:spcBef>
                <a:spcPct val="50000"/>
              </a:spcBef>
            </a:pPr>
            <a:r>
              <a:rPr lang="en-US" b="1" dirty="0">
                <a:solidFill>
                  <a:schemeClr val="accent1"/>
                </a:solidFill>
              </a:rPr>
              <a:t>Multiple Businesses</a:t>
            </a:r>
          </a:p>
        </p:txBody>
      </p:sp>
      <p:sp>
        <p:nvSpPr>
          <p:cNvPr id="20490" name="AutoShape 9"/>
          <p:cNvSpPr>
            <a:spLocks noChangeArrowheads="1"/>
          </p:cNvSpPr>
          <p:nvPr/>
        </p:nvSpPr>
        <p:spPr bwMode="auto">
          <a:xfrm>
            <a:off x="38100" y="4945063"/>
            <a:ext cx="1797050" cy="925512"/>
          </a:xfrm>
          <a:prstGeom prst="homePlate">
            <a:avLst>
              <a:gd name="adj" fmla="val 26321"/>
            </a:avLst>
          </a:prstGeom>
          <a:solidFill>
            <a:srgbClr val="EAEAEA"/>
          </a:solidFill>
          <a:ln w="9525" algn="ctr">
            <a:solidFill>
              <a:srgbClr val="E8E46C"/>
            </a:solidFill>
            <a:miter lim="800000"/>
            <a:headEnd/>
            <a:tailEnd/>
          </a:ln>
        </p:spPr>
        <p:txBody>
          <a:bodyPr anchor="ctr"/>
          <a:lstStyle/>
          <a:p>
            <a:pPr>
              <a:spcBef>
                <a:spcPct val="50000"/>
              </a:spcBef>
            </a:pPr>
            <a:r>
              <a:rPr lang="en-US" b="1" dirty="0">
                <a:solidFill>
                  <a:schemeClr val="accent1"/>
                </a:solidFill>
              </a:rPr>
              <a:t>Multiple Equity  Structures</a:t>
            </a:r>
          </a:p>
        </p:txBody>
      </p:sp>
      <p:sp>
        <p:nvSpPr>
          <p:cNvPr id="20491" name="Text Box 10"/>
          <p:cNvSpPr txBox="1">
            <a:spLocks noChangeArrowheads="1"/>
          </p:cNvSpPr>
          <p:nvPr/>
        </p:nvSpPr>
        <p:spPr bwMode="auto">
          <a:xfrm>
            <a:off x="1824038" y="3424238"/>
            <a:ext cx="6048375" cy="915987"/>
          </a:xfrm>
          <a:prstGeom prst="rect">
            <a:avLst/>
          </a:prstGeom>
          <a:noFill/>
          <a:ln w="9525" algn="ctr">
            <a:noFill/>
            <a:miter lim="800000"/>
            <a:headEnd/>
            <a:tailEnd/>
          </a:ln>
        </p:spPr>
        <p:txBody>
          <a:bodyPr>
            <a:spAutoFit/>
          </a:bodyPr>
          <a:lstStyle/>
          <a:p>
            <a:pPr marL="115888" indent="-115888" eaLnBrk="0" hangingPunct="0">
              <a:lnSpc>
                <a:spcPct val="90000"/>
              </a:lnSpc>
              <a:spcBef>
                <a:spcPct val="30000"/>
              </a:spcBef>
              <a:buFontTx/>
              <a:buChar char="•"/>
            </a:pPr>
            <a:r>
              <a:rPr lang="en-US" sz="2000" dirty="0"/>
              <a:t>Retail, wholesale, restaurants, real estate development, bakeries, meat plants, food sourcing and processing, bank</a:t>
            </a:r>
          </a:p>
        </p:txBody>
      </p:sp>
      <p:sp>
        <p:nvSpPr>
          <p:cNvPr id="20492" name="Text Box 11"/>
          <p:cNvSpPr txBox="1">
            <a:spLocks noChangeArrowheads="1"/>
          </p:cNvSpPr>
          <p:nvPr/>
        </p:nvSpPr>
        <p:spPr bwMode="auto">
          <a:xfrm>
            <a:off x="1824038" y="4919663"/>
            <a:ext cx="6186487" cy="1100137"/>
          </a:xfrm>
          <a:prstGeom prst="rect">
            <a:avLst/>
          </a:prstGeom>
          <a:noFill/>
          <a:ln w="9525">
            <a:noFill/>
            <a:miter lim="800000"/>
            <a:headEnd/>
            <a:tailEnd/>
          </a:ln>
        </p:spPr>
        <p:txBody>
          <a:bodyPr>
            <a:spAutoFit/>
          </a:bodyPr>
          <a:lstStyle/>
          <a:p>
            <a:pPr marL="115888" indent="-115888" eaLnBrk="0" hangingPunct="0">
              <a:lnSpc>
                <a:spcPct val="90000"/>
              </a:lnSpc>
              <a:spcBef>
                <a:spcPct val="30000"/>
              </a:spcBef>
              <a:buFontTx/>
              <a:buChar char="•"/>
            </a:pPr>
            <a:r>
              <a:rPr lang="en-US" sz="2000" dirty="0"/>
              <a:t>Mexico – Majority holder in a public company</a:t>
            </a:r>
          </a:p>
          <a:p>
            <a:pPr marL="115888" indent="-115888" eaLnBrk="0" hangingPunct="0">
              <a:lnSpc>
                <a:spcPct val="90000"/>
              </a:lnSpc>
              <a:spcBef>
                <a:spcPct val="30000"/>
              </a:spcBef>
              <a:buFontTx/>
              <a:buChar char="•"/>
            </a:pPr>
            <a:r>
              <a:rPr lang="en-US" sz="2000" dirty="0"/>
              <a:t>Central America – Majority holder in a JV</a:t>
            </a:r>
          </a:p>
          <a:p>
            <a:pPr marL="115888" indent="-115888" eaLnBrk="0" hangingPunct="0">
              <a:lnSpc>
                <a:spcPct val="90000"/>
              </a:lnSpc>
              <a:spcBef>
                <a:spcPct val="30000"/>
              </a:spcBef>
              <a:buFontTx/>
              <a:buChar char="•"/>
            </a:pPr>
            <a:r>
              <a:rPr lang="en-US" sz="2000" dirty="0"/>
              <a:t>India – 50/50 JV in a holding company &amp; Franchisor</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2" descr="82226_2"/>
          <p:cNvPicPr>
            <a:picLocks noChangeAspect="1" noChangeArrowheads="1"/>
          </p:cNvPicPr>
          <p:nvPr/>
        </p:nvPicPr>
        <p:blipFill>
          <a:blip r:embed="rId3" cstate="print"/>
          <a:srcRect l="18367" r="17265"/>
          <a:stretch>
            <a:fillRect/>
          </a:stretch>
        </p:blipFill>
        <p:spPr bwMode="auto">
          <a:xfrm>
            <a:off x="1844675" y="2238375"/>
            <a:ext cx="1460500" cy="531813"/>
          </a:xfrm>
          <a:prstGeom prst="rect">
            <a:avLst/>
          </a:prstGeom>
          <a:noFill/>
          <a:ln w="12700">
            <a:noFill/>
            <a:miter lim="800000"/>
            <a:headEnd/>
            <a:tailEnd/>
          </a:ln>
        </p:spPr>
      </p:pic>
      <p:sp>
        <p:nvSpPr>
          <p:cNvPr id="1028" name="Rectangle 3"/>
          <p:cNvSpPr>
            <a:spLocks noChangeArrowheads="1"/>
          </p:cNvSpPr>
          <p:nvPr/>
        </p:nvSpPr>
        <p:spPr bwMode="auto">
          <a:xfrm>
            <a:off x="7259638" y="5310188"/>
            <a:ext cx="1574800" cy="576262"/>
          </a:xfrm>
          <a:prstGeom prst="rect">
            <a:avLst/>
          </a:prstGeom>
          <a:solidFill>
            <a:schemeClr val="bg1"/>
          </a:solidFill>
          <a:ln w="12700">
            <a:noFill/>
            <a:miter lim="800000"/>
            <a:headEnd/>
            <a:tailEnd/>
          </a:ln>
        </p:spPr>
        <p:txBody>
          <a:bodyPr wrap="none" anchor="ctr"/>
          <a:lstStyle/>
          <a:p>
            <a:endParaRPr lang="en-US" dirty="0"/>
          </a:p>
        </p:txBody>
      </p:sp>
      <p:pic>
        <p:nvPicPr>
          <p:cNvPr id="1029" name="Picture 4" descr="asdaspot"/>
          <p:cNvPicPr>
            <a:picLocks noChangeAspect="1" noChangeArrowheads="1"/>
          </p:cNvPicPr>
          <p:nvPr/>
        </p:nvPicPr>
        <p:blipFill>
          <a:blip r:embed="rId4" cstate="print">
            <a:clrChange>
              <a:clrFrom>
                <a:srgbClr val="FFFFFF"/>
              </a:clrFrom>
              <a:clrTo>
                <a:srgbClr val="FFFFFF">
                  <a:alpha val="0"/>
                </a:srgbClr>
              </a:clrTo>
            </a:clrChange>
            <a:lum bright="-18000" contrast="42000"/>
          </a:blip>
          <a:srcRect/>
          <a:stretch>
            <a:fillRect/>
          </a:stretch>
        </p:blipFill>
        <p:spPr bwMode="auto">
          <a:xfrm>
            <a:off x="3457575" y="176213"/>
            <a:ext cx="1390650" cy="411162"/>
          </a:xfrm>
          <a:prstGeom prst="rect">
            <a:avLst/>
          </a:prstGeom>
          <a:noFill/>
          <a:ln w="12700">
            <a:noFill/>
            <a:miter lim="800000"/>
            <a:headEnd/>
            <a:tailEnd/>
          </a:ln>
        </p:spPr>
      </p:pic>
      <p:pic>
        <p:nvPicPr>
          <p:cNvPr id="1030" name="Picture 5" descr="El Portón"/>
          <p:cNvPicPr>
            <a:picLocks noChangeAspect="1" noChangeArrowheads="1"/>
          </p:cNvPicPr>
          <p:nvPr/>
        </p:nvPicPr>
        <p:blipFill>
          <a:blip r:embed="rId5" cstate="print">
            <a:clrChange>
              <a:clrFrom>
                <a:srgbClr val="FFFFFF"/>
              </a:clrFrom>
              <a:clrTo>
                <a:srgbClr val="FFFFFF">
                  <a:alpha val="0"/>
                </a:srgbClr>
              </a:clrTo>
            </a:clrChange>
            <a:lum bright="-6000"/>
          </a:blip>
          <a:srcRect/>
          <a:stretch>
            <a:fillRect/>
          </a:stretch>
        </p:blipFill>
        <p:spPr bwMode="auto">
          <a:xfrm>
            <a:off x="4111625" y="4849813"/>
            <a:ext cx="1271588" cy="390525"/>
          </a:xfrm>
          <a:prstGeom prst="rect">
            <a:avLst/>
          </a:prstGeom>
          <a:solidFill>
            <a:schemeClr val="bg1"/>
          </a:solidFill>
          <a:ln w="12700">
            <a:noFill/>
            <a:miter lim="800000"/>
            <a:headEnd/>
            <a:tailEnd/>
          </a:ln>
        </p:spPr>
      </p:pic>
      <p:pic>
        <p:nvPicPr>
          <p:cNvPr id="1031" name="Picture 6" descr="Seiyu"/>
          <p:cNvPicPr>
            <a:picLocks noChangeAspect="1" noChangeArrowheads="1"/>
          </p:cNvPicPr>
          <p:nvPr/>
        </p:nvPicPr>
        <p:blipFill>
          <a:blip r:embed="rId6" cstate="print">
            <a:lum bright="-6000"/>
          </a:blip>
          <a:srcRect/>
          <a:stretch>
            <a:fillRect/>
          </a:stretch>
        </p:blipFill>
        <p:spPr bwMode="auto">
          <a:xfrm>
            <a:off x="195263" y="701675"/>
            <a:ext cx="881062" cy="581025"/>
          </a:xfrm>
          <a:prstGeom prst="rect">
            <a:avLst/>
          </a:prstGeom>
          <a:noFill/>
          <a:ln w="12700">
            <a:noFill/>
            <a:miter lim="800000"/>
            <a:headEnd/>
            <a:tailEnd/>
          </a:ln>
        </p:spPr>
      </p:pic>
      <p:pic>
        <p:nvPicPr>
          <p:cNvPr id="1032" name="Picture 7" descr="wmlogo"/>
          <p:cNvPicPr>
            <a:picLocks noChangeAspect="1" noChangeArrowheads="1"/>
          </p:cNvPicPr>
          <p:nvPr/>
        </p:nvPicPr>
        <p:blipFill>
          <a:blip r:embed="rId7" cstate="print">
            <a:lum bright="6000" contrast="42000"/>
          </a:blip>
          <a:srcRect/>
          <a:stretch>
            <a:fillRect/>
          </a:stretch>
        </p:blipFill>
        <p:spPr bwMode="auto">
          <a:xfrm>
            <a:off x="3573463" y="2622550"/>
            <a:ext cx="2765425" cy="439738"/>
          </a:xfrm>
          <a:prstGeom prst="rect">
            <a:avLst/>
          </a:prstGeom>
          <a:noFill/>
          <a:ln w="12700">
            <a:noFill/>
            <a:miter lim="800000"/>
            <a:headEnd/>
            <a:tailEnd/>
          </a:ln>
        </p:spPr>
      </p:pic>
      <p:pic>
        <p:nvPicPr>
          <p:cNvPr id="1033" name="Picture 8" descr="Superama"/>
          <p:cNvPicPr>
            <a:picLocks noChangeAspect="1" noChangeArrowheads="1"/>
          </p:cNvPicPr>
          <p:nvPr/>
        </p:nvPicPr>
        <p:blipFill>
          <a:blip r:embed="rId8" cstate="print">
            <a:lum bright="-6000"/>
          </a:blip>
          <a:srcRect/>
          <a:stretch>
            <a:fillRect/>
          </a:stretch>
        </p:blipFill>
        <p:spPr bwMode="auto">
          <a:xfrm>
            <a:off x="7491413" y="6249988"/>
            <a:ext cx="1489075" cy="366712"/>
          </a:xfrm>
          <a:prstGeom prst="rect">
            <a:avLst/>
          </a:prstGeom>
          <a:noFill/>
          <a:ln w="12700">
            <a:noFill/>
            <a:miter lim="800000"/>
            <a:headEnd/>
            <a:tailEnd/>
          </a:ln>
        </p:spPr>
      </p:pic>
      <p:pic>
        <p:nvPicPr>
          <p:cNvPr id="1034" name="Picture 9" descr="Vips"/>
          <p:cNvPicPr>
            <a:picLocks noChangeAspect="1" noChangeArrowheads="1"/>
          </p:cNvPicPr>
          <p:nvPr/>
        </p:nvPicPr>
        <p:blipFill>
          <a:blip r:embed="rId9" cstate="print"/>
          <a:srcRect/>
          <a:stretch>
            <a:fillRect/>
          </a:stretch>
        </p:blipFill>
        <p:spPr bwMode="auto">
          <a:xfrm>
            <a:off x="1384300" y="766763"/>
            <a:ext cx="1339850" cy="515937"/>
          </a:xfrm>
          <a:prstGeom prst="rect">
            <a:avLst/>
          </a:prstGeom>
          <a:noFill/>
          <a:ln w="12700">
            <a:noFill/>
            <a:miter lim="800000"/>
            <a:headEnd/>
            <a:tailEnd/>
          </a:ln>
        </p:spPr>
      </p:pic>
      <p:pic>
        <p:nvPicPr>
          <p:cNvPr id="1035" name="Picture 10" descr="LOGO PAIZ FONDOREFLEX"/>
          <p:cNvPicPr>
            <a:picLocks noChangeAspect="1" noChangeArrowheads="1"/>
          </p:cNvPicPr>
          <p:nvPr/>
        </p:nvPicPr>
        <p:blipFill>
          <a:blip r:embed="rId10" cstate="print">
            <a:lum bright="-6000"/>
          </a:blip>
          <a:srcRect/>
          <a:stretch>
            <a:fillRect/>
          </a:stretch>
        </p:blipFill>
        <p:spPr bwMode="auto">
          <a:xfrm>
            <a:off x="193675" y="5886450"/>
            <a:ext cx="1022350" cy="615950"/>
          </a:xfrm>
          <a:prstGeom prst="rect">
            <a:avLst/>
          </a:prstGeom>
          <a:noFill/>
          <a:ln w="12700">
            <a:noFill/>
            <a:miter lim="800000"/>
            <a:headEnd/>
            <a:tailEnd/>
          </a:ln>
        </p:spPr>
      </p:pic>
      <p:pic>
        <p:nvPicPr>
          <p:cNvPr id="1036" name="Picture 11" descr="Logo Despensa Familiar"/>
          <p:cNvPicPr>
            <a:picLocks noChangeAspect="1" noChangeArrowheads="1"/>
          </p:cNvPicPr>
          <p:nvPr/>
        </p:nvPicPr>
        <p:blipFill>
          <a:blip r:embed="rId11" cstate="print">
            <a:lum contrast="36000"/>
          </a:blip>
          <a:srcRect/>
          <a:stretch>
            <a:fillRect/>
          </a:stretch>
        </p:blipFill>
        <p:spPr bwMode="auto">
          <a:xfrm>
            <a:off x="6184900" y="855663"/>
            <a:ext cx="860425" cy="534987"/>
          </a:xfrm>
          <a:prstGeom prst="rect">
            <a:avLst/>
          </a:prstGeom>
          <a:noFill/>
          <a:ln w="12700">
            <a:noFill/>
            <a:miter lim="800000"/>
            <a:headEnd/>
            <a:tailEnd/>
          </a:ln>
        </p:spPr>
      </p:pic>
      <p:pic>
        <p:nvPicPr>
          <p:cNvPr id="1037" name="Picture 12" descr="DDJ"/>
          <p:cNvPicPr>
            <a:picLocks noChangeAspect="1" noChangeArrowheads="1"/>
          </p:cNvPicPr>
          <p:nvPr/>
        </p:nvPicPr>
        <p:blipFill>
          <a:blip r:embed="rId12" cstate="print"/>
          <a:srcRect/>
          <a:stretch>
            <a:fillRect/>
          </a:stretch>
        </p:blipFill>
        <p:spPr bwMode="auto">
          <a:xfrm>
            <a:off x="3881438" y="3121025"/>
            <a:ext cx="1420812" cy="519113"/>
          </a:xfrm>
          <a:prstGeom prst="rect">
            <a:avLst/>
          </a:prstGeom>
          <a:noFill/>
          <a:ln w="12700">
            <a:noFill/>
            <a:miter lim="800000"/>
            <a:headEnd/>
            <a:tailEnd/>
          </a:ln>
        </p:spPr>
      </p:pic>
      <p:pic>
        <p:nvPicPr>
          <p:cNvPr id="1038" name="Picture 13" descr="otro Logo ClubCo"/>
          <p:cNvPicPr>
            <a:picLocks noChangeAspect="1" noChangeArrowheads="1"/>
          </p:cNvPicPr>
          <p:nvPr/>
        </p:nvPicPr>
        <p:blipFill>
          <a:blip r:embed="rId13" cstate="print">
            <a:lum bright="-6000"/>
          </a:blip>
          <a:srcRect/>
          <a:stretch>
            <a:fillRect/>
          </a:stretch>
        </p:blipFill>
        <p:spPr bwMode="auto">
          <a:xfrm>
            <a:off x="8407400" y="165100"/>
            <a:ext cx="584200" cy="782638"/>
          </a:xfrm>
          <a:prstGeom prst="rect">
            <a:avLst/>
          </a:prstGeom>
          <a:noFill/>
          <a:ln w="12700">
            <a:noFill/>
            <a:miter lim="800000"/>
            <a:headEnd/>
            <a:tailEnd/>
          </a:ln>
        </p:spPr>
      </p:pic>
      <p:pic>
        <p:nvPicPr>
          <p:cNvPr id="1039" name="Picture 14"/>
          <p:cNvPicPr>
            <a:picLocks noChangeAspect="1" noChangeArrowheads="1"/>
          </p:cNvPicPr>
          <p:nvPr/>
        </p:nvPicPr>
        <p:blipFill>
          <a:blip r:embed="rId14" cstate="print">
            <a:lum bright="-6000"/>
          </a:blip>
          <a:srcRect/>
          <a:stretch>
            <a:fillRect/>
          </a:stretch>
        </p:blipFill>
        <p:spPr bwMode="auto">
          <a:xfrm>
            <a:off x="155575" y="1395413"/>
            <a:ext cx="944563" cy="552450"/>
          </a:xfrm>
          <a:prstGeom prst="rect">
            <a:avLst/>
          </a:prstGeom>
          <a:noFill/>
          <a:ln w="12700">
            <a:noFill/>
            <a:miter lim="800000"/>
            <a:headEnd/>
            <a:tailEnd/>
          </a:ln>
        </p:spPr>
      </p:pic>
      <p:pic>
        <p:nvPicPr>
          <p:cNvPr id="1040" name="Picture 15"/>
          <p:cNvPicPr>
            <a:picLocks noChangeAspect="1" noChangeArrowheads="1"/>
          </p:cNvPicPr>
          <p:nvPr/>
        </p:nvPicPr>
        <p:blipFill>
          <a:blip r:embed="rId15" cstate="print">
            <a:lum bright="-6000"/>
          </a:blip>
          <a:srcRect/>
          <a:stretch>
            <a:fillRect/>
          </a:stretch>
        </p:blipFill>
        <p:spPr bwMode="auto">
          <a:xfrm>
            <a:off x="2655888" y="6397625"/>
            <a:ext cx="1724025" cy="334963"/>
          </a:xfrm>
          <a:prstGeom prst="rect">
            <a:avLst/>
          </a:prstGeom>
          <a:noFill/>
          <a:ln w="12700">
            <a:noFill/>
            <a:miter lim="800000"/>
            <a:headEnd/>
            <a:tailEnd/>
          </a:ln>
        </p:spPr>
      </p:pic>
      <p:pic>
        <p:nvPicPr>
          <p:cNvPr id="1041" name="Picture 16"/>
          <p:cNvPicPr>
            <a:picLocks noChangeAspect="1" noChangeArrowheads="1"/>
          </p:cNvPicPr>
          <p:nvPr/>
        </p:nvPicPr>
        <p:blipFill>
          <a:blip r:embed="rId16" cstate="print">
            <a:lum bright="-6000"/>
          </a:blip>
          <a:srcRect/>
          <a:stretch>
            <a:fillRect/>
          </a:stretch>
        </p:blipFill>
        <p:spPr bwMode="auto">
          <a:xfrm>
            <a:off x="1576388" y="4543425"/>
            <a:ext cx="796925" cy="936625"/>
          </a:xfrm>
          <a:prstGeom prst="rect">
            <a:avLst/>
          </a:prstGeom>
          <a:noFill/>
          <a:ln w="12700">
            <a:noFill/>
            <a:miter lim="800000"/>
            <a:headEnd/>
            <a:tailEnd/>
          </a:ln>
        </p:spPr>
      </p:pic>
      <p:pic>
        <p:nvPicPr>
          <p:cNvPr id="103441" name="Picture 17"/>
          <p:cNvPicPr>
            <a:picLocks noChangeArrowheads="1"/>
          </p:cNvPicPr>
          <p:nvPr/>
        </p:nvPicPr>
        <p:blipFill>
          <a:blip r:embed="rId17" cstate="print">
            <a:lum bright="-6000"/>
          </a:blip>
          <a:srcRect t="200"/>
          <a:stretch>
            <a:fillRect/>
          </a:stretch>
        </p:blipFill>
        <p:spPr bwMode="auto">
          <a:xfrm>
            <a:off x="1346200" y="4003675"/>
            <a:ext cx="1370013" cy="411163"/>
          </a:xfrm>
          <a:prstGeom prst="rect">
            <a:avLst/>
          </a:prstGeom>
          <a:noFill/>
          <a:ln w="12700">
            <a:noFill/>
            <a:miter lim="800000"/>
            <a:headEnd/>
            <a:tailEnd/>
          </a:ln>
          <a:effectLst>
            <a:outerShdw dist="71842" dir="2700000" algn="ctr" rotWithShape="0">
              <a:srgbClr val="808080"/>
            </a:outerShdw>
          </a:effectLst>
        </p:spPr>
      </p:pic>
      <p:pic>
        <p:nvPicPr>
          <p:cNvPr id="1043" name="Picture 18"/>
          <p:cNvPicPr>
            <a:picLocks noChangeAspect="1" noChangeArrowheads="1"/>
          </p:cNvPicPr>
          <p:nvPr/>
        </p:nvPicPr>
        <p:blipFill>
          <a:blip r:embed="rId18" cstate="print">
            <a:lum bright="12000" contrast="18000"/>
          </a:blip>
          <a:srcRect/>
          <a:stretch>
            <a:fillRect/>
          </a:stretch>
        </p:blipFill>
        <p:spPr bwMode="auto">
          <a:xfrm>
            <a:off x="2613025" y="5118100"/>
            <a:ext cx="1020763" cy="500063"/>
          </a:xfrm>
          <a:prstGeom prst="rect">
            <a:avLst/>
          </a:prstGeom>
          <a:solidFill>
            <a:schemeClr val="bg1"/>
          </a:solidFill>
          <a:ln w="12700">
            <a:noFill/>
            <a:miter lim="800000"/>
            <a:headEnd/>
            <a:tailEnd/>
          </a:ln>
        </p:spPr>
      </p:pic>
      <p:pic>
        <p:nvPicPr>
          <p:cNvPr id="1044" name="Picture 19" descr="BIG"/>
          <p:cNvPicPr>
            <a:picLocks noChangeAspect="1" noChangeArrowheads="1"/>
          </p:cNvPicPr>
          <p:nvPr/>
        </p:nvPicPr>
        <p:blipFill>
          <a:blip r:embed="rId19" cstate="print">
            <a:lum bright="-6000"/>
          </a:blip>
          <a:srcRect/>
          <a:stretch>
            <a:fillRect/>
          </a:stretch>
        </p:blipFill>
        <p:spPr bwMode="auto">
          <a:xfrm>
            <a:off x="7951788" y="2417763"/>
            <a:ext cx="849312" cy="576262"/>
          </a:xfrm>
          <a:prstGeom prst="rect">
            <a:avLst/>
          </a:prstGeom>
          <a:noFill/>
          <a:ln w="12700">
            <a:noFill/>
            <a:miter lim="800000"/>
            <a:headEnd/>
            <a:tailEnd/>
          </a:ln>
        </p:spPr>
      </p:pic>
      <p:pic>
        <p:nvPicPr>
          <p:cNvPr id="1045" name="Picture 20" descr="Mercadorama"/>
          <p:cNvPicPr>
            <a:picLocks noChangeAspect="1" noChangeArrowheads="1"/>
          </p:cNvPicPr>
          <p:nvPr/>
        </p:nvPicPr>
        <p:blipFill>
          <a:blip r:embed="rId20" cstate="print">
            <a:lum bright="-6000"/>
          </a:blip>
          <a:srcRect/>
          <a:stretch>
            <a:fillRect/>
          </a:stretch>
        </p:blipFill>
        <p:spPr bwMode="auto">
          <a:xfrm>
            <a:off x="8027988" y="1698625"/>
            <a:ext cx="847725" cy="573088"/>
          </a:xfrm>
          <a:prstGeom prst="rect">
            <a:avLst/>
          </a:prstGeom>
          <a:noFill/>
          <a:ln w="12700">
            <a:noFill/>
            <a:miter lim="800000"/>
            <a:headEnd/>
            <a:tailEnd/>
          </a:ln>
        </p:spPr>
      </p:pic>
      <p:pic>
        <p:nvPicPr>
          <p:cNvPr id="1046" name="Picture 21" descr="Maxxi Atacado"/>
          <p:cNvPicPr>
            <a:picLocks noChangeAspect="1" noChangeArrowheads="1"/>
          </p:cNvPicPr>
          <p:nvPr/>
        </p:nvPicPr>
        <p:blipFill>
          <a:blip r:embed="rId21" cstate="print">
            <a:lum bright="-6000"/>
          </a:blip>
          <a:srcRect/>
          <a:stretch>
            <a:fillRect/>
          </a:stretch>
        </p:blipFill>
        <p:spPr bwMode="auto">
          <a:xfrm>
            <a:off x="2921000" y="3932238"/>
            <a:ext cx="1149350" cy="455612"/>
          </a:xfrm>
          <a:prstGeom prst="rect">
            <a:avLst/>
          </a:prstGeom>
          <a:noFill/>
          <a:ln w="12700">
            <a:noFill/>
            <a:miter lim="800000"/>
            <a:headEnd/>
            <a:tailEnd/>
          </a:ln>
        </p:spPr>
      </p:pic>
      <p:sp>
        <p:nvSpPr>
          <p:cNvPr id="1047" name="Text Box 22"/>
          <p:cNvSpPr txBox="1">
            <a:spLocks noChangeArrowheads="1"/>
          </p:cNvSpPr>
          <p:nvPr/>
        </p:nvSpPr>
        <p:spPr bwMode="auto">
          <a:xfrm>
            <a:off x="5497513" y="4927600"/>
            <a:ext cx="1571625" cy="823913"/>
          </a:xfrm>
          <a:prstGeom prst="rect">
            <a:avLst/>
          </a:prstGeom>
          <a:solidFill>
            <a:schemeClr val="tx1"/>
          </a:solidFill>
          <a:ln w="12700">
            <a:noFill/>
            <a:miter lim="800000"/>
            <a:headEnd/>
            <a:tailEnd/>
          </a:ln>
        </p:spPr>
        <p:txBody>
          <a:bodyPr>
            <a:spAutoFit/>
          </a:bodyPr>
          <a:lstStyle/>
          <a:p>
            <a:pPr>
              <a:lnSpc>
                <a:spcPct val="80000"/>
              </a:lnSpc>
            </a:pPr>
            <a:r>
              <a:rPr lang="en-US" sz="3200" dirty="0">
                <a:solidFill>
                  <a:srgbClr val="00FF00"/>
                </a:solidFill>
                <a:latin typeface="Arial Black" pitchFamily="34" charset="0"/>
              </a:rPr>
              <a:t>ASDA</a:t>
            </a:r>
          </a:p>
          <a:p>
            <a:pPr>
              <a:lnSpc>
                <a:spcPct val="80000"/>
              </a:lnSpc>
            </a:pPr>
            <a:r>
              <a:rPr lang="en-US" sz="2800" b="1" dirty="0">
                <a:solidFill>
                  <a:schemeClr val="bg1"/>
                </a:solidFill>
              </a:rPr>
              <a:t>LIVING</a:t>
            </a:r>
          </a:p>
        </p:txBody>
      </p:sp>
      <p:pic>
        <p:nvPicPr>
          <p:cNvPr id="1048" name="Picture 23"/>
          <p:cNvPicPr>
            <a:picLocks noChangeAspect="1" noChangeArrowheads="1"/>
          </p:cNvPicPr>
          <p:nvPr/>
        </p:nvPicPr>
        <p:blipFill>
          <a:blip r:embed="rId22" cstate="print">
            <a:lum bright="-6000"/>
          </a:blip>
          <a:srcRect/>
          <a:stretch>
            <a:fillRect/>
          </a:stretch>
        </p:blipFill>
        <p:spPr bwMode="auto">
          <a:xfrm>
            <a:off x="6223000" y="165100"/>
            <a:ext cx="1052513" cy="573088"/>
          </a:xfrm>
          <a:prstGeom prst="rect">
            <a:avLst/>
          </a:prstGeom>
          <a:noFill/>
          <a:ln w="12700">
            <a:noFill/>
            <a:miter lim="800000"/>
            <a:headEnd/>
            <a:tailEnd/>
          </a:ln>
        </p:spPr>
      </p:pic>
      <p:pic>
        <p:nvPicPr>
          <p:cNvPr id="1049" name="Picture 24" descr="sunny"/>
          <p:cNvPicPr>
            <a:picLocks noChangeAspect="1" noChangeArrowheads="1"/>
          </p:cNvPicPr>
          <p:nvPr/>
        </p:nvPicPr>
        <p:blipFill>
          <a:blip r:embed="rId23" cstate="print">
            <a:lum bright="-6000"/>
          </a:blip>
          <a:srcRect/>
          <a:stretch>
            <a:fillRect/>
          </a:stretch>
        </p:blipFill>
        <p:spPr bwMode="auto">
          <a:xfrm>
            <a:off x="5072063" y="779463"/>
            <a:ext cx="463550" cy="471487"/>
          </a:xfrm>
          <a:prstGeom prst="rect">
            <a:avLst/>
          </a:prstGeom>
          <a:solidFill>
            <a:schemeClr val="bg1"/>
          </a:solidFill>
          <a:ln w="12700">
            <a:noFill/>
            <a:miter lim="800000"/>
            <a:headEnd/>
            <a:tailEnd/>
          </a:ln>
        </p:spPr>
      </p:pic>
      <p:pic>
        <p:nvPicPr>
          <p:cNvPr id="1050" name="Picture 25" descr="tohoku_seiyu"/>
          <p:cNvPicPr>
            <a:picLocks noChangeAspect="1" noChangeArrowheads="1"/>
          </p:cNvPicPr>
          <p:nvPr/>
        </p:nvPicPr>
        <p:blipFill>
          <a:blip r:embed="rId24" cstate="print">
            <a:lum bright="-6000"/>
          </a:blip>
          <a:srcRect/>
          <a:stretch>
            <a:fillRect/>
          </a:stretch>
        </p:blipFill>
        <p:spPr bwMode="auto">
          <a:xfrm>
            <a:off x="347663" y="4010025"/>
            <a:ext cx="784225" cy="685800"/>
          </a:xfrm>
          <a:prstGeom prst="rect">
            <a:avLst/>
          </a:prstGeom>
          <a:noFill/>
          <a:ln w="12700">
            <a:noFill/>
            <a:miter lim="800000"/>
            <a:headEnd/>
            <a:tailEnd/>
          </a:ln>
        </p:spPr>
      </p:pic>
      <p:sp>
        <p:nvSpPr>
          <p:cNvPr id="103450" name="Rectangle 26"/>
          <p:cNvSpPr>
            <a:spLocks noChangeArrowheads="1"/>
          </p:cNvSpPr>
          <p:nvPr/>
        </p:nvSpPr>
        <p:spPr bwMode="auto">
          <a:xfrm>
            <a:off x="7643813" y="3187700"/>
            <a:ext cx="1458912" cy="690563"/>
          </a:xfrm>
          <a:prstGeom prst="rect">
            <a:avLst/>
          </a:prstGeom>
          <a:solidFill>
            <a:schemeClr val="bg1"/>
          </a:solidFill>
          <a:ln w="12700">
            <a:noFill/>
            <a:miter lim="800000"/>
            <a:headEnd/>
            <a:tailEnd/>
          </a:ln>
          <a:effectLst/>
        </p:spPr>
        <p:txBody>
          <a:bodyPr>
            <a:spAutoFit/>
          </a:bodyPr>
          <a:lstStyle/>
          <a:p>
            <a:pPr>
              <a:lnSpc>
                <a:spcPct val="70000"/>
              </a:lnSpc>
              <a:defRPr/>
            </a:pPr>
            <a:r>
              <a:rPr lang="en-US" sz="2400" dirty="0">
                <a:solidFill>
                  <a:srgbClr val="33CC33"/>
                </a:solidFill>
                <a:effectLst>
                  <a:outerShdw blurRad="38100" dist="38100" dir="2700000" algn="tl">
                    <a:srgbClr val="C0C0C0"/>
                  </a:outerShdw>
                </a:effectLst>
                <a:latin typeface="Arial Black" pitchFamily="34" charset="0"/>
              </a:rPr>
              <a:t>ASDA</a:t>
            </a:r>
          </a:p>
          <a:p>
            <a:pPr>
              <a:lnSpc>
                <a:spcPct val="70000"/>
              </a:lnSpc>
              <a:defRPr/>
            </a:pPr>
            <a:r>
              <a:rPr lang="en-US" sz="1600" b="1" dirty="0">
                <a:solidFill>
                  <a:schemeClr val="accent2"/>
                </a:solidFill>
              </a:rPr>
              <a:t>WAL</a:t>
            </a:r>
            <a:r>
              <a:rPr lang="en-US" sz="1600" b="1" dirty="0">
                <a:solidFill>
                  <a:schemeClr val="accent2"/>
                </a:solidFill>
                <a:sym typeface="Wingdings" pitchFamily="2" charset="2"/>
              </a:rPr>
              <a:t></a:t>
            </a:r>
            <a:r>
              <a:rPr lang="en-US" sz="1600" b="1" dirty="0">
                <a:solidFill>
                  <a:schemeClr val="accent2"/>
                </a:solidFill>
              </a:rPr>
              <a:t>MART</a:t>
            </a:r>
          </a:p>
          <a:p>
            <a:pPr>
              <a:lnSpc>
                <a:spcPct val="70000"/>
              </a:lnSpc>
              <a:defRPr/>
            </a:pPr>
            <a:r>
              <a:rPr lang="en-US" sz="1600" b="1" dirty="0">
                <a:solidFill>
                  <a:schemeClr val="accent2"/>
                </a:solidFill>
              </a:rPr>
              <a:t>supercenter</a:t>
            </a:r>
          </a:p>
        </p:txBody>
      </p:sp>
      <p:sp>
        <p:nvSpPr>
          <p:cNvPr id="1052" name="Text Box 27"/>
          <p:cNvSpPr txBox="1">
            <a:spLocks noChangeArrowheads="1"/>
          </p:cNvSpPr>
          <p:nvPr/>
        </p:nvSpPr>
        <p:spPr bwMode="auto">
          <a:xfrm>
            <a:off x="6108700" y="1509713"/>
            <a:ext cx="1498600" cy="396875"/>
          </a:xfrm>
          <a:prstGeom prst="rect">
            <a:avLst/>
          </a:prstGeom>
          <a:solidFill>
            <a:schemeClr val="accent2"/>
          </a:solidFill>
          <a:ln w="12700">
            <a:noFill/>
            <a:miter lim="800000"/>
            <a:headEnd/>
            <a:tailEnd/>
          </a:ln>
        </p:spPr>
        <p:txBody>
          <a:bodyPr>
            <a:spAutoFit/>
          </a:bodyPr>
          <a:lstStyle/>
          <a:p>
            <a:r>
              <a:rPr lang="en-US" sz="2000" dirty="0">
                <a:solidFill>
                  <a:schemeClr val="bg1"/>
                </a:solidFill>
                <a:latin typeface="Arial Black" pitchFamily="34" charset="0"/>
              </a:rPr>
              <a:t> L I V I N</a:t>
            </a:r>
          </a:p>
        </p:txBody>
      </p:sp>
      <p:graphicFrame>
        <p:nvGraphicFramePr>
          <p:cNvPr id="1026" name="Object 28"/>
          <p:cNvGraphicFramePr>
            <a:graphicFrameLocks noChangeAspect="1"/>
          </p:cNvGraphicFramePr>
          <p:nvPr/>
        </p:nvGraphicFramePr>
        <p:xfrm>
          <a:off x="269875" y="4787900"/>
          <a:ext cx="908050" cy="908050"/>
        </p:xfrm>
        <a:graphic>
          <a:graphicData uri="http://schemas.openxmlformats.org/presentationml/2006/ole">
            <p:oleObj spid="_x0000_s1026" name="Photo Editor Photo" r:id="rId25" imgW="3924848" imgH="3962953" progId="">
              <p:embed/>
            </p:oleObj>
          </a:graphicData>
        </a:graphic>
      </p:graphicFrame>
      <p:pic>
        <p:nvPicPr>
          <p:cNvPr id="1053" name="Picture 29" descr="Sams"/>
          <p:cNvPicPr>
            <a:picLocks noChangeAspect="1" noChangeArrowheads="1"/>
          </p:cNvPicPr>
          <p:nvPr/>
        </p:nvPicPr>
        <p:blipFill>
          <a:blip r:embed="rId26" cstate="print">
            <a:lum bright="-6000"/>
          </a:blip>
          <a:srcRect/>
          <a:stretch>
            <a:fillRect/>
          </a:stretch>
        </p:blipFill>
        <p:spPr bwMode="auto">
          <a:xfrm>
            <a:off x="7413625" y="165100"/>
            <a:ext cx="869950" cy="663575"/>
          </a:xfrm>
          <a:prstGeom prst="rect">
            <a:avLst/>
          </a:prstGeom>
          <a:noFill/>
          <a:ln w="12700">
            <a:noFill/>
            <a:miter lim="800000"/>
            <a:headEnd/>
            <a:tailEnd/>
          </a:ln>
        </p:spPr>
      </p:pic>
      <p:sp>
        <p:nvSpPr>
          <p:cNvPr id="1054" name="AutoShape 30"/>
          <p:cNvSpPr>
            <a:spLocks noChangeArrowheads="1"/>
          </p:cNvSpPr>
          <p:nvPr/>
        </p:nvSpPr>
        <p:spPr bwMode="auto">
          <a:xfrm>
            <a:off x="4572000" y="1355725"/>
            <a:ext cx="1190625" cy="230188"/>
          </a:xfrm>
          <a:prstGeom prst="roundRect">
            <a:avLst>
              <a:gd name="adj" fmla="val 16667"/>
            </a:avLst>
          </a:prstGeom>
          <a:solidFill>
            <a:srgbClr val="0066CC"/>
          </a:solidFill>
          <a:ln w="12700">
            <a:noFill/>
            <a:round/>
            <a:headEnd/>
            <a:tailEnd/>
          </a:ln>
        </p:spPr>
        <p:txBody>
          <a:bodyPr wrap="none" anchor="ctr"/>
          <a:lstStyle/>
          <a:p>
            <a:r>
              <a:rPr lang="en-US" b="1" i="1" dirty="0">
                <a:solidFill>
                  <a:schemeClr val="bg1"/>
                </a:solidFill>
                <a:latin typeface="Arial Narrow" pitchFamily="34" charset="0"/>
              </a:rPr>
              <a:t>MAGAZINE</a:t>
            </a:r>
          </a:p>
        </p:txBody>
      </p:sp>
      <p:pic>
        <p:nvPicPr>
          <p:cNvPr id="1055" name="Picture 31"/>
          <p:cNvPicPr>
            <a:picLocks noChangeAspect="1" noChangeArrowheads="1"/>
          </p:cNvPicPr>
          <p:nvPr/>
        </p:nvPicPr>
        <p:blipFill>
          <a:blip r:embed="rId27" cstate="print">
            <a:lum bright="-6000"/>
          </a:blip>
          <a:srcRect/>
          <a:stretch>
            <a:fillRect/>
          </a:stretch>
        </p:blipFill>
        <p:spPr bwMode="auto">
          <a:xfrm>
            <a:off x="4956175" y="133350"/>
            <a:ext cx="1036638" cy="485775"/>
          </a:xfrm>
          <a:prstGeom prst="rect">
            <a:avLst/>
          </a:prstGeom>
          <a:noFill/>
          <a:ln w="12700">
            <a:noFill/>
            <a:miter lim="800000"/>
            <a:headEnd/>
            <a:tailEnd/>
          </a:ln>
        </p:spPr>
      </p:pic>
      <p:pic>
        <p:nvPicPr>
          <p:cNvPr id="1056" name="Picture 32" descr="mibodega exp"/>
          <p:cNvPicPr>
            <a:picLocks noChangeAspect="1" noChangeArrowheads="1"/>
          </p:cNvPicPr>
          <p:nvPr/>
        </p:nvPicPr>
        <p:blipFill>
          <a:blip r:embed="rId28" cstate="print">
            <a:lum bright="-6000" contrast="24000"/>
          </a:blip>
          <a:srcRect/>
          <a:stretch>
            <a:fillRect/>
          </a:stretch>
        </p:blipFill>
        <p:spPr bwMode="auto">
          <a:xfrm>
            <a:off x="7797800" y="1020763"/>
            <a:ext cx="1106488" cy="588962"/>
          </a:xfrm>
          <a:prstGeom prst="rect">
            <a:avLst/>
          </a:prstGeom>
          <a:noFill/>
          <a:ln w="12700">
            <a:noFill/>
            <a:miter lim="800000"/>
            <a:headEnd/>
            <a:tailEnd/>
          </a:ln>
        </p:spPr>
      </p:pic>
      <p:pic>
        <p:nvPicPr>
          <p:cNvPr id="1057" name="Picture 33" descr="Suburbia"/>
          <p:cNvPicPr>
            <a:picLocks noChangeAspect="1" noChangeArrowheads="1"/>
          </p:cNvPicPr>
          <p:nvPr/>
        </p:nvPicPr>
        <p:blipFill>
          <a:blip r:embed="rId29" cstate="print">
            <a:clrChange>
              <a:clrFrom>
                <a:srgbClr val="FFFFFF"/>
              </a:clrFrom>
              <a:clrTo>
                <a:srgbClr val="FFFFFF">
                  <a:alpha val="0"/>
                </a:srgbClr>
              </a:clrTo>
            </a:clrChange>
            <a:lum bright="-6000"/>
          </a:blip>
          <a:srcRect/>
          <a:stretch>
            <a:fillRect/>
          </a:stretch>
        </p:blipFill>
        <p:spPr bwMode="auto">
          <a:xfrm>
            <a:off x="2057400" y="268288"/>
            <a:ext cx="1195388" cy="373062"/>
          </a:xfrm>
          <a:prstGeom prst="rect">
            <a:avLst/>
          </a:prstGeom>
          <a:solidFill>
            <a:schemeClr val="bg1"/>
          </a:solidFill>
          <a:ln w="12700">
            <a:noFill/>
            <a:miter lim="800000"/>
            <a:headEnd/>
            <a:tailEnd/>
          </a:ln>
        </p:spPr>
      </p:pic>
      <p:pic>
        <p:nvPicPr>
          <p:cNvPr id="1058" name="Picture 34"/>
          <p:cNvPicPr>
            <a:picLocks noChangeAspect="1" noChangeArrowheads="1"/>
          </p:cNvPicPr>
          <p:nvPr/>
        </p:nvPicPr>
        <p:blipFill>
          <a:blip r:embed="rId30" cstate="print"/>
          <a:srcRect/>
          <a:stretch>
            <a:fillRect/>
          </a:stretch>
        </p:blipFill>
        <p:spPr bwMode="auto">
          <a:xfrm>
            <a:off x="5954713" y="4235450"/>
            <a:ext cx="958850" cy="611188"/>
          </a:xfrm>
          <a:prstGeom prst="rect">
            <a:avLst/>
          </a:prstGeom>
          <a:noFill/>
          <a:ln w="12700">
            <a:noFill/>
            <a:miter lim="800000"/>
            <a:headEnd/>
            <a:tailEnd/>
          </a:ln>
        </p:spPr>
      </p:pic>
      <p:pic>
        <p:nvPicPr>
          <p:cNvPr id="1059" name="Picture 35" descr="Trust-Mart logo"/>
          <p:cNvPicPr>
            <a:picLocks noChangeAspect="1" noChangeArrowheads="1"/>
          </p:cNvPicPr>
          <p:nvPr/>
        </p:nvPicPr>
        <p:blipFill>
          <a:blip r:embed="rId31" cstate="print">
            <a:lum bright="-6000"/>
          </a:blip>
          <a:srcRect/>
          <a:stretch>
            <a:fillRect/>
          </a:stretch>
        </p:blipFill>
        <p:spPr bwMode="auto">
          <a:xfrm>
            <a:off x="5800725" y="3754438"/>
            <a:ext cx="1268413" cy="442912"/>
          </a:xfrm>
          <a:prstGeom prst="rect">
            <a:avLst/>
          </a:prstGeom>
          <a:noFill/>
          <a:ln w="12700">
            <a:noFill/>
            <a:miter lim="800000"/>
            <a:headEnd/>
            <a:tailEnd/>
          </a:ln>
        </p:spPr>
      </p:pic>
      <p:pic>
        <p:nvPicPr>
          <p:cNvPr id="1060" name="Picture 36" descr="la moda"/>
          <p:cNvPicPr>
            <a:picLocks noChangeAspect="1" noChangeArrowheads="1"/>
          </p:cNvPicPr>
          <p:nvPr/>
        </p:nvPicPr>
        <p:blipFill>
          <a:blip r:embed="rId32" cstate="print">
            <a:lum bright="-6000"/>
          </a:blip>
          <a:srcRect/>
          <a:stretch>
            <a:fillRect/>
          </a:stretch>
        </p:blipFill>
        <p:spPr bwMode="auto">
          <a:xfrm>
            <a:off x="1652588" y="142875"/>
            <a:ext cx="1616075" cy="525463"/>
          </a:xfrm>
          <a:prstGeom prst="rect">
            <a:avLst/>
          </a:prstGeom>
          <a:noFill/>
          <a:ln w="12700">
            <a:noFill/>
            <a:miter lim="800000"/>
            <a:headEnd/>
            <a:tailEnd/>
          </a:ln>
        </p:spPr>
      </p:pic>
      <p:pic>
        <p:nvPicPr>
          <p:cNvPr id="1061" name="Picture 37" descr="imagem"/>
          <p:cNvPicPr>
            <a:picLocks noChangeAspect="1" noChangeArrowheads="1"/>
          </p:cNvPicPr>
          <p:nvPr/>
        </p:nvPicPr>
        <p:blipFill>
          <a:blip r:embed="rId33" cstate="print"/>
          <a:srcRect/>
          <a:stretch>
            <a:fillRect/>
          </a:stretch>
        </p:blipFill>
        <p:spPr bwMode="auto">
          <a:xfrm>
            <a:off x="155575" y="2046288"/>
            <a:ext cx="1346200" cy="485775"/>
          </a:xfrm>
          <a:prstGeom prst="rect">
            <a:avLst/>
          </a:prstGeom>
          <a:noFill/>
          <a:ln w="12700">
            <a:noFill/>
            <a:miter lim="800000"/>
            <a:headEnd/>
            <a:tailEnd/>
          </a:ln>
        </p:spPr>
      </p:pic>
      <p:pic>
        <p:nvPicPr>
          <p:cNvPr id="1062" name="Picture 38" descr="~7130659"/>
          <p:cNvPicPr>
            <a:picLocks noChangeAspect="1" noChangeArrowheads="1"/>
          </p:cNvPicPr>
          <p:nvPr/>
        </p:nvPicPr>
        <p:blipFill>
          <a:blip r:embed="rId34" cstate="print">
            <a:lum bright="6000" contrast="18000"/>
          </a:blip>
          <a:srcRect/>
          <a:stretch>
            <a:fillRect/>
          </a:stretch>
        </p:blipFill>
        <p:spPr bwMode="auto">
          <a:xfrm>
            <a:off x="193675" y="2668588"/>
            <a:ext cx="1401763" cy="579437"/>
          </a:xfrm>
          <a:prstGeom prst="rect">
            <a:avLst/>
          </a:prstGeom>
          <a:noFill/>
          <a:ln w="12700">
            <a:noFill/>
            <a:miter lim="800000"/>
            <a:headEnd/>
            <a:tailEnd/>
          </a:ln>
        </p:spPr>
      </p:pic>
      <p:pic>
        <p:nvPicPr>
          <p:cNvPr id="1063" name="Picture 39" descr="Apresentação A 07"/>
          <p:cNvPicPr>
            <a:picLocks noChangeAspect="1" noChangeArrowheads="1"/>
          </p:cNvPicPr>
          <p:nvPr/>
        </p:nvPicPr>
        <p:blipFill>
          <a:blip r:embed="rId35" cstate="print">
            <a:clrChange>
              <a:clrFrom>
                <a:srgbClr val="FFFFFF"/>
              </a:clrFrom>
              <a:clrTo>
                <a:srgbClr val="FFFFFF">
                  <a:alpha val="0"/>
                </a:srgbClr>
              </a:clrTo>
            </a:clrChange>
            <a:lum bright="-6000"/>
          </a:blip>
          <a:srcRect l="24010" t="43623" r="23230" b="41705"/>
          <a:stretch>
            <a:fillRect/>
          </a:stretch>
        </p:blipFill>
        <p:spPr bwMode="auto">
          <a:xfrm>
            <a:off x="3151188" y="779463"/>
            <a:ext cx="1628775" cy="371475"/>
          </a:xfrm>
          <a:prstGeom prst="rect">
            <a:avLst/>
          </a:prstGeom>
          <a:solidFill>
            <a:schemeClr val="bg1"/>
          </a:solidFill>
          <a:ln w="12700">
            <a:noFill/>
            <a:miter lim="800000"/>
            <a:headEnd/>
            <a:tailEnd/>
          </a:ln>
        </p:spPr>
      </p:pic>
      <p:pic>
        <p:nvPicPr>
          <p:cNvPr id="1064" name="Picture 40"/>
          <p:cNvPicPr>
            <a:picLocks noChangeAspect="1" noChangeArrowheads="1"/>
          </p:cNvPicPr>
          <p:nvPr/>
        </p:nvPicPr>
        <p:blipFill>
          <a:blip r:embed="rId36" cstate="print">
            <a:lum bright="-6000"/>
          </a:blip>
          <a:srcRect/>
          <a:stretch>
            <a:fillRect/>
          </a:stretch>
        </p:blipFill>
        <p:spPr bwMode="auto">
          <a:xfrm>
            <a:off x="6492875" y="2124075"/>
            <a:ext cx="1249363" cy="733425"/>
          </a:xfrm>
          <a:prstGeom prst="rect">
            <a:avLst/>
          </a:prstGeom>
          <a:noFill/>
          <a:ln w="12700">
            <a:noFill/>
            <a:miter lim="800000"/>
            <a:headEnd/>
            <a:tailEnd/>
          </a:ln>
        </p:spPr>
      </p:pic>
      <p:pic>
        <p:nvPicPr>
          <p:cNvPr id="1065" name="Picture 41"/>
          <p:cNvPicPr>
            <a:picLocks noChangeAspect="1" noChangeArrowheads="1"/>
          </p:cNvPicPr>
          <p:nvPr/>
        </p:nvPicPr>
        <p:blipFill>
          <a:blip r:embed="rId37" cstate="print"/>
          <a:srcRect/>
          <a:stretch>
            <a:fillRect/>
          </a:stretch>
        </p:blipFill>
        <p:spPr bwMode="auto">
          <a:xfrm>
            <a:off x="5186363" y="1700213"/>
            <a:ext cx="844550" cy="704850"/>
          </a:xfrm>
          <a:prstGeom prst="rect">
            <a:avLst/>
          </a:prstGeom>
          <a:noFill/>
          <a:ln w="12700">
            <a:noFill/>
            <a:miter lim="800000"/>
            <a:headEnd/>
            <a:tailEnd/>
          </a:ln>
        </p:spPr>
      </p:pic>
      <p:pic>
        <p:nvPicPr>
          <p:cNvPr id="1066" name="Picture 42" descr="10730_2"/>
          <p:cNvPicPr>
            <a:picLocks noChangeAspect="1" noChangeArrowheads="1"/>
          </p:cNvPicPr>
          <p:nvPr/>
        </p:nvPicPr>
        <p:blipFill>
          <a:blip r:embed="rId38" cstate="print"/>
          <a:srcRect l="12123" t="12521" r="8081" b="9392"/>
          <a:stretch>
            <a:fillRect/>
          </a:stretch>
        </p:blipFill>
        <p:spPr bwMode="auto">
          <a:xfrm>
            <a:off x="193675" y="3379788"/>
            <a:ext cx="2217738" cy="509587"/>
          </a:xfrm>
          <a:prstGeom prst="rect">
            <a:avLst/>
          </a:prstGeom>
          <a:noFill/>
          <a:ln w="12700">
            <a:noFill/>
            <a:miter lim="800000"/>
            <a:headEnd/>
            <a:tailEnd/>
          </a:ln>
        </p:spPr>
      </p:pic>
      <p:pic>
        <p:nvPicPr>
          <p:cNvPr id="1067" name="Picture 43" descr="Picture1"/>
          <p:cNvPicPr>
            <a:picLocks noChangeAspect="1" noChangeArrowheads="1"/>
          </p:cNvPicPr>
          <p:nvPr/>
        </p:nvPicPr>
        <p:blipFill>
          <a:blip r:embed="rId39" cstate="print"/>
          <a:srcRect l="3725" t="4422" r="1936" b="7739"/>
          <a:stretch>
            <a:fillRect/>
          </a:stretch>
        </p:blipFill>
        <p:spPr bwMode="auto">
          <a:xfrm>
            <a:off x="2051050" y="1941513"/>
            <a:ext cx="1790700" cy="450850"/>
          </a:xfrm>
          <a:prstGeom prst="rect">
            <a:avLst/>
          </a:prstGeom>
          <a:noFill/>
          <a:ln w="12700">
            <a:noFill/>
            <a:miter lim="800000"/>
            <a:headEnd/>
            <a:tailEnd/>
          </a:ln>
        </p:spPr>
      </p:pic>
      <p:pic>
        <p:nvPicPr>
          <p:cNvPr id="1068" name="Picture 44"/>
          <p:cNvPicPr>
            <a:picLocks noChangeAspect="1" noChangeArrowheads="1"/>
          </p:cNvPicPr>
          <p:nvPr/>
        </p:nvPicPr>
        <p:blipFill>
          <a:blip r:embed="rId40" cstate="print"/>
          <a:srcRect/>
          <a:stretch>
            <a:fillRect/>
          </a:stretch>
        </p:blipFill>
        <p:spPr bwMode="auto">
          <a:xfrm>
            <a:off x="93663" y="125413"/>
            <a:ext cx="1406525" cy="506412"/>
          </a:xfrm>
          <a:prstGeom prst="rect">
            <a:avLst/>
          </a:prstGeom>
          <a:noFill/>
          <a:ln w="12700">
            <a:noFill/>
            <a:miter lim="800000"/>
            <a:headEnd/>
            <a:tailEnd/>
          </a:ln>
        </p:spPr>
      </p:pic>
      <p:pic>
        <p:nvPicPr>
          <p:cNvPr id="1069" name="Picture 45"/>
          <p:cNvPicPr>
            <a:picLocks noChangeAspect="1" noChangeArrowheads="1"/>
          </p:cNvPicPr>
          <p:nvPr/>
        </p:nvPicPr>
        <p:blipFill>
          <a:blip r:embed="rId41" cstate="print"/>
          <a:srcRect/>
          <a:stretch>
            <a:fillRect/>
          </a:stretch>
        </p:blipFill>
        <p:spPr bwMode="auto">
          <a:xfrm>
            <a:off x="2574925" y="4503738"/>
            <a:ext cx="1398588" cy="539750"/>
          </a:xfrm>
          <a:prstGeom prst="rect">
            <a:avLst/>
          </a:prstGeom>
          <a:noFill/>
          <a:ln w="12700">
            <a:noFill/>
            <a:miter lim="800000"/>
            <a:headEnd/>
            <a:tailEnd/>
          </a:ln>
        </p:spPr>
      </p:pic>
      <p:pic>
        <p:nvPicPr>
          <p:cNvPr id="1070" name="Picture 46"/>
          <p:cNvPicPr>
            <a:picLocks noChangeAspect="1" noChangeArrowheads="1"/>
          </p:cNvPicPr>
          <p:nvPr/>
        </p:nvPicPr>
        <p:blipFill>
          <a:blip r:embed="rId42" cstate="print"/>
          <a:srcRect/>
          <a:stretch>
            <a:fillRect/>
          </a:stretch>
        </p:blipFill>
        <p:spPr bwMode="auto">
          <a:xfrm>
            <a:off x="5416550" y="5772150"/>
            <a:ext cx="1658938" cy="403225"/>
          </a:xfrm>
          <a:prstGeom prst="rect">
            <a:avLst/>
          </a:prstGeom>
          <a:noFill/>
          <a:ln w="12700">
            <a:noFill/>
            <a:miter lim="800000"/>
            <a:headEnd/>
            <a:tailEnd/>
          </a:ln>
        </p:spPr>
      </p:pic>
      <p:pic>
        <p:nvPicPr>
          <p:cNvPr id="1071" name="Picture 47" descr="22950_2"/>
          <p:cNvPicPr>
            <a:picLocks noChangeAspect="1" noChangeArrowheads="1"/>
          </p:cNvPicPr>
          <p:nvPr/>
        </p:nvPicPr>
        <p:blipFill>
          <a:blip r:embed="rId43" cstate="print">
            <a:clrChange>
              <a:clrFrom>
                <a:srgbClr val="FFFFFF"/>
              </a:clrFrom>
              <a:clrTo>
                <a:srgbClr val="FFFFFF">
                  <a:alpha val="0"/>
                </a:srgbClr>
              </a:clrTo>
            </a:clrChange>
          </a:blip>
          <a:srcRect l="15428" t="6261" r="14326" b="9392"/>
          <a:stretch>
            <a:fillRect/>
          </a:stretch>
        </p:blipFill>
        <p:spPr bwMode="auto">
          <a:xfrm>
            <a:off x="7145338" y="3851275"/>
            <a:ext cx="1701800" cy="479425"/>
          </a:xfrm>
          <a:prstGeom prst="rect">
            <a:avLst/>
          </a:prstGeom>
          <a:solidFill>
            <a:schemeClr val="bg1"/>
          </a:solidFill>
          <a:ln w="12700">
            <a:noFill/>
            <a:miter lim="800000"/>
            <a:headEnd/>
            <a:tailEnd/>
          </a:ln>
        </p:spPr>
      </p:pic>
      <p:pic>
        <p:nvPicPr>
          <p:cNvPr id="1072" name="Picture 48" descr="17198_2"/>
          <p:cNvPicPr>
            <a:picLocks noChangeAspect="1" noChangeArrowheads="1"/>
          </p:cNvPicPr>
          <p:nvPr/>
        </p:nvPicPr>
        <p:blipFill>
          <a:blip r:embed="rId44" cstate="print"/>
          <a:srcRect l="24612" t="12521" r="20572" b="9392"/>
          <a:stretch>
            <a:fillRect/>
          </a:stretch>
        </p:blipFill>
        <p:spPr bwMode="auto">
          <a:xfrm>
            <a:off x="1460500" y="1393825"/>
            <a:ext cx="1619250" cy="463550"/>
          </a:xfrm>
          <a:prstGeom prst="rect">
            <a:avLst/>
          </a:prstGeom>
          <a:noFill/>
          <a:ln w="12700">
            <a:noFill/>
            <a:miter lim="800000"/>
            <a:headEnd/>
            <a:tailEnd/>
          </a:ln>
        </p:spPr>
      </p:pic>
      <p:pic>
        <p:nvPicPr>
          <p:cNvPr id="1073" name="Picture 49" descr="17195_2"/>
          <p:cNvPicPr>
            <a:picLocks noChangeAspect="1" noChangeArrowheads="1"/>
          </p:cNvPicPr>
          <p:nvPr/>
        </p:nvPicPr>
        <p:blipFill>
          <a:blip r:embed="rId45" cstate="print"/>
          <a:srcRect l="24612" t="6261" r="20572" b="9392"/>
          <a:stretch>
            <a:fillRect/>
          </a:stretch>
        </p:blipFill>
        <p:spPr bwMode="auto">
          <a:xfrm>
            <a:off x="4149725" y="3659188"/>
            <a:ext cx="1544638" cy="558800"/>
          </a:xfrm>
          <a:prstGeom prst="rect">
            <a:avLst/>
          </a:prstGeom>
          <a:noFill/>
          <a:ln w="12700">
            <a:noFill/>
            <a:miter lim="800000"/>
            <a:headEnd/>
            <a:tailEnd/>
          </a:ln>
        </p:spPr>
      </p:pic>
      <p:pic>
        <p:nvPicPr>
          <p:cNvPr id="1074" name="Picture 50" descr="10339_2"/>
          <p:cNvPicPr>
            <a:picLocks noChangeAspect="1" noChangeArrowheads="1"/>
          </p:cNvPicPr>
          <p:nvPr/>
        </p:nvPicPr>
        <p:blipFill>
          <a:blip r:embed="rId46" cstate="print"/>
          <a:srcRect l="21306" t="6261" r="22041" b="3131"/>
          <a:stretch>
            <a:fillRect/>
          </a:stretch>
        </p:blipFill>
        <p:spPr bwMode="auto">
          <a:xfrm>
            <a:off x="4264025" y="4273550"/>
            <a:ext cx="1203325" cy="452438"/>
          </a:xfrm>
          <a:prstGeom prst="rect">
            <a:avLst/>
          </a:prstGeom>
          <a:noFill/>
          <a:ln w="12700">
            <a:noFill/>
            <a:miter lim="800000"/>
            <a:headEnd/>
            <a:tailEnd/>
          </a:ln>
        </p:spPr>
      </p:pic>
      <p:pic>
        <p:nvPicPr>
          <p:cNvPr id="1075" name="Picture 51" descr="7603_2"/>
          <p:cNvPicPr>
            <a:picLocks noChangeAspect="1" noChangeArrowheads="1"/>
          </p:cNvPicPr>
          <p:nvPr/>
        </p:nvPicPr>
        <p:blipFill>
          <a:blip r:embed="rId47" cstate="print">
            <a:clrChange>
              <a:clrFrom>
                <a:srgbClr val="FFFFFF"/>
              </a:clrFrom>
              <a:clrTo>
                <a:srgbClr val="FFFFFF">
                  <a:alpha val="0"/>
                </a:srgbClr>
              </a:clrTo>
            </a:clrChange>
          </a:blip>
          <a:srcRect l="18367" t="12521" r="11388" b="21913"/>
          <a:stretch>
            <a:fillRect/>
          </a:stretch>
        </p:blipFill>
        <p:spPr bwMode="auto">
          <a:xfrm>
            <a:off x="5646738" y="3187700"/>
            <a:ext cx="1871662" cy="407988"/>
          </a:xfrm>
          <a:prstGeom prst="rect">
            <a:avLst/>
          </a:prstGeom>
          <a:solidFill>
            <a:schemeClr val="bg1"/>
          </a:solidFill>
          <a:ln w="12700">
            <a:noFill/>
            <a:miter lim="800000"/>
            <a:headEnd/>
            <a:tailEnd/>
          </a:ln>
        </p:spPr>
      </p:pic>
      <p:pic>
        <p:nvPicPr>
          <p:cNvPr id="1076" name="Picture 52"/>
          <p:cNvPicPr>
            <a:picLocks noChangeAspect="1" noChangeArrowheads="1"/>
          </p:cNvPicPr>
          <p:nvPr/>
        </p:nvPicPr>
        <p:blipFill>
          <a:blip r:embed="rId48" cstate="print"/>
          <a:srcRect/>
          <a:stretch>
            <a:fillRect/>
          </a:stretch>
        </p:blipFill>
        <p:spPr bwMode="auto">
          <a:xfrm>
            <a:off x="3227388" y="1239838"/>
            <a:ext cx="1042987" cy="463550"/>
          </a:xfrm>
          <a:prstGeom prst="rect">
            <a:avLst/>
          </a:prstGeom>
          <a:noFill/>
          <a:ln w="12700">
            <a:noFill/>
            <a:miter lim="800000"/>
            <a:headEnd/>
            <a:tailEnd/>
          </a:ln>
        </p:spPr>
      </p:pic>
      <p:pic>
        <p:nvPicPr>
          <p:cNvPr id="1077" name="Picture 53" descr="Market logo"/>
          <p:cNvPicPr>
            <a:picLocks noChangeAspect="1" noChangeArrowheads="1"/>
          </p:cNvPicPr>
          <p:nvPr/>
        </p:nvPicPr>
        <p:blipFill>
          <a:blip r:embed="rId49" cstate="print">
            <a:lum bright="-6000" contrast="42000"/>
          </a:blip>
          <a:srcRect/>
          <a:stretch>
            <a:fillRect/>
          </a:stretch>
        </p:blipFill>
        <p:spPr bwMode="auto">
          <a:xfrm>
            <a:off x="2536825" y="3187700"/>
            <a:ext cx="1344613" cy="622300"/>
          </a:xfrm>
          <a:prstGeom prst="rect">
            <a:avLst/>
          </a:prstGeom>
          <a:noFill/>
          <a:ln w="12700">
            <a:noFill/>
            <a:miter lim="800000"/>
            <a:headEnd/>
            <a:tailEnd/>
          </a:ln>
        </p:spPr>
      </p:pic>
      <p:pic>
        <p:nvPicPr>
          <p:cNvPr id="1078" name="Picture 54"/>
          <p:cNvPicPr>
            <a:picLocks noChangeAspect="1" noChangeArrowheads="1"/>
          </p:cNvPicPr>
          <p:nvPr/>
        </p:nvPicPr>
        <p:blipFill>
          <a:blip r:embed="rId50" cstate="print">
            <a:lum bright="18000" contrast="-12000"/>
          </a:blip>
          <a:srcRect/>
          <a:stretch>
            <a:fillRect/>
          </a:stretch>
        </p:blipFill>
        <p:spPr bwMode="auto">
          <a:xfrm>
            <a:off x="3808413" y="5848350"/>
            <a:ext cx="1031875" cy="482600"/>
          </a:xfrm>
          <a:prstGeom prst="rect">
            <a:avLst/>
          </a:prstGeom>
          <a:noFill/>
          <a:ln w="12700" algn="ctr">
            <a:noFill/>
            <a:miter lim="800000"/>
            <a:headEnd/>
            <a:tailEnd/>
          </a:ln>
        </p:spPr>
      </p:pic>
      <p:pic>
        <p:nvPicPr>
          <p:cNvPr id="1079" name="Picture 55"/>
          <p:cNvPicPr>
            <a:picLocks noChangeAspect="1" noChangeArrowheads="1"/>
          </p:cNvPicPr>
          <p:nvPr/>
        </p:nvPicPr>
        <p:blipFill>
          <a:blip r:embed="rId51" cstate="print">
            <a:lum bright="12000" contrast="-6000"/>
          </a:blip>
          <a:srcRect/>
          <a:stretch>
            <a:fillRect/>
          </a:stretch>
        </p:blipFill>
        <p:spPr bwMode="auto">
          <a:xfrm>
            <a:off x="2536825" y="5627688"/>
            <a:ext cx="1304925" cy="574675"/>
          </a:xfrm>
          <a:prstGeom prst="rect">
            <a:avLst/>
          </a:prstGeom>
          <a:noFill/>
          <a:ln w="12700" algn="ctr">
            <a:noFill/>
            <a:miter lim="800000"/>
            <a:headEnd/>
            <a:tailEnd/>
          </a:ln>
        </p:spPr>
      </p:pic>
      <p:pic>
        <p:nvPicPr>
          <p:cNvPr id="1080" name="Picture 56"/>
          <p:cNvPicPr>
            <a:picLocks noChangeAspect="1" noChangeArrowheads="1"/>
          </p:cNvPicPr>
          <p:nvPr/>
        </p:nvPicPr>
        <p:blipFill>
          <a:blip r:embed="rId52" cstate="print"/>
          <a:srcRect/>
          <a:stretch>
            <a:fillRect/>
          </a:stretch>
        </p:blipFill>
        <p:spPr bwMode="auto">
          <a:xfrm>
            <a:off x="4802188" y="6232525"/>
            <a:ext cx="1036637" cy="428625"/>
          </a:xfrm>
          <a:prstGeom prst="rect">
            <a:avLst/>
          </a:prstGeom>
          <a:noFill/>
          <a:ln w="12700" algn="ctr">
            <a:noFill/>
            <a:miter lim="800000"/>
            <a:headEnd/>
            <a:tailEnd/>
          </a:ln>
        </p:spPr>
      </p:pic>
      <p:pic>
        <p:nvPicPr>
          <p:cNvPr id="1081" name="Picture 57"/>
          <p:cNvPicPr>
            <a:picLocks noChangeAspect="1" noChangeArrowheads="1"/>
          </p:cNvPicPr>
          <p:nvPr/>
        </p:nvPicPr>
        <p:blipFill>
          <a:blip r:embed="rId53" cstate="print"/>
          <a:srcRect r="3003" b="4633"/>
          <a:stretch>
            <a:fillRect/>
          </a:stretch>
        </p:blipFill>
        <p:spPr bwMode="auto">
          <a:xfrm>
            <a:off x="3919538" y="5310188"/>
            <a:ext cx="1217612" cy="465137"/>
          </a:xfrm>
          <a:prstGeom prst="rect">
            <a:avLst/>
          </a:prstGeom>
          <a:noFill/>
          <a:ln w="12700" algn="ctr">
            <a:noFill/>
            <a:miter lim="800000"/>
            <a:headEnd/>
            <a:tailEnd/>
          </a:ln>
        </p:spPr>
      </p:pic>
      <p:grpSp>
        <p:nvGrpSpPr>
          <p:cNvPr id="1082" name="Group 58"/>
          <p:cNvGrpSpPr>
            <a:grpSpLocks/>
          </p:cNvGrpSpPr>
          <p:nvPr/>
        </p:nvGrpSpPr>
        <p:grpSpPr bwMode="auto">
          <a:xfrm>
            <a:off x="7299325" y="4965700"/>
            <a:ext cx="1487488" cy="466725"/>
            <a:chOff x="4598" y="3394"/>
            <a:chExt cx="937" cy="294"/>
          </a:xfrm>
        </p:grpSpPr>
        <p:pic>
          <p:nvPicPr>
            <p:cNvPr id="1090" name="Picture 59"/>
            <p:cNvPicPr>
              <a:picLocks noChangeAspect="1" noChangeArrowheads="1"/>
            </p:cNvPicPr>
            <p:nvPr/>
          </p:nvPicPr>
          <p:blipFill>
            <a:blip r:embed="rId42" cstate="print"/>
            <a:srcRect/>
            <a:stretch>
              <a:fillRect/>
            </a:stretch>
          </p:blipFill>
          <p:spPr bwMode="auto">
            <a:xfrm>
              <a:off x="4598" y="3394"/>
              <a:ext cx="937" cy="219"/>
            </a:xfrm>
            <a:prstGeom prst="rect">
              <a:avLst/>
            </a:prstGeom>
            <a:noFill/>
            <a:ln w="12700">
              <a:noFill/>
              <a:miter lim="800000"/>
              <a:headEnd/>
              <a:tailEnd/>
            </a:ln>
          </p:spPr>
        </p:pic>
        <p:sp>
          <p:nvSpPr>
            <p:cNvPr id="1091" name="Text Box 60"/>
            <p:cNvSpPr txBox="1">
              <a:spLocks noChangeArrowheads="1"/>
            </p:cNvSpPr>
            <p:nvPr/>
          </p:nvSpPr>
          <p:spPr bwMode="auto">
            <a:xfrm>
              <a:off x="5057" y="3515"/>
              <a:ext cx="462" cy="173"/>
            </a:xfrm>
            <a:prstGeom prst="rect">
              <a:avLst/>
            </a:prstGeom>
            <a:noFill/>
            <a:ln w="12700">
              <a:noFill/>
              <a:miter lim="800000"/>
              <a:headEnd/>
              <a:tailEnd/>
            </a:ln>
          </p:spPr>
          <p:txBody>
            <a:bodyPr wrap="none">
              <a:spAutoFit/>
            </a:bodyPr>
            <a:lstStyle/>
            <a:p>
              <a:r>
                <a:rPr lang="en-US" sz="1200" dirty="0"/>
                <a:t>Express</a:t>
              </a:r>
            </a:p>
          </p:txBody>
        </p:sp>
      </p:grpSp>
      <p:pic>
        <p:nvPicPr>
          <p:cNvPr id="1083" name="Picture 61"/>
          <p:cNvPicPr>
            <a:picLocks noChangeAspect="1" noChangeArrowheads="1"/>
          </p:cNvPicPr>
          <p:nvPr/>
        </p:nvPicPr>
        <p:blipFill>
          <a:blip r:embed="rId54" cstate="print"/>
          <a:srcRect/>
          <a:stretch>
            <a:fillRect/>
          </a:stretch>
        </p:blipFill>
        <p:spPr bwMode="auto">
          <a:xfrm>
            <a:off x="7221538" y="4427538"/>
            <a:ext cx="1766887" cy="495300"/>
          </a:xfrm>
          <a:prstGeom prst="rect">
            <a:avLst/>
          </a:prstGeom>
          <a:noFill/>
          <a:ln w="12700">
            <a:noFill/>
            <a:miter lim="800000"/>
            <a:headEnd/>
            <a:tailEnd/>
          </a:ln>
        </p:spPr>
      </p:pic>
      <p:pic>
        <p:nvPicPr>
          <p:cNvPr id="1084" name="Picture 62" descr="SAMS_Logo_4CP_OL"/>
          <p:cNvPicPr>
            <a:picLocks noChangeAspect="1" noChangeArrowheads="1"/>
          </p:cNvPicPr>
          <p:nvPr/>
        </p:nvPicPr>
        <p:blipFill>
          <a:blip r:embed="rId55" cstate="print">
            <a:lum bright="18000"/>
          </a:blip>
          <a:srcRect/>
          <a:stretch>
            <a:fillRect/>
          </a:stretch>
        </p:blipFill>
        <p:spPr bwMode="auto">
          <a:xfrm>
            <a:off x="4156075" y="1739900"/>
            <a:ext cx="857250" cy="882650"/>
          </a:xfrm>
          <a:prstGeom prst="rect">
            <a:avLst/>
          </a:prstGeom>
          <a:noFill/>
          <a:ln w="9525">
            <a:noFill/>
            <a:miter lim="800000"/>
            <a:headEnd/>
            <a:tailEnd/>
          </a:ln>
        </p:spPr>
      </p:pic>
      <p:pic>
        <p:nvPicPr>
          <p:cNvPr id="1085" name="Picture 63"/>
          <p:cNvPicPr>
            <a:picLocks noChangeAspect="1" noChangeArrowheads="1"/>
          </p:cNvPicPr>
          <p:nvPr/>
        </p:nvPicPr>
        <p:blipFill>
          <a:blip r:embed="rId56" cstate="print"/>
          <a:srcRect/>
          <a:stretch>
            <a:fillRect/>
          </a:stretch>
        </p:blipFill>
        <p:spPr bwMode="auto">
          <a:xfrm>
            <a:off x="6032500" y="6232525"/>
            <a:ext cx="1304925" cy="520700"/>
          </a:xfrm>
          <a:prstGeom prst="rect">
            <a:avLst/>
          </a:prstGeom>
          <a:noFill/>
          <a:ln w="9525">
            <a:noFill/>
            <a:miter lim="800000"/>
            <a:headEnd/>
            <a:tailEnd/>
          </a:ln>
        </p:spPr>
      </p:pic>
      <p:pic>
        <p:nvPicPr>
          <p:cNvPr id="1086" name="Picture 64" descr="logo_asda_direct"/>
          <p:cNvPicPr>
            <a:picLocks noChangeAspect="1" noChangeArrowheads="1"/>
          </p:cNvPicPr>
          <p:nvPr/>
        </p:nvPicPr>
        <p:blipFill>
          <a:blip r:embed="rId57" cstate="print"/>
          <a:srcRect/>
          <a:stretch>
            <a:fillRect/>
          </a:stretch>
        </p:blipFill>
        <p:spPr bwMode="auto">
          <a:xfrm>
            <a:off x="6338888" y="2919413"/>
            <a:ext cx="1574800" cy="239712"/>
          </a:xfrm>
          <a:prstGeom prst="rect">
            <a:avLst/>
          </a:prstGeom>
          <a:noFill/>
          <a:ln w="9525">
            <a:noFill/>
            <a:miter lim="800000"/>
            <a:headEnd/>
            <a:tailEnd/>
          </a:ln>
        </p:spPr>
      </p:pic>
      <p:pic>
        <p:nvPicPr>
          <p:cNvPr id="1087" name="Picture 65"/>
          <p:cNvPicPr>
            <a:picLocks noChangeAspect="1" noChangeArrowheads="1"/>
          </p:cNvPicPr>
          <p:nvPr/>
        </p:nvPicPr>
        <p:blipFill>
          <a:blip r:embed="rId58" cstate="print"/>
          <a:srcRect/>
          <a:stretch>
            <a:fillRect/>
          </a:stretch>
        </p:blipFill>
        <p:spPr bwMode="auto">
          <a:xfrm>
            <a:off x="1960563" y="2814638"/>
            <a:ext cx="1009650" cy="371475"/>
          </a:xfrm>
          <a:prstGeom prst="rect">
            <a:avLst/>
          </a:prstGeom>
          <a:noFill/>
          <a:ln w="9525">
            <a:noFill/>
            <a:miter lim="800000"/>
            <a:headEnd/>
            <a:tailEnd/>
          </a:ln>
        </p:spPr>
      </p:pic>
      <p:pic>
        <p:nvPicPr>
          <p:cNvPr id="1088" name="Picture 2" descr="LOGO_01"/>
          <p:cNvPicPr>
            <a:picLocks noChangeAspect="1" noChangeArrowheads="1"/>
          </p:cNvPicPr>
          <p:nvPr/>
        </p:nvPicPr>
        <p:blipFill>
          <a:blip r:embed="rId59" cstate="print"/>
          <a:srcRect/>
          <a:stretch>
            <a:fillRect/>
          </a:stretch>
        </p:blipFill>
        <p:spPr bwMode="auto">
          <a:xfrm>
            <a:off x="1498600" y="5734050"/>
            <a:ext cx="922338" cy="736600"/>
          </a:xfrm>
          <a:prstGeom prst="rect">
            <a:avLst/>
          </a:prstGeom>
          <a:noFill/>
          <a:ln w="28575">
            <a:noFill/>
            <a:miter lim="800000"/>
            <a:headEnd/>
            <a:tailEnd/>
          </a:ln>
        </p:spPr>
      </p:pic>
      <p:pic>
        <p:nvPicPr>
          <p:cNvPr id="1089" name="Picture 67"/>
          <p:cNvPicPr>
            <a:picLocks noChangeAspect="1" noChangeArrowheads="1"/>
          </p:cNvPicPr>
          <p:nvPr/>
        </p:nvPicPr>
        <p:blipFill>
          <a:blip r:embed="rId60" cstate="print"/>
          <a:srcRect l="7767" t="19200" r="10680" b="23199"/>
          <a:stretch>
            <a:fillRect/>
          </a:stretch>
        </p:blipFill>
        <p:spPr bwMode="auto">
          <a:xfrm>
            <a:off x="7451725" y="5502275"/>
            <a:ext cx="1382713" cy="592138"/>
          </a:xfrm>
          <a:prstGeom prst="rect">
            <a:avLst/>
          </a:prstGeom>
          <a:noFill/>
          <a:ln w="12700">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2052" name="AutoShape 2"/>
          <p:cNvSpPr>
            <a:spLocks noChangeArrowheads="1"/>
          </p:cNvSpPr>
          <p:nvPr/>
        </p:nvSpPr>
        <p:spPr bwMode="auto">
          <a:xfrm>
            <a:off x="469900" y="762000"/>
            <a:ext cx="7988300" cy="5559425"/>
          </a:xfrm>
          <a:prstGeom prst="roundRect">
            <a:avLst>
              <a:gd name="adj" fmla="val 1514"/>
            </a:avLst>
          </a:prstGeom>
          <a:noFill/>
          <a:ln w="12700">
            <a:noFill/>
            <a:round/>
            <a:headEnd type="none" w="sm" len="sm"/>
            <a:tailEnd type="none" w="sm" len="sm"/>
          </a:ln>
        </p:spPr>
        <p:txBody>
          <a:bodyPr wrap="none" anchor="ctr"/>
          <a:lstStyle/>
          <a:p>
            <a:endParaRPr lang="en-US" dirty="0"/>
          </a:p>
        </p:txBody>
      </p:sp>
      <p:sp>
        <p:nvSpPr>
          <p:cNvPr id="2053" name="Rectangle 3"/>
          <p:cNvSpPr>
            <a:spLocks noGrp="1" noChangeArrowheads="1"/>
          </p:cNvSpPr>
          <p:nvPr>
            <p:ph type="title"/>
          </p:nvPr>
        </p:nvSpPr>
        <p:spPr>
          <a:xfrm>
            <a:off x="523875" y="200025"/>
            <a:ext cx="7239000" cy="739306"/>
          </a:xfrm>
          <a:noFill/>
        </p:spPr>
        <p:txBody>
          <a:bodyPr/>
          <a:lstStyle/>
          <a:p>
            <a:r>
              <a:rPr lang="en-US" sz="2400" dirty="0" smtClean="0">
                <a:solidFill>
                  <a:schemeClr val="tx1"/>
                </a:solidFill>
              </a:rPr>
              <a:t>Walmart International Facts</a:t>
            </a:r>
            <a:br>
              <a:rPr lang="en-US" sz="2400" dirty="0" smtClean="0">
                <a:solidFill>
                  <a:schemeClr val="tx1"/>
                </a:solidFill>
              </a:rPr>
            </a:br>
            <a:r>
              <a:rPr lang="en-US" dirty="0" smtClean="0">
                <a:solidFill>
                  <a:schemeClr val="tx1"/>
                </a:solidFill>
              </a:rPr>
              <a:t>International – High growth platform for Walmart </a:t>
            </a:r>
          </a:p>
        </p:txBody>
      </p:sp>
      <p:graphicFrame>
        <p:nvGraphicFramePr>
          <p:cNvPr id="2050" name="Object 4"/>
          <p:cNvGraphicFramePr>
            <a:graphicFrameLocks noChangeAspect="1"/>
          </p:cNvGraphicFramePr>
          <p:nvPr>
            <p:ph idx="1"/>
          </p:nvPr>
        </p:nvGraphicFramePr>
        <p:xfrm>
          <a:off x="1219200" y="1295400"/>
          <a:ext cx="7162800" cy="4779963"/>
        </p:xfrm>
        <a:graphic>
          <a:graphicData uri="http://schemas.openxmlformats.org/presentationml/2006/ole">
            <p:oleObj spid="_x0000_s2050" name="Chart" r:id="rId3" imgW="6096076" imgH="4067137" progId="MSGraph.Chart.8">
              <p:embed followColorScheme="full"/>
            </p:oleObj>
          </a:graphicData>
        </a:graphic>
      </p:graphicFrame>
      <p:sp>
        <p:nvSpPr>
          <p:cNvPr id="2054" name="Text Box 5"/>
          <p:cNvSpPr txBox="1">
            <a:spLocks noChangeArrowheads="1"/>
          </p:cNvSpPr>
          <p:nvPr/>
        </p:nvSpPr>
        <p:spPr bwMode="auto">
          <a:xfrm rot="-5400000">
            <a:off x="-1491457" y="3301207"/>
            <a:ext cx="4691063" cy="336550"/>
          </a:xfrm>
          <a:prstGeom prst="rect">
            <a:avLst/>
          </a:prstGeom>
          <a:noFill/>
          <a:ln w="9525">
            <a:noFill/>
            <a:miter lim="800000"/>
            <a:headEnd/>
            <a:tailEnd/>
          </a:ln>
        </p:spPr>
        <p:txBody>
          <a:bodyPr wrap="none">
            <a:spAutoFit/>
          </a:bodyPr>
          <a:lstStyle/>
          <a:p>
            <a:pPr eaLnBrk="0" hangingPunct="0"/>
            <a:r>
              <a:rPr lang="en-US" sz="1600" b="1" i="1" dirty="0">
                <a:ea typeface="MS PGothic"/>
                <a:cs typeface="MS PGothic"/>
              </a:rPr>
              <a:t>Annual Sales (Millions USD) at Reported Rates</a:t>
            </a:r>
          </a:p>
        </p:txBody>
      </p:sp>
      <p:sp>
        <p:nvSpPr>
          <p:cNvPr id="2055" name="AutoShape 6"/>
          <p:cNvSpPr>
            <a:spLocks noChangeArrowheads="1"/>
          </p:cNvSpPr>
          <p:nvPr/>
        </p:nvSpPr>
        <p:spPr bwMode="auto">
          <a:xfrm>
            <a:off x="3733800" y="1524000"/>
            <a:ext cx="2971800" cy="457200"/>
          </a:xfrm>
          <a:prstGeom prst="roundRect">
            <a:avLst>
              <a:gd name="adj" fmla="val 16667"/>
            </a:avLst>
          </a:prstGeom>
          <a:noFill/>
          <a:ln w="19050">
            <a:solidFill>
              <a:schemeClr val="bg1"/>
            </a:solidFill>
            <a:prstDash val="dash"/>
            <a:round/>
            <a:headEnd/>
            <a:tailEnd/>
          </a:ln>
        </p:spPr>
        <p:txBody>
          <a:bodyPr wrap="none" anchor="ctr"/>
          <a:lstStyle/>
          <a:p>
            <a:r>
              <a:rPr lang="en-US" b="1" dirty="0"/>
              <a:t>$98 billion in annual sale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oter Placeholder 3"/>
          <p:cNvSpPr>
            <a:spLocks noGrp="1"/>
          </p:cNvSpPr>
          <p:nvPr>
            <p:ph type="ftr" sz="quarter" idx="10"/>
          </p:nvPr>
        </p:nvSpPr>
        <p:spPr>
          <a:noFill/>
        </p:spPr>
        <p:txBody>
          <a:bodyPr/>
          <a:lstStyle/>
          <a:p>
            <a:endParaRPr lang="en-US" dirty="0" smtClean="0">
              <a:latin typeface="Arial" pitchFamily="34" charset="0"/>
              <a:ea typeface="MS PGothic"/>
              <a:cs typeface="MS PGothic"/>
            </a:endParaRPr>
          </a:p>
        </p:txBody>
      </p:sp>
      <p:sp>
        <p:nvSpPr>
          <p:cNvPr id="21507" name="Rectangle 2"/>
          <p:cNvSpPr>
            <a:spLocks noChangeArrowheads="1"/>
          </p:cNvSpPr>
          <p:nvPr/>
        </p:nvSpPr>
        <p:spPr bwMode="auto">
          <a:xfrm>
            <a:off x="6324600" y="3432175"/>
            <a:ext cx="1600200" cy="684213"/>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endParaRPr lang="en-US" dirty="0"/>
          </a:p>
        </p:txBody>
      </p:sp>
      <p:sp>
        <p:nvSpPr>
          <p:cNvPr id="21508" name="Rectangle 3"/>
          <p:cNvSpPr>
            <a:spLocks noChangeArrowheads="1"/>
          </p:cNvSpPr>
          <p:nvPr/>
        </p:nvSpPr>
        <p:spPr bwMode="auto">
          <a:xfrm>
            <a:off x="4572000" y="3432175"/>
            <a:ext cx="1752600" cy="684213"/>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endParaRPr lang="en-US" dirty="0"/>
          </a:p>
        </p:txBody>
      </p:sp>
      <p:sp>
        <p:nvSpPr>
          <p:cNvPr id="21509" name="Rectangle 4"/>
          <p:cNvSpPr>
            <a:spLocks noChangeArrowheads="1"/>
          </p:cNvSpPr>
          <p:nvPr/>
        </p:nvSpPr>
        <p:spPr bwMode="auto">
          <a:xfrm>
            <a:off x="2895600" y="3432175"/>
            <a:ext cx="1676400" cy="684213"/>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endParaRPr lang="en-US" dirty="0"/>
          </a:p>
        </p:txBody>
      </p:sp>
      <p:sp>
        <p:nvSpPr>
          <p:cNvPr id="21510" name="Rectangle 5"/>
          <p:cNvSpPr>
            <a:spLocks noChangeArrowheads="1"/>
          </p:cNvSpPr>
          <p:nvPr/>
        </p:nvSpPr>
        <p:spPr bwMode="auto">
          <a:xfrm>
            <a:off x="1295400" y="3432175"/>
            <a:ext cx="1600200" cy="684213"/>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endParaRPr lang="en-US" dirty="0"/>
          </a:p>
        </p:txBody>
      </p:sp>
      <p:sp>
        <p:nvSpPr>
          <p:cNvPr id="21511" name="Rectangle 6"/>
          <p:cNvSpPr>
            <a:spLocks noChangeArrowheads="1"/>
          </p:cNvSpPr>
          <p:nvPr/>
        </p:nvSpPr>
        <p:spPr bwMode="auto">
          <a:xfrm>
            <a:off x="6324600" y="1965325"/>
            <a:ext cx="1600200" cy="1466850"/>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r>
              <a:rPr lang="en-US" sz="1400" b="1" dirty="0"/>
              <a:t>“Redefinition”</a:t>
            </a:r>
          </a:p>
        </p:txBody>
      </p:sp>
      <p:sp>
        <p:nvSpPr>
          <p:cNvPr id="21512" name="Rectangle 7"/>
          <p:cNvSpPr>
            <a:spLocks noChangeArrowheads="1"/>
          </p:cNvSpPr>
          <p:nvPr/>
        </p:nvSpPr>
        <p:spPr bwMode="auto">
          <a:xfrm>
            <a:off x="4572000" y="1965325"/>
            <a:ext cx="1752600" cy="1466850"/>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r>
              <a:rPr lang="en-US" sz="1400" b="1" dirty="0"/>
              <a:t>“Asset-Utilization</a:t>
            </a:r>
            <a:r>
              <a:rPr lang="en-US" sz="800" b="1" dirty="0"/>
              <a:t>”</a:t>
            </a:r>
          </a:p>
        </p:txBody>
      </p:sp>
      <p:sp>
        <p:nvSpPr>
          <p:cNvPr id="21513" name="Rectangle 8"/>
          <p:cNvSpPr>
            <a:spLocks noChangeArrowheads="1"/>
          </p:cNvSpPr>
          <p:nvPr/>
        </p:nvSpPr>
        <p:spPr bwMode="auto">
          <a:xfrm>
            <a:off x="2895600" y="1965325"/>
            <a:ext cx="1676400" cy="1466850"/>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r>
              <a:rPr lang="en-US" sz="1400" b="1" dirty="0"/>
              <a:t>“High-Growth”</a:t>
            </a:r>
          </a:p>
        </p:txBody>
      </p:sp>
      <p:sp>
        <p:nvSpPr>
          <p:cNvPr id="21514" name="Rectangle 9"/>
          <p:cNvSpPr>
            <a:spLocks noChangeArrowheads="1"/>
          </p:cNvSpPr>
          <p:nvPr/>
        </p:nvSpPr>
        <p:spPr bwMode="auto">
          <a:xfrm>
            <a:off x="1295400" y="1965325"/>
            <a:ext cx="1600200" cy="1466850"/>
          </a:xfrm>
          <a:prstGeom prst="rect">
            <a:avLst/>
          </a:prstGeom>
          <a:noFill/>
          <a:ln w="12700">
            <a:noFill/>
            <a:miter lim="800000"/>
            <a:headEnd type="none" w="sm" len="sm"/>
            <a:tailEnd type="none" w="sm" len="sm"/>
          </a:ln>
        </p:spPr>
        <p:txBody>
          <a:bodyPr lIns="91432" tIns="45716" rIns="91432" bIns="45716"/>
          <a:lstStyle/>
          <a:p>
            <a:pPr>
              <a:buClr>
                <a:schemeClr val="folHlink"/>
              </a:buClr>
              <a:buSzPct val="120000"/>
              <a:buFont typeface="Times" pitchFamily="18" charset="0"/>
              <a:buNone/>
            </a:pPr>
            <a:r>
              <a:rPr lang="en-US" sz="1400" b="1" dirty="0"/>
              <a:t>“Emerging”</a:t>
            </a:r>
          </a:p>
        </p:txBody>
      </p:sp>
      <p:sp>
        <p:nvSpPr>
          <p:cNvPr id="21515" name="Line 10"/>
          <p:cNvSpPr>
            <a:spLocks noChangeShapeType="1"/>
          </p:cNvSpPr>
          <p:nvPr/>
        </p:nvSpPr>
        <p:spPr bwMode="auto">
          <a:xfrm>
            <a:off x="1295400" y="1965325"/>
            <a:ext cx="1600200" cy="0"/>
          </a:xfrm>
          <a:prstGeom prst="line">
            <a:avLst/>
          </a:prstGeom>
          <a:noFill/>
          <a:ln w="28575" cap="sq">
            <a:noFill/>
            <a:round/>
            <a:headEnd type="none" w="sm" len="sm"/>
            <a:tailEnd type="none" w="sm" len="sm"/>
          </a:ln>
        </p:spPr>
        <p:txBody>
          <a:bodyPr/>
          <a:lstStyle/>
          <a:p>
            <a:endParaRPr lang="en-US" dirty="0"/>
          </a:p>
        </p:txBody>
      </p:sp>
      <p:sp>
        <p:nvSpPr>
          <p:cNvPr id="21516" name="Line 11"/>
          <p:cNvSpPr>
            <a:spLocks noChangeShapeType="1"/>
          </p:cNvSpPr>
          <p:nvPr/>
        </p:nvSpPr>
        <p:spPr bwMode="auto">
          <a:xfrm>
            <a:off x="1295400" y="4116388"/>
            <a:ext cx="6629400" cy="0"/>
          </a:xfrm>
          <a:prstGeom prst="line">
            <a:avLst/>
          </a:prstGeom>
          <a:noFill/>
          <a:ln w="38100">
            <a:solidFill>
              <a:schemeClr val="tx1"/>
            </a:solidFill>
            <a:round/>
            <a:headEnd type="none" w="sm" len="sm"/>
            <a:tailEnd type="none" w="sm" len="sm"/>
          </a:ln>
        </p:spPr>
        <p:txBody>
          <a:bodyPr/>
          <a:lstStyle/>
          <a:p>
            <a:endParaRPr lang="en-US" dirty="0"/>
          </a:p>
        </p:txBody>
      </p:sp>
      <p:sp>
        <p:nvSpPr>
          <p:cNvPr id="21517" name="Line 12"/>
          <p:cNvSpPr>
            <a:spLocks noChangeShapeType="1"/>
          </p:cNvSpPr>
          <p:nvPr/>
        </p:nvSpPr>
        <p:spPr bwMode="auto">
          <a:xfrm>
            <a:off x="1295400" y="1965325"/>
            <a:ext cx="0" cy="2151063"/>
          </a:xfrm>
          <a:prstGeom prst="line">
            <a:avLst/>
          </a:prstGeom>
          <a:noFill/>
          <a:ln w="38100">
            <a:solidFill>
              <a:schemeClr val="tx1"/>
            </a:solidFill>
            <a:round/>
            <a:headEnd type="none" w="sm" len="sm"/>
            <a:tailEnd type="none" w="sm" len="sm"/>
          </a:ln>
        </p:spPr>
        <p:txBody>
          <a:bodyPr/>
          <a:lstStyle/>
          <a:p>
            <a:endParaRPr lang="en-US" dirty="0"/>
          </a:p>
        </p:txBody>
      </p:sp>
      <p:sp>
        <p:nvSpPr>
          <p:cNvPr id="21518" name="Line 13"/>
          <p:cNvSpPr>
            <a:spLocks noChangeShapeType="1"/>
          </p:cNvSpPr>
          <p:nvPr/>
        </p:nvSpPr>
        <p:spPr bwMode="auto">
          <a:xfrm>
            <a:off x="2895600" y="1965325"/>
            <a:ext cx="0" cy="2151063"/>
          </a:xfrm>
          <a:prstGeom prst="line">
            <a:avLst/>
          </a:prstGeom>
          <a:noFill/>
          <a:ln w="12700">
            <a:solidFill>
              <a:schemeClr val="tx1"/>
            </a:solidFill>
            <a:prstDash val="sysDot"/>
            <a:round/>
            <a:headEnd type="none" w="sm" len="sm"/>
            <a:tailEnd type="none" w="sm" len="sm"/>
          </a:ln>
        </p:spPr>
        <p:txBody>
          <a:bodyPr/>
          <a:lstStyle/>
          <a:p>
            <a:endParaRPr lang="en-US" dirty="0"/>
          </a:p>
        </p:txBody>
      </p:sp>
      <p:sp>
        <p:nvSpPr>
          <p:cNvPr id="21519" name="Line 14"/>
          <p:cNvSpPr>
            <a:spLocks noChangeShapeType="1"/>
          </p:cNvSpPr>
          <p:nvPr/>
        </p:nvSpPr>
        <p:spPr bwMode="auto">
          <a:xfrm>
            <a:off x="4572000" y="1965325"/>
            <a:ext cx="0" cy="2151063"/>
          </a:xfrm>
          <a:prstGeom prst="line">
            <a:avLst/>
          </a:prstGeom>
          <a:noFill/>
          <a:ln w="12700">
            <a:solidFill>
              <a:schemeClr val="tx1"/>
            </a:solidFill>
            <a:prstDash val="sysDot"/>
            <a:round/>
            <a:headEnd type="none" w="sm" len="sm"/>
            <a:tailEnd type="none" w="sm" len="sm"/>
          </a:ln>
        </p:spPr>
        <p:txBody>
          <a:bodyPr/>
          <a:lstStyle/>
          <a:p>
            <a:endParaRPr lang="en-US" dirty="0"/>
          </a:p>
        </p:txBody>
      </p:sp>
      <p:sp>
        <p:nvSpPr>
          <p:cNvPr id="21520" name="Line 15"/>
          <p:cNvSpPr>
            <a:spLocks noChangeShapeType="1"/>
          </p:cNvSpPr>
          <p:nvPr/>
        </p:nvSpPr>
        <p:spPr bwMode="auto">
          <a:xfrm>
            <a:off x="6324600" y="1965325"/>
            <a:ext cx="0" cy="2151063"/>
          </a:xfrm>
          <a:prstGeom prst="line">
            <a:avLst/>
          </a:prstGeom>
          <a:noFill/>
          <a:ln w="12700">
            <a:solidFill>
              <a:schemeClr val="tx1"/>
            </a:solidFill>
            <a:prstDash val="sysDot"/>
            <a:round/>
            <a:headEnd type="none" w="sm" len="sm"/>
            <a:tailEnd type="none" w="sm" len="sm"/>
          </a:ln>
        </p:spPr>
        <p:txBody>
          <a:bodyPr/>
          <a:lstStyle/>
          <a:p>
            <a:endParaRPr lang="en-US" dirty="0"/>
          </a:p>
        </p:txBody>
      </p:sp>
      <p:sp>
        <p:nvSpPr>
          <p:cNvPr id="21521" name="Line 16"/>
          <p:cNvSpPr>
            <a:spLocks noChangeShapeType="1"/>
          </p:cNvSpPr>
          <p:nvPr/>
        </p:nvSpPr>
        <p:spPr bwMode="auto">
          <a:xfrm>
            <a:off x="7924800" y="1965325"/>
            <a:ext cx="0" cy="1466850"/>
          </a:xfrm>
          <a:prstGeom prst="line">
            <a:avLst/>
          </a:prstGeom>
          <a:noFill/>
          <a:ln w="28575" cap="sq">
            <a:noFill/>
            <a:round/>
            <a:headEnd type="none" w="sm" len="sm"/>
            <a:tailEnd type="none" w="sm" len="sm"/>
          </a:ln>
        </p:spPr>
        <p:txBody>
          <a:bodyPr/>
          <a:lstStyle/>
          <a:p>
            <a:endParaRPr lang="en-US" dirty="0"/>
          </a:p>
        </p:txBody>
      </p:sp>
      <p:sp>
        <p:nvSpPr>
          <p:cNvPr id="21522" name="Line 17"/>
          <p:cNvSpPr>
            <a:spLocks noChangeShapeType="1"/>
          </p:cNvSpPr>
          <p:nvPr/>
        </p:nvSpPr>
        <p:spPr bwMode="auto">
          <a:xfrm>
            <a:off x="2895600" y="1965325"/>
            <a:ext cx="1676400" cy="0"/>
          </a:xfrm>
          <a:prstGeom prst="line">
            <a:avLst/>
          </a:prstGeom>
          <a:noFill/>
          <a:ln w="28575" cap="sq">
            <a:noFill/>
            <a:round/>
            <a:headEnd type="none" w="sm" len="sm"/>
            <a:tailEnd type="none" w="sm" len="sm"/>
          </a:ln>
        </p:spPr>
        <p:txBody>
          <a:bodyPr/>
          <a:lstStyle/>
          <a:p>
            <a:endParaRPr lang="en-US" dirty="0"/>
          </a:p>
        </p:txBody>
      </p:sp>
      <p:sp>
        <p:nvSpPr>
          <p:cNvPr id="21523" name="Line 18"/>
          <p:cNvSpPr>
            <a:spLocks noChangeShapeType="1"/>
          </p:cNvSpPr>
          <p:nvPr/>
        </p:nvSpPr>
        <p:spPr bwMode="auto">
          <a:xfrm>
            <a:off x="4572000" y="1965325"/>
            <a:ext cx="1752600" cy="0"/>
          </a:xfrm>
          <a:prstGeom prst="line">
            <a:avLst/>
          </a:prstGeom>
          <a:noFill/>
          <a:ln w="28575" cap="sq">
            <a:noFill/>
            <a:round/>
            <a:headEnd type="none" w="sm" len="sm"/>
            <a:tailEnd type="none" w="sm" len="sm"/>
          </a:ln>
        </p:spPr>
        <p:txBody>
          <a:bodyPr/>
          <a:lstStyle/>
          <a:p>
            <a:endParaRPr lang="en-US" dirty="0"/>
          </a:p>
        </p:txBody>
      </p:sp>
      <p:sp>
        <p:nvSpPr>
          <p:cNvPr id="21524" name="Line 19"/>
          <p:cNvSpPr>
            <a:spLocks noChangeShapeType="1"/>
          </p:cNvSpPr>
          <p:nvPr/>
        </p:nvSpPr>
        <p:spPr bwMode="auto">
          <a:xfrm>
            <a:off x="6324600" y="1965325"/>
            <a:ext cx="1600200" cy="0"/>
          </a:xfrm>
          <a:prstGeom prst="line">
            <a:avLst/>
          </a:prstGeom>
          <a:noFill/>
          <a:ln w="28575" cap="sq">
            <a:noFill/>
            <a:round/>
            <a:headEnd type="none" w="sm" len="sm"/>
            <a:tailEnd type="none" w="sm" len="sm"/>
          </a:ln>
        </p:spPr>
        <p:txBody>
          <a:bodyPr/>
          <a:lstStyle/>
          <a:p>
            <a:endParaRPr lang="en-US" dirty="0"/>
          </a:p>
        </p:txBody>
      </p:sp>
      <p:sp>
        <p:nvSpPr>
          <p:cNvPr id="21525" name="Line 20"/>
          <p:cNvSpPr>
            <a:spLocks noChangeShapeType="1"/>
          </p:cNvSpPr>
          <p:nvPr/>
        </p:nvSpPr>
        <p:spPr bwMode="auto">
          <a:xfrm>
            <a:off x="7924800" y="3432175"/>
            <a:ext cx="0" cy="684213"/>
          </a:xfrm>
          <a:prstGeom prst="line">
            <a:avLst/>
          </a:prstGeom>
          <a:noFill/>
          <a:ln w="28575" cap="sq">
            <a:noFill/>
            <a:round/>
            <a:headEnd type="none" w="sm" len="sm"/>
            <a:tailEnd type="none" w="sm" len="sm"/>
          </a:ln>
        </p:spPr>
        <p:txBody>
          <a:bodyPr/>
          <a:lstStyle/>
          <a:p>
            <a:endParaRPr lang="en-US" dirty="0"/>
          </a:p>
        </p:txBody>
      </p:sp>
      <p:sp>
        <p:nvSpPr>
          <p:cNvPr id="21526" name="Freeform 21"/>
          <p:cNvSpPr>
            <a:spLocks/>
          </p:cNvSpPr>
          <p:nvPr/>
        </p:nvSpPr>
        <p:spPr bwMode="auto">
          <a:xfrm>
            <a:off x="1371600" y="2413000"/>
            <a:ext cx="6305550" cy="1304925"/>
          </a:xfrm>
          <a:custGeom>
            <a:avLst/>
            <a:gdLst>
              <a:gd name="T0" fmla="*/ 0 w 5157"/>
              <a:gd name="T1" fmla="*/ 1304925 h 1179"/>
              <a:gd name="T2" fmla="*/ 1554073 w 5157"/>
              <a:gd name="T3" fmla="*/ 1112340 h 1179"/>
              <a:gd name="T4" fmla="*/ 3141159 w 5157"/>
              <a:gd name="T5" fmla="*/ 211400 h 1179"/>
              <a:gd name="T6" fmla="*/ 3957934 w 5157"/>
              <a:gd name="T7" fmla="*/ 9961 h 1179"/>
              <a:gd name="T8" fmla="*/ 4706236 w 5157"/>
              <a:gd name="T9" fmla="*/ 272274 h 1179"/>
              <a:gd name="T10" fmla="*/ 5545021 w 5157"/>
              <a:gd name="T11" fmla="*/ 940786 h 1179"/>
              <a:gd name="T12" fmla="*/ 6305550 w 5157"/>
              <a:gd name="T13" fmla="*/ 1183176 h 1179"/>
              <a:gd name="T14" fmla="*/ 0 60000 65536"/>
              <a:gd name="T15" fmla="*/ 0 60000 65536"/>
              <a:gd name="T16" fmla="*/ 0 60000 65536"/>
              <a:gd name="T17" fmla="*/ 0 60000 65536"/>
              <a:gd name="T18" fmla="*/ 0 60000 65536"/>
              <a:gd name="T19" fmla="*/ 0 60000 65536"/>
              <a:gd name="T20" fmla="*/ 0 60000 65536"/>
              <a:gd name="T21" fmla="*/ 0 w 5157"/>
              <a:gd name="T22" fmla="*/ 0 h 1179"/>
              <a:gd name="T23" fmla="*/ 5157 w 5157"/>
              <a:gd name="T24" fmla="*/ 1179 h 1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57" h="1179">
                <a:moveTo>
                  <a:pt x="0" y="1179"/>
                </a:moveTo>
                <a:cubicBezTo>
                  <a:pt x="421" y="1174"/>
                  <a:pt x="843" y="1170"/>
                  <a:pt x="1271" y="1005"/>
                </a:cubicBezTo>
                <a:cubicBezTo>
                  <a:pt x="1699" y="840"/>
                  <a:pt x="2241" y="357"/>
                  <a:pt x="2569" y="191"/>
                </a:cubicBezTo>
                <a:cubicBezTo>
                  <a:pt x="2897" y="25"/>
                  <a:pt x="3024" y="0"/>
                  <a:pt x="3237" y="9"/>
                </a:cubicBezTo>
                <a:cubicBezTo>
                  <a:pt x="3450" y="18"/>
                  <a:pt x="3633" y="106"/>
                  <a:pt x="3849" y="246"/>
                </a:cubicBezTo>
                <a:cubicBezTo>
                  <a:pt x="4065" y="386"/>
                  <a:pt x="4317" y="713"/>
                  <a:pt x="4535" y="850"/>
                </a:cubicBezTo>
                <a:cubicBezTo>
                  <a:pt x="4753" y="987"/>
                  <a:pt x="5082" y="1043"/>
                  <a:pt x="5157" y="1069"/>
                </a:cubicBezTo>
              </a:path>
            </a:pathLst>
          </a:custGeom>
          <a:noFill/>
          <a:ln w="25400" cap="flat" cmpd="sng">
            <a:solidFill>
              <a:schemeClr val="accent2"/>
            </a:solidFill>
            <a:prstDash val="solid"/>
            <a:round/>
            <a:headEnd type="none" w="sm" len="sm"/>
            <a:tailEnd type="none" w="sm" len="sm"/>
          </a:ln>
        </p:spPr>
        <p:txBody>
          <a:bodyPr/>
          <a:lstStyle/>
          <a:p>
            <a:endParaRPr lang="en-US" dirty="0"/>
          </a:p>
        </p:txBody>
      </p:sp>
      <p:sp>
        <p:nvSpPr>
          <p:cNvPr id="21527" name="Text Box 22"/>
          <p:cNvSpPr txBox="1">
            <a:spLocks noChangeArrowheads="1"/>
          </p:cNvSpPr>
          <p:nvPr/>
        </p:nvSpPr>
        <p:spPr bwMode="auto">
          <a:xfrm>
            <a:off x="533400" y="228600"/>
            <a:ext cx="7359650" cy="461665"/>
          </a:xfrm>
          <a:prstGeom prst="rect">
            <a:avLst/>
          </a:prstGeom>
          <a:noFill/>
          <a:ln w="12700">
            <a:noFill/>
            <a:miter lim="800000"/>
            <a:headEnd type="none" w="sm" len="sm"/>
            <a:tailEnd type="none" w="sm" len="sm"/>
          </a:ln>
        </p:spPr>
        <p:txBody>
          <a:bodyPr>
            <a:spAutoFit/>
          </a:bodyPr>
          <a:lstStyle/>
          <a:p>
            <a:pPr>
              <a:spcBef>
                <a:spcPct val="50000"/>
              </a:spcBef>
            </a:pPr>
            <a:r>
              <a:rPr lang="en-US" sz="2400" b="1" dirty="0"/>
              <a:t>Examples of Supply Chain Market Maturity</a:t>
            </a:r>
          </a:p>
        </p:txBody>
      </p:sp>
      <p:grpSp>
        <p:nvGrpSpPr>
          <p:cNvPr id="21528" name="Group 23"/>
          <p:cNvGrpSpPr>
            <a:grpSpLocks/>
          </p:cNvGrpSpPr>
          <p:nvPr/>
        </p:nvGrpSpPr>
        <p:grpSpPr bwMode="auto">
          <a:xfrm>
            <a:off x="1373188" y="4941888"/>
            <a:ext cx="6253162" cy="366712"/>
            <a:chOff x="865" y="2553"/>
            <a:chExt cx="3939" cy="231"/>
          </a:xfrm>
        </p:grpSpPr>
        <p:sp>
          <p:nvSpPr>
            <p:cNvPr id="21529" name="Text Box 24"/>
            <p:cNvSpPr txBox="1">
              <a:spLocks noChangeArrowheads="1"/>
            </p:cNvSpPr>
            <p:nvPr/>
          </p:nvSpPr>
          <p:spPr bwMode="auto">
            <a:xfrm>
              <a:off x="865" y="2553"/>
              <a:ext cx="452" cy="231"/>
            </a:xfrm>
            <a:prstGeom prst="rect">
              <a:avLst/>
            </a:prstGeom>
            <a:noFill/>
            <a:ln w="12700">
              <a:noFill/>
              <a:miter lim="800000"/>
              <a:headEnd type="none" w="sm" len="sm"/>
              <a:tailEnd type="none" w="sm" len="sm"/>
            </a:ln>
          </p:spPr>
          <p:txBody>
            <a:bodyPr wrap="none">
              <a:spAutoFit/>
            </a:bodyPr>
            <a:lstStyle/>
            <a:p>
              <a:r>
                <a:rPr lang="en-US" b="1" dirty="0"/>
                <a:t>India</a:t>
              </a:r>
            </a:p>
          </p:txBody>
        </p:sp>
        <p:sp>
          <p:nvSpPr>
            <p:cNvPr id="21530" name="Text Box 25"/>
            <p:cNvSpPr txBox="1">
              <a:spLocks noChangeArrowheads="1"/>
            </p:cNvSpPr>
            <p:nvPr/>
          </p:nvSpPr>
          <p:spPr bwMode="auto">
            <a:xfrm>
              <a:off x="1907" y="2553"/>
              <a:ext cx="508" cy="231"/>
            </a:xfrm>
            <a:prstGeom prst="rect">
              <a:avLst/>
            </a:prstGeom>
            <a:noFill/>
            <a:ln w="12700">
              <a:noFill/>
              <a:miter lim="800000"/>
              <a:headEnd type="none" w="sm" len="sm"/>
              <a:tailEnd type="none" w="sm" len="sm"/>
            </a:ln>
          </p:spPr>
          <p:txBody>
            <a:bodyPr wrap="none">
              <a:spAutoFit/>
            </a:bodyPr>
            <a:lstStyle/>
            <a:p>
              <a:r>
                <a:rPr lang="en-US" b="1" dirty="0"/>
                <a:t>Brazil</a:t>
              </a:r>
            </a:p>
          </p:txBody>
        </p:sp>
        <p:sp>
          <p:nvSpPr>
            <p:cNvPr id="21531" name="Text Box 26"/>
            <p:cNvSpPr txBox="1">
              <a:spLocks noChangeArrowheads="1"/>
            </p:cNvSpPr>
            <p:nvPr/>
          </p:nvSpPr>
          <p:spPr bwMode="auto">
            <a:xfrm>
              <a:off x="2928" y="2553"/>
              <a:ext cx="1036" cy="231"/>
            </a:xfrm>
            <a:prstGeom prst="rect">
              <a:avLst/>
            </a:prstGeom>
            <a:noFill/>
            <a:ln w="12700">
              <a:noFill/>
              <a:miter lim="800000"/>
              <a:headEnd type="none" w="sm" len="sm"/>
              <a:tailEnd type="none" w="sm" len="sm"/>
            </a:ln>
          </p:spPr>
          <p:txBody>
            <a:bodyPr wrap="none">
              <a:spAutoFit/>
            </a:bodyPr>
            <a:lstStyle/>
            <a:p>
              <a:r>
                <a:rPr lang="en-US" b="1" dirty="0"/>
                <a:t>United States</a:t>
              </a:r>
            </a:p>
          </p:txBody>
        </p:sp>
        <p:sp>
          <p:nvSpPr>
            <p:cNvPr id="21532" name="Text Box 27"/>
            <p:cNvSpPr txBox="1">
              <a:spLocks noChangeArrowheads="1"/>
            </p:cNvSpPr>
            <p:nvPr/>
          </p:nvSpPr>
          <p:spPr bwMode="auto">
            <a:xfrm>
              <a:off x="4272" y="2553"/>
              <a:ext cx="532" cy="231"/>
            </a:xfrm>
            <a:prstGeom prst="rect">
              <a:avLst/>
            </a:prstGeom>
            <a:noFill/>
            <a:ln w="12700">
              <a:noFill/>
              <a:miter lim="800000"/>
              <a:headEnd type="none" w="sm" len="sm"/>
              <a:tailEnd type="none" w="sm" len="sm"/>
            </a:ln>
          </p:spPr>
          <p:txBody>
            <a:bodyPr wrap="none">
              <a:spAutoFit/>
            </a:bodyPr>
            <a:lstStyle/>
            <a:p>
              <a:r>
                <a:rPr lang="en-US" b="1" dirty="0"/>
                <a:t>Japan</a:t>
              </a: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lj3bewa40aqgSK.N4VqB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tY3uQ7Fh0iRFoGk6YfZ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cqerDUniUuRLn9oAamm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Qc6MsIOjEqfgcO_gsTq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QZq3Uf8r0OgWOC5tNU3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uNYIv7kBESUmw_TeucU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FJgNDEBMkiNe28fK9nO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46NecNVLE6Xx8AJLacP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Axz.3K8IEeQTUUfGA4L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sH.puGZY0WWTxTSeZN9I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r8x4sBO0EKTQ6zxvBRG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__YkpQ140ytU4FeptRr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2KYV5JEZU.QDs5rC72kg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nnXCLCbnECkkxdcQJiK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qdL5V5liUyW1w_BONQv2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D3XXakGakmUn1lBNgFE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W4zwXL1Bky1A07oXgDg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qv16ixdjk6LpchiyaaV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EFktalmn02YJ1zNXrCIo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XCCkQM980qP_UA23Xw5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Lrf.bHkzEOyvwMZGBdw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KSaorUBDUGE.0v9eN02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boSiPlPRkajA3CKYkGB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u9jxBbe8kSO7XqknB5Pb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eFB.PQnSEG3jAJicTv.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FfoI6SoCEeKa1JyKP9U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7fMEK4gIiUyCUaP.j8ae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2PYR01wrEuZ6Pqeuf7dG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_5jsodjdOEGLx1FXFRLq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uZFHvfVNEKeD7DYPcCwu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v8NyEejcUCbj4gWW5FX8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APTqhmCKE28jggofDRl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0ysZ780okmPZ8N1417v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nwGKUsDLkeP4ATv1I2j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dLl23uviUeVxfQDmKfD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ItPsANMtEa10355z8Yz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hyJq_QmxESx407atFFaU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BnlSN50x4EOOCh3E83VM8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9Ezztu7Sm0q58.PXq7N6y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B_QQp74qE.h13ysA8LI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cIrt8Kkqky06.R_s7rLU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z.LS2ko3u06kvFOxcqV8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W6e4553wakaKZkno1TGH1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5ccc32xME2t1bPxBSMp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zlGKHYaIUCbuRIt.i89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J6Gn_gECpQu47FStIV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DCOXwlA50uTdf5iY25Q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GB60VM1BEWMUPBOD46B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S1f72GnoCkSi8ooNrQ7wp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moMuP07l06Xw6tUubbR1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nHBY6tR9EyFSZPsWiIu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39RT519nkaENZPmU2VX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wevqcg1BkC4w9H3UHx8b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Y51vL.inEaHLTzKULlQR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_FwXe1qOU.oGRifI80xF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xfjmV.vgEaFQjt6zkVY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KS7cH_xUkGbDVU2CmYBE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F6wjxwtAEqmv4tScqayN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5C5VEHUbkq.n6MGhh23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232rl.Plkixc_YbCu9ed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KhQgWtK9pkOgPWV4mRnU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lj3bewa40aqgSK.N4Vq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f7gjU7z1EuWfYkVRkDqQ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qee7ZQKivUSv3.f4iuZHb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H2.q_kySkyXhKnmnvew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sRFBhTVeEy5CoHStMWj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Jocttji.kO6eRyZui4K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oUYP3cMMUeXaec5M4RnZ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FNMXBSToECwz6eZ_y.rb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FmUP.eS2EaxyeioOaz72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umPdXK7JUeJaHTKCN51P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CtY3uQ7Fh0iRFoGk6YfZ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2KYV5JEZU.QDs5rC72kg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u9jxBbe8kSO7XqknB5Pb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dLl23uviUeVxfQDmKfDN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DcJ6Gn_gECpQu47FStI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KS7cH_xUkGbDVU2CmYB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oUYP3cMMUeXaec5M4Rn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GHnSQyDnkO98ZZWDSUn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GHnSQyDnkO98ZZWDSUnu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IJrnJmQjUuW23rh6PjuM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BUyLbZ8lkGYUfOhvfXU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QXmzg0LkU20_mNOhOce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RYG_Zolt0Sx22IPJAxo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2EzGLSTpEKayES9KlPH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V8DFmedIUq56uqNKoca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xd9XyiO6tkSaeMkzPiY2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JBaV3oOpUWgf18nZh8Z6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BKlA7NLTkCWvX5w79HW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IJrnJmQjUuW23rh6PjuM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kgbaXaAJUqthCtUSqPY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dHsFUOjLUu.nMzVu6b4K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xLgREqoZ0G0nkWRACh3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7cWrT7Br3ESKCCJLIJC2z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p_JKxTODk.6w8g_N8Gs7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moi93zR7Uaaz.YHNzKjA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_Npdt4GIPE.kYE8syK9z7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qbfX2ee0d0akTFHMhzEH2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SDDWFRKP70Sss3KwRuFu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SyDOsyXnT0WjHX0dw4jF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UyLbZ8lkGYUfOhvfXUg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xfjmV.vgEaFQjt6zkVY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F6wjxwtAEqmv4tScqay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5C5VEHUbkq.n6MGhh23D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232rl.Plkixc_YbCu9e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KhQgWtK9pkOgPWV4mRnU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riQaM18rEae.IPKxOmv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3SsRj4fN0iQvmHEkDSS9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6q7HUsxM0eGsA54mW5M.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J0LQ20LB0yKgTQC5Lrat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R0ibr6Fak2iPQLQby7p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f7gjU7z1EuWfYkVRkDqQ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QXmzg0LkU20_mNOhOceF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Mtf5v1I4Ea69_dDVnWo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tKhTi_HdkuR5z5w1L6pS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u9LLq50uU2zaV_OiZzM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MVHL0ezsUOkV.ACIVRe0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vrMrPZFlEKNIOR2lmiwq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Q3SVr0WH0immrIpn5NHw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ELPGxzyZV0i184e5SLmz5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_AsD7j_vUG834c_d3dXb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DpWhZ6zQOEKDrWavhutD2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gjsf1MJGHE2.DnKOP0CT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RYG_Zolt0Sx22IPJAxoF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qvn9ZQTRE.jopCyjouzG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ZsnboiC96EiraxPlBmZ07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OEAB5Mba0ycaP1jAfEW_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MKSvi_rwcU22PCL7h8Do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wWZH2uxgU.gmlG0bWeq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MGoruPw50SbzQZag.hYx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VYQDrC6PBUKQqEACXIDb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oNfee8R7MU.PPGkMO2L70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wUKhNBvz0eZI.bJeBiy_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MZVyWNBhk6Qw_cXphn9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2EzGLSTpEKayES9KlPHT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XUbeiXkBkUmp.AvC802.l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NQcBd_hH20WKz2RhG3ro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aWGCuxffkuXKXbKzBHQi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Qp1NLYzN1U2pINZ830mw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KSvaIUDD0igznHJrwpci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sXtSap3Fr0O.E9uPsPtpd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zx5aklPBEGdIHPYu22V1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BqCt3B6zDka6XlvhiNHR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EYIw__EEPEG1zVeCGV3g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EkxELJyzrUSnbRBhmWUa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V8DFmedIUq56uqNKocaN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0xnXVyTV0uas4nvHpOb6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VbnFg7kDRUOJwUdB2KNRE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QzLrUcVY02i6OQhC47j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SxVv49HrUUCMRvPNFqM2P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mIWzcomq02hq1GtgInFP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VbVJ5jQ9USXq1XSQdDDl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yy_DKfBiEC7p21nRkFF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lESLUbUgU.LV0Akls98.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d7yLDZatUe85uBQxB.VJ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YpwFe39XkikwDafFQV4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d9XyiO6tkSaeMkzPiY2v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6VeavAVUAUGFw9TfqopI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UkmF30zvFUWnpuz7uP54C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VCSGpH2K8EKV7eBgjxuYm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Qr1LfzFxA0K3lFqzbE0o9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y_WDrjj1Xkm.jSDRPy6wQ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2DOt3QQJU6s0UBCVhYkx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pQ0Li71VEEWWABlclc__F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jTDjm_JmWEChb_KGAEdc0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YtO6c_8KUyNWww7TLneK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NZuerMutEevN9EJw72x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JBaV3oOpUWgf18nZh8Z6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7ALU7YYpUyCuUWgUJ6uA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s9MJEPFgyESaDl8Z08q67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sfs3tX3bkKE8EcSBSbhf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kcqerDUniUuRLn9oAammG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Qc6MsIOjEqfgcO_gsTq_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QZq3Uf8r0OgWOC5tNU3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uNYIv7kBESUmw_TeucU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vFJgNDEBMkiNe28fK9nO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46NecNVLE6Xx8AJLacPQ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Axz.3K8IEeQTUUfGA4L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BKlA7NLTkCWvX5w79HWO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9sH.puGZY0WWTxTSeZN9I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r8x4sBO0EKTQ6zxvBRGg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W__YkpQ140ytU4FeptRrl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nnXCLCbnECkkxdcQJiKP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qdL5V5liUyW1w_BONQv2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3XXakGakmUn1lBNgFEq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yW4zwXL1Bky1A07oXgDgG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0qv16ixdjk6LpchiyaaVK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cEFktalmn02YJ1zNXrCI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XCCkQM980qP_UA23Xw5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kgbaXaAJUqthCtUSqPY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Lrf.bHkzEOyvwMZGBdwt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KSaorUBDUGE.0v9eN02h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5boSiPlPRkajA3CKYkGBJ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eFB.PQnSEG3jAJicTv.0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lFfoI6SoCEeKa1JyKP9UO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7fMEK4gIiUyCUaP.j8aeN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2PYR01wrEuZ6Pqeuf7dG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_5jsodjdOEGLx1FXFRLq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KuZFHvfVNEKeD7DYPcCwu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v8NyEejcUCbj4gWW5FX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dHsFUOjLUu.nMzVu6b4K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SAPTqhmCKE28jggofDRlr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h0ysZ780okmPZ8N1417ve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nwGKUsDLkeP4ATv1I2jE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3ItPsANMtEa10355z8Yzp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hyJq_QmxESx407atFFaU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BnlSN50x4EOOCh3E83VM8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9Ezztu7Sm0q58.PXq7N6y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B_QQp74qE.h13ysA8LIV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cIrt8Kkqky06.R_s7rLU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LS2ko3u06kvFOxcqV8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xLgREqoZ0G0nkWRACh3v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W6e4553wakaKZkno1TGH1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5ccc32xME2t1bPxBSMp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zlGKHYaIUCbuRIt.i89r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1DCOXwlA50uTdf5iY25Q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LGB60VM1BEWMUPBOD46Bw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1f72GnoCkSi8ooNrQ7wp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moMuP07l06Xw6tUubbR1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nHBY6tR9EyFSZPsWiIus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l39RT519nkaENZPmU2VX6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wevqcg1BkC4w9H3UHx8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ee7ZQKivUSv3.f4iuZHb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cWrT7Br3ESKCCJLIJC2z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Y51vL.inEaHLTzKULlQR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_FwXe1qOU.oGRifI80xF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xfjmV.vgEaFQjt6zkVYh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YF6wjxwtAEqmv4tScqayN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O5C5VEHUbkq.n6MGhh23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_232rl.Plkixc_YbCu9e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KhQgWtK9pkOgPWV4mRnU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p_JKxTODk.6w8g_N8Gs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moi93zR7Uaaz.YHNzKj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Npdt4GIPE.kYE8syK9z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bfX2ee0d0akTFHMhzEH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DDWFRKP70Sss3KwRuFu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yDOsyXnT0WjHX0dw4jF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fjmV.vgEaFQjt6zkVY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F6wjxwtAEqmv4tScqay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5C5VEHUbkq.n6MGhh23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2.q_kySkyXhKnmnvew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232rl.Plkixc_YbCu9e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hQgWtK9pkOgPWV4mRnU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riQaM18rEae.IPKxOmv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3SsRj4fN0iQvmHEkDSS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6q7HUsxM0eGsA54mW5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J0LQ20LB0yKgTQC5Lra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R0ibr6Fak2iPQLQby7p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Mtf5v1I4Ea69_dDVnWo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tKhTi_HdkuR5z5w1L6p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u9LLq50uU2zaV_OiZzM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sRFBhTVeEy5CoHStMWj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MVHL0ezsUOkV.ACIVRe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vrMrPZFlEKNIOR2lmiw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Q3SVr0WH0immrIpn5NH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LPGxzyZV0i184e5SLmz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_AsD7j_vUG834c_d3dX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pWhZ6zQOEKDrWavhutD2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jsf1MJGHE2.DnKOP0CT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qvn9ZQTRE.jopCyjouz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snboiC96EiraxPlBmZ07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OEAB5Mba0ycaP1jAfEW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Jocttji.kO6eRyZui4K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KSvi_rwcU22PCL7h8Do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wWZH2uxgU.gmlG0bWeq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MGoruPw50SbzQZag.hY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YQDrC6PBUKQqEACXIDb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Nfee8R7MU.PPGkMO2L7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wUKhNBvz0eZI.bJeBiy_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MZVyWNBhk6Qw_cXphn9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UbeiXkBkUmp.AvC802.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QcBd_hH20WKz2RhG3ro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aWGCuxffkuXKXbKzBHQ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FNMXBSToECwz6eZ_y.r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p1NLYzN1U2pINZ830mw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KSvaIUDD0igznHJrwpc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XtSap3Fr0O.E9uPsPtp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zx5aklPBEGdIHPYu22V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qCt3B6zDka6XlvhiNHR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YIw__EEPEG1zVeCGV3g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kxELJyzrUSnbRBhmWUa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0xnXVyTV0uas4nvHpOb6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bnFg7kDRUOJwUdB2KNR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zLrUcVY02i6OQhC47j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FmUP.eS2EaxyeioOaz72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xVv49HrUUCMRvPNFqM2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mIWzcomq02hq1GtgInF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VbVJ5jQ9USXq1XSQdDD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yy_DKfBiEC7p21nRkFF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lESLUbUgU.LV0Akls9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d7yLDZatUe85uBQxB.V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YpwFe39XkikwDafFQV4p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6VeavAVUAUGFw9TfqopI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kmF30zvFUWnpuz7uP54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CSGpH2K8EKV7eBgjxuY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umPdXK7JUeJaHTKCN51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r1LfzFxA0K3lFqzbE0o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_WDrjj1Xkm.jSDRPy6wQ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2DOt3QQJU6s0UBCVhYk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Q0Li71VEEWWABlclc__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Djm_JmWEChb_KGAEdc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YtO6c_8KUyNWww7TLne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NZuerMutEevN9EJw72x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7ALU7YYpUyCuUWgUJ6uA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9MJEPFgyESaDl8Z08q6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Usfs3tX3bkKE8EcSBSbhfQ"/>
</p:tagLst>
</file>

<file path=ppt/theme/theme1.xml><?xml version="1.0" encoding="utf-8"?>
<a:theme xmlns:a="http://schemas.openxmlformats.org/drawingml/2006/main" name="wmt_template_white_bkgnd">
  <a:themeElements>
    <a:clrScheme name="">
      <a:dk1>
        <a:srgbClr val="000000"/>
      </a:dk1>
      <a:lt1>
        <a:srgbClr val="FFFFFF"/>
      </a:lt1>
      <a:dk2>
        <a:srgbClr val="F47B20"/>
      </a:dk2>
      <a:lt2>
        <a:srgbClr val="7AC142"/>
      </a:lt2>
      <a:accent1>
        <a:srgbClr val="2B7FC3"/>
      </a:accent1>
      <a:accent2>
        <a:srgbClr val="003B7E"/>
      </a:accent2>
      <a:accent3>
        <a:srgbClr val="FFFFFF"/>
      </a:accent3>
      <a:accent4>
        <a:srgbClr val="000000"/>
      </a:accent4>
      <a:accent5>
        <a:srgbClr val="ACC0DE"/>
      </a:accent5>
      <a:accent6>
        <a:srgbClr val="003572"/>
      </a:accent6>
      <a:hlink>
        <a:srgbClr val="6CADDF"/>
      </a:hlink>
      <a:folHlink>
        <a:srgbClr val="FDBB30"/>
      </a:folHlink>
    </a:clrScheme>
    <a:fontScheme name="wmt_template_white_bkg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mt_template_white_bkgn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template_white_bkgn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template_white_bkgn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template_white_bkgn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template_white_bkgn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template_white_bkgn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template_white_bkgn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template_white_bkgn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template_white_bkgn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template_white_bkgn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template_white_bkgn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template_white_bkgn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wmt_template_white_bkgnd</Template>
  <TotalTime>11710</TotalTime>
  <Words>1569</Words>
  <Application>Microsoft Office PowerPoint</Application>
  <PresentationFormat>On-screen Show (4:3)</PresentationFormat>
  <Paragraphs>744</Paragraphs>
  <Slides>34</Slides>
  <Notes>15</Notes>
  <HiddenSlides>0</HiddenSlides>
  <MMClips>0</MMClips>
  <ScaleCrop>false</ScaleCrop>
  <HeadingPairs>
    <vt:vector size="6" baseType="variant">
      <vt:variant>
        <vt:lpstr>Theme</vt:lpstr>
      </vt:variant>
      <vt:variant>
        <vt:i4>1</vt:i4>
      </vt:variant>
      <vt:variant>
        <vt:lpstr>Embedded OLE Servers</vt:lpstr>
      </vt:variant>
      <vt:variant>
        <vt:i4>4</vt:i4>
      </vt:variant>
      <vt:variant>
        <vt:lpstr>Slide Titles</vt:lpstr>
      </vt:variant>
      <vt:variant>
        <vt:i4>34</vt:i4>
      </vt:variant>
    </vt:vector>
  </HeadingPairs>
  <TitlesOfParts>
    <vt:vector size="39" baseType="lpstr">
      <vt:lpstr>wmt_template_white_bkgnd</vt:lpstr>
      <vt:lpstr>MapInfo Map</vt:lpstr>
      <vt:lpstr>Worksheet</vt:lpstr>
      <vt:lpstr>Photo Editor Photo</vt:lpstr>
      <vt:lpstr>Chart</vt:lpstr>
      <vt:lpstr>Talking Freight 2/16/11   Ken Braunbach  Senior Director-Transportation</vt:lpstr>
      <vt:lpstr>Wal-Mart Distribution Network</vt:lpstr>
      <vt:lpstr>Import DC Alignment</vt:lpstr>
      <vt:lpstr>Walmart International Distribution Center Count</vt:lpstr>
      <vt:lpstr>Walmart International Stores Count</vt:lpstr>
      <vt:lpstr>Slide 6</vt:lpstr>
      <vt:lpstr>Slide 7</vt:lpstr>
      <vt:lpstr>Walmart International Facts International – High growth platform for Walmart </vt:lpstr>
      <vt:lpstr>Slide 9</vt:lpstr>
      <vt:lpstr>Slide 10</vt:lpstr>
      <vt:lpstr>Inbound Expense by Mode</vt:lpstr>
      <vt:lpstr>Load Count  2010 vs. 2009</vt:lpstr>
      <vt:lpstr>Current Impacts</vt:lpstr>
      <vt:lpstr>Less Discussed Issues</vt:lpstr>
      <vt:lpstr>2011 Transportation Initiatives</vt:lpstr>
      <vt:lpstr>More People – More Freight</vt:lpstr>
      <vt:lpstr>Truckload Freight Index</vt:lpstr>
      <vt:lpstr>Purpose</vt:lpstr>
      <vt:lpstr>Slide 19</vt:lpstr>
      <vt:lpstr>Marketplace Update</vt:lpstr>
      <vt:lpstr>Modal Shift Opportunity</vt:lpstr>
      <vt:lpstr>Domestic Intermodal Volume</vt:lpstr>
      <vt:lpstr>Slide 23</vt:lpstr>
      <vt:lpstr>Slide 24</vt:lpstr>
      <vt:lpstr>Alternatively Fueled Trucks</vt:lpstr>
      <vt:lpstr>Slide 26</vt:lpstr>
      <vt:lpstr>Slide 27</vt:lpstr>
      <vt:lpstr>Slide 28</vt:lpstr>
      <vt:lpstr>Existing Load Configuration Large Pillows</vt:lpstr>
      <vt:lpstr>Proposed Load Configuration Large Pillows</vt:lpstr>
      <vt:lpstr>New Carton Design Annual Reduction</vt:lpstr>
      <vt:lpstr>Slide 32</vt:lpstr>
      <vt:lpstr>Slide 33</vt:lpstr>
      <vt:lpstr>To Be the Best in Market Supply Chain …</vt:lpstr>
    </vt:vector>
  </TitlesOfParts>
  <Company>Wal-Mart Stor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vate Fleet  Strategy Department</dc:title>
  <dc:creator>mpkelle</dc:creator>
  <cp:lastModifiedBy>kjbraun</cp:lastModifiedBy>
  <cp:revision>506</cp:revision>
  <cp:lastPrinted>2008-07-07T15:36:35Z</cp:lastPrinted>
  <dcterms:created xsi:type="dcterms:W3CDTF">2008-09-18T18:12:44Z</dcterms:created>
  <dcterms:modified xsi:type="dcterms:W3CDTF">2011-02-16T15:07:47Z</dcterms:modified>
</cp:coreProperties>
</file>